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0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1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2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3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4.xml" ContentType="application/vnd.openxmlformats-officedocument.presentationml.notesSlide+xml"/>
  <Override PartName="/ppt/tags/tag47.xml" ContentType="application/vnd.openxmlformats-officedocument.presentationml.tags+xml"/>
  <Override PartName="/ppt/notesSlides/notesSlide15.xml" ContentType="application/vnd.openxmlformats-officedocument.presentationml.notesSlide+xml"/>
  <Override PartName="/ppt/tags/tag48.xml" ContentType="application/vnd.openxmlformats-officedocument.presentationml.tags+xml"/>
  <Override PartName="/ppt/notesSlides/notesSlide16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4059" r:id="rId1"/>
  </p:sldMasterIdLst>
  <p:notesMasterIdLst>
    <p:notesMasterId r:id="rId33"/>
  </p:notesMasterIdLst>
  <p:handoutMasterIdLst>
    <p:handoutMasterId r:id="rId34"/>
  </p:handoutMasterIdLst>
  <p:sldIdLst>
    <p:sldId id="1793" r:id="rId2"/>
    <p:sldId id="781" r:id="rId3"/>
    <p:sldId id="469" r:id="rId4"/>
    <p:sldId id="3236" r:id="rId5"/>
    <p:sldId id="3254" r:id="rId6"/>
    <p:sldId id="3249" r:id="rId7"/>
    <p:sldId id="3251" r:id="rId8"/>
    <p:sldId id="3239" r:id="rId9"/>
    <p:sldId id="3250" r:id="rId10"/>
    <p:sldId id="3252" r:id="rId11"/>
    <p:sldId id="3255" r:id="rId12"/>
    <p:sldId id="3243" r:id="rId13"/>
    <p:sldId id="3256" r:id="rId14"/>
    <p:sldId id="3257" r:id="rId15"/>
    <p:sldId id="3269" r:id="rId16"/>
    <p:sldId id="3246" r:id="rId17"/>
    <p:sldId id="3260" r:id="rId18"/>
    <p:sldId id="3259" r:id="rId19"/>
    <p:sldId id="3262" r:id="rId20"/>
    <p:sldId id="3263" r:id="rId21"/>
    <p:sldId id="3264" r:id="rId22"/>
    <p:sldId id="3265" r:id="rId23"/>
    <p:sldId id="3266" r:id="rId24"/>
    <p:sldId id="3267" r:id="rId25"/>
    <p:sldId id="3268" r:id="rId26"/>
    <p:sldId id="3248" r:id="rId27"/>
    <p:sldId id="3253" r:id="rId28"/>
    <p:sldId id="3258" r:id="rId29"/>
    <p:sldId id="3272" r:id="rId30"/>
    <p:sldId id="3271" r:id="rId31"/>
    <p:sldId id="3270" r:id="rId32"/>
  </p:sldIdLst>
  <p:sldSz cx="12192000" cy="6858000"/>
  <p:notesSz cx="7315200" cy="9601200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1" orient="horz" pos="2160">
          <p15:clr>
            <a:srgbClr val="A4A3A4"/>
          </p15:clr>
        </p15:guide>
        <p15:guide id="1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5F7ED"/>
    <a:srgbClr val="B2FCD8"/>
    <a:srgbClr val="FFCD00"/>
    <a:srgbClr val="CEF0DD"/>
    <a:srgbClr val="3C8A2E"/>
    <a:srgbClr val="37C4FF"/>
    <a:srgbClr val="194955"/>
    <a:srgbClr val="046A38"/>
    <a:srgbClr val="62B5E5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43" autoAdjust="0"/>
    <p:restoredTop sz="94984" autoAdjust="0"/>
  </p:normalViewPr>
  <p:slideViewPr>
    <p:cSldViewPr snapToGrid="0" showGuides="1">
      <p:cViewPr>
        <p:scale>
          <a:sx n="77" d="100"/>
          <a:sy n="77" d="100"/>
        </p:scale>
        <p:origin x="902" y="8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27" d="100"/>
          <a:sy n="27" d="100"/>
        </p:scale>
        <p:origin x="2148" y="6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2/5/2024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2/5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1655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gs: text, crowdsourcing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9E7E8-36E4-467C-8300-85BCF6933F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06206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gs: text, crowdsourcing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9E7E8-36E4-467C-8300-85BCF6933F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92262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gs: text, crowdsourcing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9E7E8-36E4-467C-8300-85BCF6933F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63635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gs: text, crowdsourcing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9E7E8-36E4-467C-8300-85BCF6933F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929841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gs: text, crowdsourcing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9E7E8-36E4-467C-8300-85BCF6933F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52152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44558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3668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98611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50146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0249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1971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gs: text, crowdsourcing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9E7E8-36E4-467C-8300-85BCF6933F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09319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gs: text, crowdsourcing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9E7E8-36E4-467C-8300-85BCF6933F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77905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gs: text, crowdsourcing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9E7E8-36E4-467C-8300-85BCF6933F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48882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gs: text, crowdsourcing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9E7E8-36E4-467C-8300-85BCF6933F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03896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97570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647700"/>
            <a:ext cx="5400000" cy="547989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70355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F8FD89F-482B-4AF9-900A-5BA2DBDE301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97570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4B321D47-1AE7-42B2-8C49-2BE2D02810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24B1CA9-3A55-41D7-A277-8C3445AB16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60C81AC0-233F-4638-A82C-0E8B5E7124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83AF813C-C975-4939-AD65-34F74EAD5F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DABFD676-85B1-4F89-ACB7-217A1A11A5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115332E4-4D91-461B-9649-D8D831FC2B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3D094DD5-179B-42FE-A04C-94E98E23F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1D434C23-672C-470F-BF32-401B59F2B0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5FB7A9B0-2BA9-485C-A151-3AB823E5EC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23B43EE4-1C15-419C-AB4B-F9DBF97B5F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25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4167330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0215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481A36-3B74-4C1E-8A6A-DD33D090818C}"/>
              </a:ext>
            </a:extLst>
          </p:cNvPr>
          <p:cNvSpPr txBox="1"/>
          <p:nvPr userDrawn="1"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45757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05670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BED4A0F-4987-4CDD-BB19-D8051E48E570}"/>
              </a:ext>
            </a:extLst>
          </p:cNvPr>
          <p:cNvSpPr txBox="1"/>
          <p:nvPr userDrawn="1"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69067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9C69D3A-9342-44F5-B9CA-54CF037C26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97570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918C70E5-7AF3-4E95-870F-DE0CEBAACA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36F3D1FD-C295-49F1-BDC4-7303D59959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6108E91A-96CB-4F56-86E8-C0E2738294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50A4CE42-CA03-4073-BBA8-0BDF31C3FE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E5B07CB7-3810-42E1-907C-0E9B0BE6C8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D10581EB-241E-411F-91ED-EAA5496047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4104E715-D893-4295-8339-2B75A7BDA7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608A9120-92D1-400E-B1C2-2AEF92A7DC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E0BF5E88-7BF3-4667-9305-25B93D5296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FEC5F6DB-BB32-489D-A2BC-DCE3A6F65D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39483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aseCode">
            <a:extLst>
              <a:ext uri="{FF2B5EF4-FFF2-40B4-BE49-F238E27FC236}">
                <a16:creationId xmlns:a16="http://schemas.microsoft.com/office/drawing/2014/main" id="{FB491C58-FDC6-4EE5-A67A-26493A855541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57B5F086-A360-45DE-818B-343106613D71}"/>
              </a:ext>
            </a:extLst>
          </p:cNvPr>
          <p:cNvSpPr txBox="1"/>
          <p:nvPr userDrawn="1"/>
        </p:nvSpPr>
        <p:spPr>
          <a:xfrm>
            <a:off x="501649" y="6477001"/>
            <a:ext cx="5355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EB3962E-D404-46D8-9AF0-E33D98DCD8F3}"/>
              </a:ext>
            </a:extLst>
          </p:cNvPr>
          <p:cNvSpPr txBox="1"/>
          <p:nvPr userDrawn="1"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64963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4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0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0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aseCode">
            <a:extLst>
              <a:ext uri="{FF2B5EF4-FFF2-40B4-BE49-F238E27FC236}">
                <a16:creationId xmlns:a16="http://schemas.microsoft.com/office/drawing/2014/main" id="{EA8D1A0E-2938-4680-9D37-3C2F0128FF3F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6EFF4D1E-EF3F-4F30-B848-EEF44B181E11}"/>
              </a:ext>
            </a:extLst>
          </p:cNvPr>
          <p:cNvSpPr txBox="1"/>
          <p:nvPr userDrawn="1"/>
        </p:nvSpPr>
        <p:spPr>
          <a:xfrm>
            <a:off x="501649" y="6477001"/>
            <a:ext cx="5355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ACFBBC-0846-4864-AC28-7A4A3ABB1653}"/>
              </a:ext>
            </a:extLst>
          </p:cNvPr>
          <p:cNvSpPr txBox="1"/>
          <p:nvPr userDrawn="1"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44628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5049338-7875-4927-82E0-03C95D8320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8658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5049338-7875-4927-82E0-03C95D8320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AA52354-AD0C-4278-A20C-E161AEB4D1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0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895528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A96709-DC00-4570-B140-895E15716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583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A96709-DC00-4570-B140-895E15716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538" y="651600"/>
            <a:ext cx="112014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8F5CB4A9-3C7F-4829-BD7E-C42F0517765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0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414386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66A5C41-60AA-4C25-8080-4F0DFF19B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625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66A5C41-60AA-4C25-8080-4F0DFF19B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0FFDC9-4859-4F86-9E1A-7D269FFCA2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96969" y="2057400"/>
            <a:ext cx="11201400" cy="3996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97681" y="651600"/>
            <a:ext cx="112014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96979" y="1639969"/>
            <a:ext cx="11201400" cy="360000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DE3B7BC5-B06B-40CF-B184-81BB1F9871A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0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BE32CF0A-0DCD-47C5-AA9A-AD708FE81E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6969" y="6132378"/>
            <a:ext cx="11201400" cy="252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8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3007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two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954C1B-9B85-4D98-9B7C-DD27C71008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5065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954C1B-9B85-4D98-9B7C-DD27C71008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97745" y="6132547"/>
            <a:ext cx="11203200" cy="252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800" dirty="0"/>
            </a:lvl1pPr>
          </a:lstStyle>
          <a:p>
            <a:pPr lvl="0">
              <a:spcAft>
                <a:spcPts val="0"/>
              </a:spcAft>
            </a:pPr>
            <a:r>
              <a:rPr lang="en-US" dirty="0"/>
              <a:t>Click to edit Master text styles</a:t>
            </a:r>
          </a:p>
          <a:p>
            <a:pPr lvl="0">
              <a:spcAft>
                <a:spcPts val="0"/>
              </a:spcAft>
            </a:pPr>
            <a:endParaRPr lang="en-US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4C9C465-5F81-4C4E-AE36-82D75EF23C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7681" y="651600"/>
            <a:ext cx="112014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A108B9C2-D6E9-4F22-A358-F556910FD39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0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9385AE09-84CB-40D7-9DEA-F4FDCC779B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2516" y="1640168"/>
            <a:ext cx="5486400" cy="360000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7DBC7EB-62D2-4040-B1DD-56E1F55811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7745" y="1640168"/>
            <a:ext cx="5486400" cy="360000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3AFF79-94AA-43F5-A0A5-FED7412D5A6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97745" y="2057399"/>
            <a:ext cx="5486400" cy="3996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24ED36A-C42A-4B02-9FE8-7456AFD8641A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12516" y="2057399"/>
            <a:ext cx="5486400" cy="3996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904550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861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E7CE24-FDA7-453D-848B-51687DD68D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5580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E7CE24-FDA7-453D-848B-51687DD68D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seCode">
            <a:extLst>
              <a:ext uri="{FF2B5EF4-FFF2-40B4-BE49-F238E27FC236}">
                <a16:creationId xmlns:a16="http://schemas.microsoft.com/office/drawing/2014/main" id="{4D067F15-7090-4FD4-8B55-76CB78DD9BD0}"/>
              </a:ext>
            </a:extLst>
          </p:cNvPr>
          <p:cNvSpPr txBox="1"/>
          <p:nvPr userDrawn="1"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A13EFA35-A937-47F7-93E5-9465F8876AC6}"/>
              </a:ext>
            </a:extLst>
          </p:cNvPr>
          <p:cNvSpPr txBox="1"/>
          <p:nvPr userDrawn="1"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9B4359-4F20-4FAE-B7A0-C54983A639ED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F894959D-5837-4BF7-8AA5-2572907695C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3200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511884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73828893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0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5" name="CaseCode"/>
          <p:cNvSpPr txBox="1"/>
          <p:nvPr/>
        </p:nvSpPr>
        <p:spPr>
          <a:xfrm>
            <a:off x="6335184" y="6477000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hu-HU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terprise IT alapozó tréning</a:t>
            </a:r>
            <a:endParaRPr lang="en-US" sz="8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97681" y="1638300"/>
            <a:ext cx="11201400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CaseCode">
            <a:extLst>
              <a:ext uri="{FF2B5EF4-FFF2-40B4-BE49-F238E27FC236}">
                <a16:creationId xmlns:a16="http://schemas.microsoft.com/office/drawing/2014/main" id="{23BA930A-2DEE-7D4A-1218-73E363CC04CD}"/>
              </a:ext>
            </a:extLst>
          </p:cNvPr>
          <p:cNvSpPr txBox="1"/>
          <p:nvPr userDrawn="1"/>
        </p:nvSpPr>
        <p:spPr>
          <a:xfrm>
            <a:off x="497681" y="6477000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spcBef>
                <a:spcPts val="0"/>
              </a:spcBef>
              <a:buSzPct val="100000"/>
              <a:buFont typeface="Arial"/>
              <a:buNone/>
            </a:pPr>
            <a:r>
              <a:rPr lang="hu-HU" sz="800" noProof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</a:t>
            </a:r>
            <a:r>
              <a:rPr lang="hu-HU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023</a:t>
            </a:r>
            <a:endParaRPr lang="en-US" sz="8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9119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1" r:id="rId1"/>
    <p:sldLayoutId id="2147484062" r:id="rId2"/>
    <p:sldLayoutId id="2147483816" r:id="rId3"/>
    <p:sldLayoutId id="2147483817" r:id="rId4"/>
    <p:sldLayoutId id="2147484088" r:id="rId5"/>
    <p:sldLayoutId id="2147484087" r:id="rId6"/>
    <p:sldLayoutId id="2147484067" r:id="rId7"/>
    <p:sldLayoutId id="2147484075" r:id="rId8"/>
    <p:sldLayoutId id="2147484105" r:id="rId9"/>
    <p:sldLayoutId id="2147484091" r:id="rId10"/>
    <p:sldLayoutId id="2147484108" r:id="rId11"/>
    <p:sldLayoutId id="2147484109" r:id="rId12"/>
    <p:sldLayoutId id="2147484110" r:id="rId13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6" orient="horz" pos="4032" userDrawn="1">
          <p15:clr>
            <a:srgbClr val="F26B43"/>
          </p15:clr>
        </p15:guide>
        <p15:guide id="51" orient="horz" pos="4080" userDrawn="1">
          <p15:clr>
            <a:srgbClr val="F26B43"/>
          </p15:clr>
        </p15:guide>
        <p15:guide id="52" pos="3840" userDrawn="1">
          <p15:clr>
            <a:srgbClr val="F26B43"/>
          </p15:clr>
        </p15:guide>
        <p15:guide id="53" pos="3912" userDrawn="1">
          <p15:clr>
            <a:srgbClr val="F26B43"/>
          </p15:clr>
        </p15:guide>
        <p15:guide id="54" pos="3768" userDrawn="1">
          <p15:clr>
            <a:srgbClr val="F26B43"/>
          </p15:clr>
        </p15:guide>
        <p15:guide id="63" pos="312" userDrawn="1">
          <p15:clr>
            <a:srgbClr val="F26B43"/>
          </p15:clr>
        </p15:guide>
        <p15:guide id="64" orient="horz" pos="1032" userDrawn="1">
          <p15:clr>
            <a:srgbClr val="F26B43"/>
          </p15:clr>
        </p15:guide>
        <p15:guide id="65" orient="horz" pos="408" userDrawn="1">
          <p15:clr>
            <a:srgbClr val="F26B43"/>
          </p15:clr>
        </p15:guide>
        <p15:guide id="66" orient="horz" pos="192" userDrawn="1">
          <p15:clr>
            <a:srgbClr val="F26B43"/>
          </p15:clr>
        </p15:guide>
        <p15:guide id="67" pos="7368" userDrawn="1">
          <p15:clr>
            <a:srgbClr val="F26B43"/>
          </p15:clr>
        </p15:guide>
        <p15:guide id="68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4.xml"/><Relationship Id="rId6" Type="http://schemas.openxmlformats.org/officeDocument/2006/relationships/image" Target="../media/image8.png"/><Relationship Id="rId5" Type="http://schemas.openxmlformats.org/officeDocument/2006/relationships/hyperlink" Target="https://forms.office.com/e/QZ7i1gaxGM" TargetMode="External"/><Relationship Id="rId4" Type="http://schemas.openxmlformats.org/officeDocument/2006/relationships/image" Target="../media/image3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0.jpe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32.xml"/><Relationship Id="rId7" Type="http://schemas.openxmlformats.org/officeDocument/2006/relationships/oleObject" Target="../embeddings/oleObject24.bin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33.xml"/><Relationship Id="rId9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6.xml"/><Relationship Id="rId7" Type="http://schemas.openxmlformats.org/officeDocument/2006/relationships/image" Target="../media/image9.emf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3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4.emf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6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1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2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9.xml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0.xml"/><Relationship Id="rId4" Type="http://schemas.openxmlformats.org/officeDocument/2006/relationships/image" Target="../media/image3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1.xml"/><Relationship Id="rId6" Type="http://schemas.openxmlformats.org/officeDocument/2006/relationships/image" Target="../media/image17.png"/><Relationship Id="rId5" Type="http://schemas.openxmlformats.org/officeDocument/2006/relationships/hyperlink" Target="https://forms.office.com/e/Jz6WCu3DEr" TargetMode="External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7.xml"/><Relationship Id="rId5" Type="http://schemas.openxmlformats.org/officeDocument/2006/relationships/image" Target="../media/image6.emf"/><Relationship Id="rId4" Type="http://schemas.openxmlformats.org/officeDocument/2006/relationships/image" Target="../media/image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8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D67702E-951E-B181-C7F2-1B02703785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D67702E-951E-B181-C7F2-1B02703785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CCAB432B-E0E7-4F80-A4A1-76DCDC1FBF7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C2F03B24-5911-487D-A541-83315BB9229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hu-HU" dirty="0"/>
              <a:t>Enterprise IT</a:t>
            </a:r>
            <a:br>
              <a:rPr lang="hu-HU" dirty="0"/>
            </a:br>
            <a:r>
              <a:rPr lang="hu-HU" dirty="0"/>
              <a:t>Kickstarter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207E-7FD3-4B75-ADFE-CC565F8DB8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hu-HU" dirty="0"/>
              <a:t>2024 – Török Tamás (ETP/TST/TSA)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CC73BD3-CEF3-4392-A9E1-1E6D3419AF4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989382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90DA712-C46A-DE2E-2A0A-B79E21A50E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90DA712-C46A-DE2E-2A0A-B79E21A50E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hu-HU" dirty="0"/>
              <a:t>Enterprise </a:t>
            </a:r>
            <a:r>
              <a:rPr lang="hu-HU" dirty="0" err="1"/>
              <a:t>Architecture</a:t>
            </a:r>
            <a:r>
              <a:rPr lang="hu-HU" dirty="0"/>
              <a:t> </a:t>
            </a:r>
            <a:r>
              <a:rPr lang="hu-HU" b="0" dirty="0"/>
              <a:t>(EA)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Gyakorl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012467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D6BBA49-D777-5F5F-94F9-1E960D60CC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068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D6BBA49-D777-5F5F-94F9-1E960D60CC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hu-HU"/>
              <a:t>Enterprise Architecture – tervezési feladat</a:t>
            </a:r>
          </a:p>
        </p:txBody>
      </p:sp>
      <p:graphicFrame>
        <p:nvGraphicFramePr>
          <p:cNvPr id="19" name="Chart Placeholder 18"/>
          <p:cNvGraphicFramePr>
            <a:graphicFrameLocks noGrp="1"/>
          </p:cNvGraphicFramePr>
          <p:nvPr>
            <p:ph type="chart" sz="quarter" idx="4294967295"/>
            <p:extLst>
              <p:ext uri="{D42A27DB-BD31-4B8C-83A1-F6EECF244321}">
                <p14:modId xmlns:p14="http://schemas.microsoft.com/office/powerpoint/2010/main" val="3203552412"/>
              </p:ext>
            </p:extLst>
          </p:nvPr>
        </p:nvGraphicFramePr>
        <p:xfrm>
          <a:off x="493713" y="1839230"/>
          <a:ext cx="11237911" cy="25692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1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265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24263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hu-HU" sz="1600" b="0" noProof="0">
                          <a:solidFill>
                            <a:schemeClr val="tx1"/>
                          </a:solidFill>
                          <a:latin typeface="+mn-lt"/>
                        </a:rPr>
                        <a:t>Termékek</a:t>
                      </a:r>
                    </a:p>
                  </a:txBody>
                  <a:tcPr marL="91909" marR="91909"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1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Arial"/>
                        <a:buNone/>
                      </a:pPr>
                      <a:r>
                        <a:rPr lang="hu-HU" sz="1600" b="1" noProof="0">
                          <a:solidFill>
                            <a:schemeClr val="tx1"/>
                          </a:solidFill>
                          <a:latin typeface="+mn-lt"/>
                        </a:rPr>
                        <a:t>A szerte a világon már jól ismert szolgáltató alaptermékeivel lép piacra:</a:t>
                      </a:r>
                    </a:p>
                    <a:p>
                      <a:pPr marL="114300" lvl="1" indent="-11430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Arial"/>
                        <a:buChar char="•"/>
                      </a:pPr>
                      <a:r>
                        <a:rPr lang="hu-HU" sz="1600" b="1" noProof="0">
                          <a:solidFill>
                            <a:schemeClr val="tx1"/>
                          </a:solidFill>
                          <a:latin typeface="+mn-lt"/>
                        </a:rPr>
                        <a:t>Cabling</a:t>
                      </a:r>
                      <a:r>
                        <a:rPr lang="hu-HU" sz="1600" b="0" noProof="0">
                          <a:solidFill>
                            <a:schemeClr val="tx1"/>
                          </a:solidFill>
                          <a:latin typeface="+mn-lt"/>
                        </a:rPr>
                        <a:t>: Kábeles gépjármű-akkumulátor töltése</a:t>
                      </a:r>
                    </a:p>
                    <a:p>
                      <a:pPr marL="114300" lvl="1" indent="-11430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Arial"/>
                        <a:buChar char="•"/>
                      </a:pPr>
                      <a:r>
                        <a:rPr lang="hu-HU" sz="1600" b="1" noProof="0">
                          <a:solidFill>
                            <a:schemeClr val="tx1"/>
                          </a:solidFill>
                          <a:latin typeface="+mn-lt"/>
                        </a:rPr>
                        <a:t>Regenerator</a:t>
                      </a:r>
                      <a:r>
                        <a:rPr lang="hu-HU" sz="1600" b="0" noProof="0">
                          <a:solidFill>
                            <a:schemeClr val="tx1"/>
                          </a:solidFill>
                          <a:latin typeface="+mn-lt"/>
                        </a:rPr>
                        <a:t>: Diagnosztika, nem gyártói szervizköteles sw frissítések </a:t>
                      </a:r>
                    </a:p>
                    <a:p>
                      <a:pPr marL="114300" lvl="1" indent="-11430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Arial"/>
                        <a:buChar char="•"/>
                      </a:pPr>
                      <a:r>
                        <a:rPr lang="hu-HU" sz="1600" b="1" noProof="0">
                          <a:solidFill>
                            <a:schemeClr val="tx1"/>
                          </a:solidFill>
                          <a:latin typeface="+mn-lt"/>
                        </a:rPr>
                        <a:t>Have_A_Break</a:t>
                      </a:r>
                      <a:r>
                        <a:rPr lang="hu-HU" sz="1600" b="0" noProof="0">
                          <a:solidFill>
                            <a:schemeClr val="tx1"/>
                          </a:solidFill>
                          <a:latin typeface="+mn-lt"/>
                        </a:rPr>
                        <a:t>: Várakozási idő hosszához igazított, free tartalomszolgáltatás (pl. movie series streaming), étel- és italautomata </a:t>
                      </a:r>
                    </a:p>
                  </a:txBody>
                  <a:tcPr marL="91909" marR="91909"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24263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hu-HU" sz="1600" b="0" noProof="0">
                          <a:solidFill>
                            <a:schemeClr val="tx1"/>
                          </a:solidFill>
                          <a:latin typeface="+mn-lt"/>
                        </a:rPr>
                        <a:t>Üzleti cél</a:t>
                      </a:r>
                    </a:p>
                  </a:txBody>
                  <a:tcPr marL="91909" marR="91909"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1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Arial"/>
                        <a:buNone/>
                      </a:pPr>
                      <a:r>
                        <a:rPr lang="hu-HU" sz="16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 társaság egyelőre a budapestiek igényeit igyekszik kielégíteni, nincs shop és élő munkaerő az állomásokon.</a:t>
                      </a:r>
                    </a:p>
                  </a:txBody>
                  <a:tcPr marL="91909" marR="91909"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96979" y="1426561"/>
            <a:ext cx="11201400" cy="360000"/>
          </a:xfrm>
        </p:spPr>
        <p:txBody>
          <a:bodyPr/>
          <a:lstStyle/>
          <a:p>
            <a:r>
              <a:rPr lang="hu-HU" sz="1800"/>
              <a:t>Végre, Budapestre települ a </a:t>
            </a:r>
            <a:r>
              <a:rPr lang="hu-HU" sz="1800" b="1"/>
              <a:t>!loadMe</a:t>
            </a:r>
            <a:r>
              <a:rPr lang="hu-HU" sz="1800"/>
              <a:t> elektromos gépjárműtöltő-hálózat!</a:t>
            </a:r>
          </a:p>
          <a:p>
            <a:endParaRPr lang="hu-HU" sz="180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hu-HU"/>
              <a:t>Gyakorlati feladat I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D5BF219-F022-D711-4B6B-6E48DDC6803D}"/>
              </a:ext>
            </a:extLst>
          </p:cNvPr>
          <p:cNvSpPr/>
          <p:nvPr/>
        </p:nvSpPr>
        <p:spPr bwMode="gray">
          <a:xfrm>
            <a:off x="2247900" y="4612401"/>
            <a:ext cx="9450479" cy="125302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91440" tIns="91440" rIns="91440" bIns="91440" rtlCol="0" anchor="t"/>
          <a:lstStyle/>
          <a:p>
            <a:r>
              <a:rPr lang="hu-HU" dirty="0"/>
              <a:t>Tervezd meg az </a:t>
            </a:r>
            <a:r>
              <a:rPr lang="hu-HU" b="1" dirty="0"/>
              <a:t>üzleti architektúrát </a:t>
            </a:r>
            <a:r>
              <a:rPr lang="hu-HU" dirty="0"/>
              <a:t>(</a:t>
            </a:r>
            <a:r>
              <a:rPr lang="hu-HU" dirty="0" err="1"/>
              <a:t>only</a:t>
            </a:r>
            <a:r>
              <a:rPr lang="hu-HU" dirty="0"/>
              <a:t> </a:t>
            </a:r>
            <a:r>
              <a:rPr lang="hu-HU" dirty="0" err="1"/>
              <a:t>sales</a:t>
            </a:r>
            <a:r>
              <a:rPr lang="hu-HU" dirty="0"/>
              <a:t> &amp; </a:t>
            </a:r>
            <a:r>
              <a:rPr lang="hu-HU" dirty="0" err="1"/>
              <a:t>payment</a:t>
            </a:r>
            <a:r>
              <a:rPr lang="hu-HU" dirty="0"/>
              <a:t>)!</a:t>
            </a:r>
          </a:p>
          <a:p>
            <a:r>
              <a:rPr lang="hu-HU" dirty="0"/>
              <a:t>(egy jármű hatótávolsága 200km, töltési ideje 45 perc, minden akkumulátor 30KWh, és nincs töltési veszteség)</a:t>
            </a:r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67321A41-04DB-006D-91D2-B2506902E083}"/>
              </a:ext>
            </a:extLst>
          </p:cNvPr>
          <p:cNvSpPr/>
          <p:nvPr/>
        </p:nvSpPr>
        <p:spPr bwMode="gray">
          <a:xfrm>
            <a:off x="493621" y="4786179"/>
            <a:ext cx="1435100" cy="882163"/>
          </a:xfrm>
          <a:prstGeom prst="rightArrow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hu-HU" sz="1600" b="1">
                <a:solidFill>
                  <a:schemeClr val="bg1"/>
                </a:solidFill>
              </a:rPr>
              <a:t>Feladat</a:t>
            </a:r>
          </a:p>
        </p:txBody>
      </p:sp>
    </p:spTree>
    <p:extLst>
      <p:ext uri="{BB962C8B-B14F-4D97-AF65-F5344CB8AC3E}">
        <p14:creationId xmlns:p14="http://schemas.microsoft.com/office/powerpoint/2010/main" val="122941127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0C89F07-F979-4C2F-70FE-7FBB9C140D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501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0C89F07-F979-4C2F-70FE-7FBB9C140D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2AE3635-A411-6F61-5930-7B9108048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hu-HU" dirty="0"/>
              <a:t>Megoldás I. – </a:t>
            </a:r>
            <a:r>
              <a:rPr lang="hu-HU" b="1" dirty="0"/>
              <a:t>Méretezés</a:t>
            </a:r>
            <a:endParaRPr lang="en-US" b="1" dirty="0"/>
          </a:p>
        </p:txBody>
      </p:sp>
      <p:graphicFrame>
        <p:nvGraphicFramePr>
          <p:cNvPr id="4" name="Chart Placeholder 18">
            <a:extLst>
              <a:ext uri="{FF2B5EF4-FFF2-40B4-BE49-F238E27FC236}">
                <a16:creationId xmlns:a16="http://schemas.microsoft.com/office/drawing/2014/main" id="{4E12B8B3-536C-D31C-C5DA-64A01F81AD0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99582704"/>
              </p:ext>
            </p:extLst>
          </p:nvPr>
        </p:nvGraphicFramePr>
        <p:xfrm>
          <a:off x="477044" y="1299210"/>
          <a:ext cx="11237911" cy="42595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1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265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24263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hu-HU" sz="1600" b="1" dirty="0">
                          <a:solidFill>
                            <a:schemeClr val="accent4"/>
                          </a:solidFill>
                          <a:latin typeface="+mn-lt"/>
                        </a:rPr>
                        <a:t>Töltendő eszközök száma</a:t>
                      </a:r>
                      <a:endParaRPr lang="en-US" sz="1600" b="1" dirty="0">
                        <a:solidFill>
                          <a:schemeClr val="accent4"/>
                        </a:solidFill>
                        <a:latin typeface="+mn-lt"/>
                      </a:endParaRPr>
                    </a:p>
                  </a:txBody>
                  <a:tcPr marL="91909" marR="91909"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1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Arial"/>
                        <a:buNone/>
                      </a:pPr>
                      <a:r>
                        <a:rPr lang="hu-HU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A modellünk az önálló személyszállításból indul ki (teher és tömegközlekedés nem </a:t>
                      </a:r>
                      <a:r>
                        <a:rPr lang="hu-HU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scope</a:t>
                      </a:r>
                      <a:r>
                        <a:rPr lang="hu-HU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). Budapest 1,5M lakosa kb. 500K háztartásba szerveződik, mely 300K motorizált járművet tart fenn. Az elektromotoros járművek aránya jelenleg 20%, vagyis</a:t>
                      </a:r>
                    </a:p>
                    <a:p>
                      <a:pPr marL="0" lvl="1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Arial"/>
                        <a:buNone/>
                      </a:pPr>
                      <a:r>
                        <a:rPr lang="hu-HU" sz="1600" b="1" dirty="0">
                          <a:solidFill>
                            <a:schemeClr val="tx1"/>
                          </a:solidFill>
                          <a:latin typeface="+mn-lt"/>
                        </a:rPr>
                        <a:t>60 000 db személyszállító eszköz töltését kell biztosítani.</a:t>
                      </a:r>
                    </a:p>
                  </a:txBody>
                  <a:tcPr marL="91909" marR="91909"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24263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hu-HU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Töltések száma</a:t>
                      </a:r>
                      <a:endParaRPr lang="en-US" sz="1600" b="1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909" marR="91909"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hu-HU" sz="1600" dirty="0"/>
                        <a:t>A jelenlegi lefedettség és töredezettség miatt a konkurencia elhanyagolható.</a:t>
                      </a:r>
                    </a:p>
                    <a:p>
                      <a:r>
                        <a:rPr lang="hu-HU" sz="1600" dirty="0"/>
                        <a:t>A helyi forgalom havi 1200 km átlagos futásteljesítményt mutat, vagyis minden járműnek </a:t>
                      </a:r>
                      <a:r>
                        <a:rPr lang="hu-HU" sz="1600" b="1" dirty="0"/>
                        <a:t>havonta 6x kell tölteni</a:t>
                      </a:r>
                      <a:r>
                        <a:rPr lang="hu-HU" sz="1600" dirty="0"/>
                        <a:t> a !</a:t>
                      </a:r>
                      <a:r>
                        <a:rPr lang="hu-HU" sz="1600" dirty="0" err="1"/>
                        <a:t>loadMe</a:t>
                      </a:r>
                      <a:r>
                        <a:rPr lang="hu-HU" sz="1600" dirty="0"/>
                        <a:t>-nél (otthoni töltés, konkurencia nem játszik), mely eloszlása egyenletes, azaz </a:t>
                      </a:r>
                      <a:r>
                        <a:rPr lang="hu-HU" sz="1600" b="1" dirty="0"/>
                        <a:t>napi 12 000 töltés</a:t>
                      </a:r>
                      <a:r>
                        <a:rPr lang="hu-HU" sz="1600" dirty="0"/>
                        <a:t>.</a:t>
                      </a:r>
                    </a:p>
                  </a:txBody>
                  <a:tcPr marL="91909" marR="91909"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4263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hu-HU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Töltőpontok száma</a:t>
                      </a:r>
                      <a:endParaRPr lang="en-US" sz="1600" b="1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909" marR="91909"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hu-HU" sz="1600" dirty="0"/>
                        <a:t>A napon belüli intenzitást becsülve a munkanapokból indulhatunk ki. Munkaidő előtti 07:00-10:00 és 16:00-19:00 sávokat vegyük alapul. Az átlagos töltési idővel számolva</a:t>
                      </a:r>
                    </a:p>
                    <a:p>
                      <a:r>
                        <a:rPr lang="hu-HU" sz="1600" b="1" dirty="0"/>
                        <a:t>1 500 db töltőpontra</a:t>
                      </a:r>
                      <a:r>
                        <a:rPr lang="hu-HU" sz="1600" dirty="0"/>
                        <a:t> lesz szükség a várakoztatás nélküli szolgáltatáshoz.</a:t>
                      </a:r>
                    </a:p>
                  </a:txBody>
                  <a:tcPr marL="91909" marR="91909"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8888409"/>
                  </a:ext>
                </a:extLst>
              </a:tr>
              <a:tr h="824263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hu-HU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Töltőállomások száma</a:t>
                      </a:r>
                      <a:endParaRPr lang="en-US" sz="1600" b="1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909" marR="91909"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600" dirty="0"/>
                        <a:t>Az állomások által felvett elektromos teljesítményküszöb miatt maximum 15 töltőpontja lehet egy állomásnak, vagy </a:t>
                      </a:r>
                      <a:r>
                        <a:rPr lang="hu-HU" sz="1600" b="1" dirty="0"/>
                        <a:t>100 db állomást kell Budapesten területileg egyenletesen elosztva, de forgalmas közlekedési csomópontokban telepíteni.</a:t>
                      </a:r>
                    </a:p>
                  </a:txBody>
                  <a:tcPr marL="91909" marR="91909"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8004618"/>
                  </a:ext>
                </a:extLst>
              </a:tr>
            </a:tbl>
          </a:graphicData>
        </a:graphic>
      </p:graphicFrame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F6319D7-130B-0C95-5DDE-EE9E36AD41CF}"/>
              </a:ext>
            </a:extLst>
          </p:cNvPr>
          <p:cNvSpPr txBox="1">
            <a:spLocks/>
          </p:cNvSpPr>
          <p:nvPr/>
        </p:nvSpPr>
        <p:spPr>
          <a:xfrm>
            <a:off x="497681" y="651601"/>
            <a:ext cx="11201400" cy="334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dirty="0"/>
              <a:t>Enterprise </a:t>
            </a:r>
            <a:r>
              <a:rPr lang="hu-HU" dirty="0" err="1"/>
              <a:t>Architecture</a:t>
            </a:r>
            <a:r>
              <a:rPr lang="hu-HU" dirty="0"/>
              <a:t> – tervezési felad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545552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0C89F07-F979-4C2F-70FE-7FBB9C140D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8893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0C89F07-F979-4C2F-70FE-7FBB9C140D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2AE3635-A411-6F61-5930-7B9108048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hu-HU" dirty="0"/>
              <a:t>Megoldás II. – </a:t>
            </a:r>
            <a:r>
              <a:rPr lang="hu-HU" b="1" dirty="0"/>
              <a:t>Üzleti modell</a:t>
            </a:r>
            <a:endParaRPr lang="en-US" b="1" dirty="0"/>
          </a:p>
        </p:txBody>
      </p:sp>
      <p:graphicFrame>
        <p:nvGraphicFramePr>
          <p:cNvPr id="4" name="Chart Placeholder 18">
            <a:extLst>
              <a:ext uri="{FF2B5EF4-FFF2-40B4-BE49-F238E27FC236}">
                <a16:creationId xmlns:a16="http://schemas.microsoft.com/office/drawing/2014/main" id="{4E12B8B3-536C-D31C-C5DA-64A01F81AD0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78424403"/>
              </p:ext>
            </p:extLst>
          </p:nvPr>
        </p:nvGraphicFramePr>
        <p:xfrm>
          <a:off x="477044" y="1299210"/>
          <a:ext cx="11237911" cy="50006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1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265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28335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hu-HU" sz="1600" b="1" dirty="0">
                          <a:solidFill>
                            <a:schemeClr val="accent4"/>
                          </a:solidFill>
                          <a:latin typeface="+mn-lt"/>
                        </a:rPr>
                        <a:t>Infrastruktúra</a:t>
                      </a:r>
                      <a:endParaRPr lang="en-US" sz="1600" b="1" dirty="0">
                        <a:solidFill>
                          <a:schemeClr val="accent4"/>
                        </a:solidFill>
                        <a:latin typeface="+mn-lt"/>
                      </a:endParaRPr>
                    </a:p>
                  </a:txBody>
                  <a:tcPr marL="91909" marR="91909"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1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Arial"/>
                        <a:buNone/>
                      </a:pPr>
                      <a:r>
                        <a:rPr lang="hu-HU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A HQ és az állomások a !</a:t>
                      </a:r>
                      <a:r>
                        <a:rPr lang="hu-HU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loadMe</a:t>
                      </a:r>
                      <a:r>
                        <a:rPr lang="hu-HU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tulajdonában vannak.</a:t>
                      </a:r>
                    </a:p>
                  </a:txBody>
                  <a:tcPr marL="91909" marR="91909"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0460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hu-HU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Szállítók</a:t>
                      </a:r>
                      <a:endParaRPr lang="en-US" sz="1600" b="1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909" marR="91909"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hu-HU" sz="1600" dirty="0"/>
                        <a:t>Energiaszolgáltatók, Internet és streaming-szolgáltatók, Autógyártók, </a:t>
                      </a:r>
                      <a:r>
                        <a:rPr lang="hu-HU" sz="1600" dirty="0" err="1"/>
                        <a:t>Catering</a:t>
                      </a:r>
                      <a:r>
                        <a:rPr lang="hu-HU" sz="1600" dirty="0"/>
                        <a:t>, Fizetési szolgáltatók.</a:t>
                      </a:r>
                    </a:p>
                  </a:txBody>
                  <a:tcPr marL="91909" marR="91909"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1051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hu-HU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Ügyfelek</a:t>
                      </a:r>
                      <a:endParaRPr lang="en-US" sz="1600" b="1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909" marR="91909"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hu-HU" sz="1600" dirty="0"/>
                        <a:t>Az elektromos járművek utasai (fizetéshez rendelt ügyfél kiemelt).</a:t>
                      </a:r>
                    </a:p>
                  </a:txBody>
                  <a:tcPr marL="91909" marR="91909"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8888409"/>
                  </a:ext>
                </a:extLst>
              </a:tr>
              <a:tr h="2711211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hu-HU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Értékesítés</a:t>
                      </a:r>
                      <a:endParaRPr lang="en-US" sz="1600" b="1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909" marR="91909"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600" dirty="0"/>
                        <a:t>A termékek az állomáson kerülnek átadásra a felhasználóknak napi </a:t>
                      </a:r>
                      <a:r>
                        <a:rPr lang="hu-HU" sz="1600" dirty="0" err="1"/>
                        <a:t>ártarifával</a:t>
                      </a:r>
                      <a:r>
                        <a:rPr lang="hu-HU" sz="1600" dirty="0"/>
                        <a:t>.</a:t>
                      </a:r>
                    </a:p>
                  </a:txBody>
                  <a:tcPr marL="91909" marR="91909"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8004618"/>
                  </a:ext>
                </a:extLst>
              </a:tr>
              <a:tr h="779577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hu-HU" sz="16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Fizetés</a:t>
                      </a:r>
                      <a:endParaRPr lang="en-US" sz="1600" b="1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909" marR="91909"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600" dirty="0" err="1"/>
                        <a:t>Prepayed</a:t>
                      </a:r>
                      <a:r>
                        <a:rPr lang="hu-HU" sz="1600" dirty="0"/>
                        <a:t> vagy előzetes lekötés (mint a parkolásnál)</a:t>
                      </a:r>
                    </a:p>
                  </a:txBody>
                  <a:tcPr marL="91909" marR="91909"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242744"/>
                  </a:ext>
                </a:extLst>
              </a:tr>
            </a:tbl>
          </a:graphicData>
        </a:graphic>
      </p:graphicFrame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F6319D7-130B-0C95-5DDE-EE9E36AD41CF}"/>
              </a:ext>
            </a:extLst>
          </p:cNvPr>
          <p:cNvSpPr txBox="1">
            <a:spLocks/>
          </p:cNvSpPr>
          <p:nvPr/>
        </p:nvSpPr>
        <p:spPr>
          <a:xfrm>
            <a:off x="497681" y="651601"/>
            <a:ext cx="11201400" cy="334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dirty="0"/>
              <a:t>Enterprise </a:t>
            </a:r>
            <a:r>
              <a:rPr lang="hu-HU" dirty="0" err="1"/>
              <a:t>Architecture</a:t>
            </a:r>
            <a:r>
              <a:rPr lang="hu-HU" dirty="0"/>
              <a:t> – tervezési feladat</a:t>
            </a:r>
            <a:endParaRPr lang="en-US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0BD54B89-1998-E8E2-49A5-CE5A730791E2}"/>
              </a:ext>
            </a:extLst>
          </p:cNvPr>
          <p:cNvSpPr/>
          <p:nvPr/>
        </p:nvSpPr>
        <p:spPr bwMode="gray">
          <a:xfrm>
            <a:off x="2010877" y="4008400"/>
            <a:ext cx="226244" cy="188536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D67A4EB-4E1F-D4C5-2D36-25CB8706261B}"/>
              </a:ext>
            </a:extLst>
          </p:cNvPr>
          <p:cNvCxnSpPr>
            <a:cxnSpLocks/>
            <a:stCxn id="2" idx="4"/>
          </p:cNvCxnSpPr>
          <p:nvPr/>
        </p:nvCxnSpPr>
        <p:spPr>
          <a:xfrm>
            <a:off x="2123999" y="4196936"/>
            <a:ext cx="0" cy="23567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695B9B3-8C15-D985-5C53-7ACCF6FD64CD}"/>
              </a:ext>
            </a:extLst>
          </p:cNvPr>
          <p:cNvCxnSpPr/>
          <p:nvPr/>
        </p:nvCxnSpPr>
        <p:spPr>
          <a:xfrm flipH="1">
            <a:off x="1942602" y="4432606"/>
            <a:ext cx="181397" cy="18770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18728D3-92E0-6622-9745-39A38BC30FF6}"/>
              </a:ext>
            </a:extLst>
          </p:cNvPr>
          <p:cNvCxnSpPr>
            <a:cxnSpLocks/>
          </p:cNvCxnSpPr>
          <p:nvPr/>
        </p:nvCxnSpPr>
        <p:spPr>
          <a:xfrm>
            <a:off x="2123999" y="4432606"/>
            <a:ext cx="164530" cy="18770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0F72E88-5C38-0123-B7B4-86A4E6F24DCF}"/>
              </a:ext>
            </a:extLst>
          </p:cNvPr>
          <p:cNvCxnSpPr>
            <a:cxnSpLocks/>
          </p:cNvCxnSpPr>
          <p:nvPr/>
        </p:nvCxnSpPr>
        <p:spPr>
          <a:xfrm flipH="1">
            <a:off x="1942601" y="4265975"/>
            <a:ext cx="345928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0C2E4ECA-1A69-B147-5E0F-D5691AF6E91C}"/>
              </a:ext>
            </a:extLst>
          </p:cNvPr>
          <p:cNvSpPr/>
          <p:nvPr/>
        </p:nvSpPr>
        <p:spPr bwMode="gray">
          <a:xfrm>
            <a:off x="4115879" y="3929602"/>
            <a:ext cx="1462837" cy="757255"/>
          </a:xfrm>
          <a:prstGeom prst="rightArrow">
            <a:avLst>
              <a:gd name="adj1" fmla="val 71309"/>
              <a:gd name="adj2" fmla="val 50000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hu-HU" sz="1100" b="1" dirty="0">
                <a:solidFill>
                  <a:schemeClr val="bg1"/>
                </a:solidFill>
              </a:rPr>
              <a:t>Állomáson érkeztetés &amp; járműfelismerés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8294AE-091C-700D-F5C1-1E6307394F30}"/>
              </a:ext>
            </a:extLst>
          </p:cNvPr>
          <p:cNvSpPr txBox="1"/>
          <p:nvPr/>
        </p:nvSpPr>
        <p:spPr>
          <a:xfrm>
            <a:off x="1723329" y="4599236"/>
            <a:ext cx="81094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hu-HU" sz="1200" dirty="0">
                <a:solidFill>
                  <a:srgbClr val="313131"/>
                </a:solidFill>
              </a:rPr>
              <a:t>Sofőr/utas</a:t>
            </a:r>
            <a:endParaRPr lang="en-US" sz="1200" dirty="0">
              <a:solidFill>
                <a:srgbClr val="313131"/>
              </a:solidFill>
            </a:endParaRP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B5CA5797-8522-5C5D-9A02-602594531E05}"/>
              </a:ext>
            </a:extLst>
          </p:cNvPr>
          <p:cNvSpPr/>
          <p:nvPr/>
        </p:nvSpPr>
        <p:spPr bwMode="gray">
          <a:xfrm>
            <a:off x="2469926" y="3941790"/>
            <a:ext cx="1462837" cy="759546"/>
          </a:xfrm>
          <a:prstGeom prst="rightArrow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hu-HU" sz="1100" b="1" dirty="0">
                <a:solidFill>
                  <a:schemeClr val="bg1"/>
                </a:solidFill>
              </a:rPr>
              <a:t>Mobil &amp; Konzol app navigáció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B574ED3-90B3-39CA-02CA-D23B4AEFD735}"/>
              </a:ext>
            </a:extLst>
          </p:cNvPr>
          <p:cNvSpPr/>
          <p:nvPr/>
        </p:nvSpPr>
        <p:spPr bwMode="gray">
          <a:xfrm>
            <a:off x="7180226" y="3821666"/>
            <a:ext cx="1210235" cy="32418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hu-HU" sz="1600" b="1" dirty="0"/>
              <a:t>TÖLTÉS</a:t>
            </a:r>
            <a:endParaRPr lang="en-US" sz="1600" b="1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307243C-5301-D05F-357B-94187A212435}"/>
              </a:ext>
            </a:extLst>
          </p:cNvPr>
          <p:cNvSpPr/>
          <p:nvPr/>
        </p:nvSpPr>
        <p:spPr bwMode="gray">
          <a:xfrm>
            <a:off x="5781731" y="4202273"/>
            <a:ext cx="1210235" cy="32418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hu-HU" sz="1600" b="1" dirty="0"/>
              <a:t>SERVICE</a:t>
            </a:r>
            <a:endParaRPr lang="en-US" sz="1600" b="1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874B58C-EE78-9B54-E472-34D11B3DBDD9}"/>
              </a:ext>
            </a:extLst>
          </p:cNvPr>
          <p:cNvSpPr/>
          <p:nvPr/>
        </p:nvSpPr>
        <p:spPr bwMode="gray">
          <a:xfrm>
            <a:off x="5781731" y="4570819"/>
            <a:ext cx="1210235" cy="32418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hu-HU" sz="1600" b="1" dirty="0"/>
              <a:t>SHOPPING</a:t>
            </a:r>
            <a:endParaRPr lang="en-US" sz="1600" b="1" dirty="0"/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93037E26-3F15-6DE8-D38A-C2080A9DA028}"/>
              </a:ext>
            </a:extLst>
          </p:cNvPr>
          <p:cNvSpPr/>
          <p:nvPr/>
        </p:nvSpPr>
        <p:spPr bwMode="gray">
          <a:xfrm>
            <a:off x="5966627" y="3821666"/>
            <a:ext cx="840441" cy="367584"/>
          </a:xfrm>
          <a:prstGeom prst="rightArrow">
            <a:avLst>
              <a:gd name="adj1" fmla="val 72058"/>
              <a:gd name="adj2" fmla="val 32078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hu-HU" sz="1100" b="1" dirty="0" err="1">
                <a:solidFill>
                  <a:schemeClr val="bg1"/>
                </a:solidFill>
              </a:rPr>
              <a:t>Pre-pay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1C8F022A-450D-C3CF-882F-486E09BD17D7}"/>
              </a:ext>
            </a:extLst>
          </p:cNvPr>
          <p:cNvSpPr/>
          <p:nvPr/>
        </p:nvSpPr>
        <p:spPr bwMode="gray">
          <a:xfrm>
            <a:off x="8550390" y="4024356"/>
            <a:ext cx="1077346" cy="759546"/>
          </a:xfrm>
          <a:prstGeom prst="rightArrow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hu-HU" sz="1100" b="1" dirty="0" err="1">
                <a:solidFill>
                  <a:schemeClr val="bg1"/>
                </a:solidFill>
              </a:rPr>
              <a:t>Payment</a:t>
            </a:r>
            <a:endParaRPr lang="en-US" sz="11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84952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0C89F07-F979-4C2F-70FE-7FBB9C140D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7333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0C89F07-F979-4C2F-70FE-7FBB9C140D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2AE3635-A411-6F61-5930-7B9108048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hu-HU"/>
              <a:t>Megoldás III. – </a:t>
            </a:r>
            <a:r>
              <a:rPr lang="hu-HU" b="1"/>
              <a:t>IT architektúra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F6319D7-130B-0C95-5DDE-EE9E36AD41CF}"/>
              </a:ext>
            </a:extLst>
          </p:cNvPr>
          <p:cNvSpPr txBox="1">
            <a:spLocks/>
          </p:cNvSpPr>
          <p:nvPr/>
        </p:nvSpPr>
        <p:spPr>
          <a:xfrm>
            <a:off x="497681" y="651601"/>
            <a:ext cx="11201400" cy="334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/>
              <a:t>Enterprise Architecture – tervezési felada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637BE4F-80A0-5EF4-80CE-B96E0F82DE33}"/>
              </a:ext>
            </a:extLst>
          </p:cNvPr>
          <p:cNvSpPr/>
          <p:nvPr/>
        </p:nvSpPr>
        <p:spPr bwMode="gray">
          <a:xfrm>
            <a:off x="492755" y="1054911"/>
            <a:ext cx="3426885" cy="142284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91440" tIns="91440" rIns="91440" bIns="91440" rtlCol="0" anchor="t"/>
          <a:lstStyle/>
          <a:p>
            <a:r>
              <a:rPr lang="hu-HU" sz="1600" b="1" dirty="0"/>
              <a:t>Az üzleti képességekből levezetve</a:t>
            </a:r>
          </a:p>
          <a:p>
            <a:r>
              <a:rPr lang="hu-HU" sz="1600" dirty="0"/>
              <a:t>Az üzleti képességekhez rendelt funkciók, valamint az üzleti folyamatok döntik el milyen alkalmazásokat, milyen struktúrában kell igénybe venni.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4E7CD23-612D-E1AE-28CD-B52D6CA8F391}"/>
              </a:ext>
            </a:extLst>
          </p:cNvPr>
          <p:cNvSpPr/>
          <p:nvPr/>
        </p:nvSpPr>
        <p:spPr bwMode="gray">
          <a:xfrm>
            <a:off x="492755" y="5049230"/>
            <a:ext cx="3426885" cy="164790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91440" tIns="91440" rIns="91440" bIns="91440" rtlCol="0" anchor="t"/>
          <a:lstStyle/>
          <a:p>
            <a:r>
              <a:rPr lang="hu-HU" sz="1600" b="1" dirty="0"/>
              <a:t>Integráció</a:t>
            </a:r>
          </a:p>
          <a:p>
            <a:r>
              <a:rPr lang="hu-HU" sz="1600" dirty="0"/>
              <a:t>Tökéletes integrációs képességeket kell feltételezni az alkalmazások részéről, ezért a rendszerkapcsolatok tervezését csak az információigény szerint lehet tervezni.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2C47EFF-F1AE-63BE-097D-5FE5196DA4D0}"/>
              </a:ext>
            </a:extLst>
          </p:cNvPr>
          <p:cNvSpPr/>
          <p:nvPr/>
        </p:nvSpPr>
        <p:spPr bwMode="gray">
          <a:xfrm>
            <a:off x="526565" y="2689402"/>
            <a:ext cx="3393075" cy="209378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91440" tIns="91440" rIns="91440" bIns="91440" rtlCol="0" anchor="t"/>
          <a:lstStyle/>
          <a:p>
            <a:r>
              <a:rPr lang="hu-HU" sz="1600" b="1" dirty="0"/>
              <a:t>Alkalmazás réteg logikai architektúrája</a:t>
            </a:r>
          </a:p>
          <a:p>
            <a:r>
              <a:rPr lang="hu-HU" sz="1600" dirty="0"/>
              <a:t>A </a:t>
            </a:r>
            <a:r>
              <a:rPr lang="hu-HU" sz="1600" dirty="0" err="1"/>
              <a:t>Sales</a:t>
            </a:r>
            <a:r>
              <a:rPr lang="hu-HU" sz="1600" dirty="0"/>
              <a:t> és </a:t>
            </a:r>
            <a:r>
              <a:rPr lang="hu-HU" sz="1600" dirty="0" err="1"/>
              <a:t>Finance</a:t>
            </a:r>
            <a:r>
              <a:rPr lang="hu-HU" sz="1600" dirty="0"/>
              <a:t>/</a:t>
            </a:r>
            <a:r>
              <a:rPr lang="hu-HU" sz="1600" dirty="0" err="1"/>
              <a:t>Payment</a:t>
            </a:r>
            <a:r>
              <a:rPr lang="hu-HU" sz="1600" dirty="0"/>
              <a:t> </a:t>
            </a:r>
            <a:r>
              <a:rPr lang="hu-HU" sz="1600" dirty="0" err="1"/>
              <a:t>capabilities-ből</a:t>
            </a:r>
            <a:r>
              <a:rPr lang="hu-HU" sz="1600" dirty="0"/>
              <a:t> rengetek funkciót/szolgáltatást lehet összeállítani (Service </a:t>
            </a:r>
            <a:r>
              <a:rPr lang="hu-HU" sz="1600" dirty="0" err="1"/>
              <a:t>Catalog</a:t>
            </a:r>
            <a:r>
              <a:rPr lang="hu-HU" sz="1600" dirty="0"/>
              <a:t>), ahol üzleti szempontok szerint belső és külső tagolást kell alkalmazni.	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9172DC7-DF6A-A0FE-B09F-FA3B9852E7C1}"/>
              </a:ext>
            </a:extLst>
          </p:cNvPr>
          <p:cNvSpPr/>
          <p:nvPr/>
        </p:nvSpPr>
        <p:spPr bwMode="gray">
          <a:xfrm>
            <a:off x="1067491" y="2472262"/>
            <a:ext cx="2252495" cy="73055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91440" tIns="91440" r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hu-HU" sz="11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F06F257-BCE8-D0AA-1B1C-4E33BD72D527}"/>
              </a:ext>
            </a:extLst>
          </p:cNvPr>
          <p:cNvSpPr/>
          <p:nvPr/>
        </p:nvSpPr>
        <p:spPr bwMode="gray">
          <a:xfrm>
            <a:off x="1050562" y="6709422"/>
            <a:ext cx="2252495" cy="73055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91440" tIns="91440" r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hu-HU" sz="1100" b="0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83DD7C8-C07D-1F8A-9623-3CF73DE403B4}"/>
              </a:ext>
            </a:extLst>
          </p:cNvPr>
          <p:cNvSpPr/>
          <p:nvPr/>
        </p:nvSpPr>
        <p:spPr bwMode="gray">
          <a:xfrm>
            <a:off x="1059024" y="4795270"/>
            <a:ext cx="2252495" cy="73055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91440" tIns="91440" r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hu-HU" sz="1100" b="0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D9E9C2-8EDF-E4AE-1B49-72751B58AE0C}"/>
              </a:ext>
            </a:extLst>
          </p:cNvPr>
          <p:cNvSpPr/>
          <p:nvPr/>
        </p:nvSpPr>
        <p:spPr bwMode="gray">
          <a:xfrm>
            <a:off x="4174489" y="1273094"/>
            <a:ext cx="1447302" cy="67004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u-HU" sz="1200" b="1" dirty="0"/>
              <a:t>Pénzügy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D3BF633-679C-F068-E395-DAEFC7B01F4A}"/>
              </a:ext>
            </a:extLst>
          </p:cNvPr>
          <p:cNvSpPr/>
          <p:nvPr/>
        </p:nvSpPr>
        <p:spPr bwMode="gray">
          <a:xfrm>
            <a:off x="6148916" y="1273094"/>
            <a:ext cx="1447302" cy="670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u-HU" sz="1200" b="1" dirty="0"/>
              <a:t>Értékesíté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5C9B218-D231-B89F-B891-07183CAD8BBA}"/>
              </a:ext>
            </a:extLst>
          </p:cNvPr>
          <p:cNvSpPr/>
          <p:nvPr/>
        </p:nvSpPr>
        <p:spPr bwMode="gray">
          <a:xfrm>
            <a:off x="6349420" y="1608118"/>
            <a:ext cx="1447302" cy="67004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u-HU" sz="1200" b="1" dirty="0"/>
              <a:t>Marketing</a:t>
            </a:r>
          </a:p>
          <a:p>
            <a:pPr algn="r">
              <a:lnSpc>
                <a:spcPct val="106000"/>
              </a:lnSpc>
              <a:buFont typeface="Wingdings 2" pitchFamily="18" charset="2"/>
              <a:buNone/>
            </a:pPr>
            <a:r>
              <a:rPr lang="hu-HU" sz="1200" dirty="0" err="1"/>
              <a:t>Campaign</a:t>
            </a:r>
            <a:r>
              <a:rPr lang="hu-HU" sz="1200" dirty="0"/>
              <a:t> </a:t>
            </a:r>
            <a:r>
              <a:rPr lang="hu-HU" sz="1200" dirty="0" err="1"/>
              <a:t>Mgmt</a:t>
            </a:r>
            <a:endParaRPr lang="en-US" sz="12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9DF13D0-993D-3E04-3CCD-E2BA6D74FE3F}"/>
              </a:ext>
            </a:extLst>
          </p:cNvPr>
          <p:cNvSpPr/>
          <p:nvPr/>
        </p:nvSpPr>
        <p:spPr bwMode="gray">
          <a:xfrm>
            <a:off x="8123342" y="1273094"/>
            <a:ext cx="1447302" cy="67004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u-HU" sz="1200" b="1" dirty="0"/>
              <a:t>Beszerzé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3C0A967-4972-9B46-831E-05D84660951A}"/>
              </a:ext>
            </a:extLst>
          </p:cNvPr>
          <p:cNvSpPr/>
          <p:nvPr/>
        </p:nvSpPr>
        <p:spPr bwMode="gray">
          <a:xfrm>
            <a:off x="4374994" y="1633774"/>
            <a:ext cx="1447302" cy="67004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u-HU" sz="1200" b="1" dirty="0"/>
              <a:t>Számvitel</a:t>
            </a:r>
          </a:p>
          <a:p>
            <a:pPr algn="r">
              <a:lnSpc>
                <a:spcPct val="106000"/>
              </a:lnSpc>
              <a:buFont typeface="Wingdings 2" pitchFamily="18" charset="2"/>
              <a:buNone/>
            </a:pPr>
            <a:r>
              <a:rPr lang="hu-HU" sz="1200" dirty="0" err="1"/>
              <a:t>Reg</a:t>
            </a:r>
            <a:r>
              <a:rPr lang="hu-HU" sz="1200" dirty="0"/>
              <a:t>. </a:t>
            </a:r>
            <a:r>
              <a:rPr lang="hu-HU" sz="1200" dirty="0" err="1"/>
              <a:t>Reporting</a:t>
            </a:r>
            <a:endParaRPr lang="en-US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AC00056-3D46-1B9F-D800-1A428BC3ECFA}"/>
              </a:ext>
            </a:extLst>
          </p:cNvPr>
          <p:cNvSpPr/>
          <p:nvPr/>
        </p:nvSpPr>
        <p:spPr bwMode="gray">
          <a:xfrm>
            <a:off x="8371259" y="1631569"/>
            <a:ext cx="1447302" cy="67004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u-HU" sz="1200" b="1" dirty="0"/>
              <a:t>HR</a:t>
            </a:r>
          </a:p>
          <a:p>
            <a:pPr algn="r">
              <a:lnSpc>
                <a:spcPct val="106000"/>
              </a:lnSpc>
              <a:buFont typeface="Wingdings 2" pitchFamily="18" charset="2"/>
              <a:buNone/>
            </a:pPr>
            <a:r>
              <a:rPr lang="hu-HU" sz="1200" dirty="0" err="1"/>
              <a:t>Retention</a:t>
            </a:r>
            <a:endParaRPr lang="en-US" sz="12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6F3761-4B57-FCFB-5046-8D9C06513C90}"/>
              </a:ext>
            </a:extLst>
          </p:cNvPr>
          <p:cNvSpPr/>
          <p:nvPr/>
        </p:nvSpPr>
        <p:spPr bwMode="gray">
          <a:xfrm>
            <a:off x="10108617" y="1273094"/>
            <a:ext cx="1447302" cy="67004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u-HU" sz="1200" b="1" dirty="0"/>
              <a:t>Ügyvitel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5327C8F-0F24-EB36-99E4-D45315829765}"/>
              </a:ext>
            </a:extLst>
          </p:cNvPr>
          <p:cNvSpPr/>
          <p:nvPr/>
        </p:nvSpPr>
        <p:spPr bwMode="gray">
          <a:xfrm>
            <a:off x="10356534" y="1631569"/>
            <a:ext cx="1447302" cy="67004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u-HU" sz="1200" b="1" dirty="0"/>
              <a:t>Dokumentum</a:t>
            </a:r>
          </a:p>
          <a:p>
            <a:pPr algn="r">
              <a:lnSpc>
                <a:spcPct val="106000"/>
              </a:lnSpc>
              <a:buFont typeface="Wingdings 2" pitchFamily="18" charset="2"/>
              <a:buNone/>
            </a:pPr>
            <a:r>
              <a:rPr lang="hu-HU" sz="1200" dirty="0"/>
              <a:t>Archív</a:t>
            </a:r>
            <a:endParaRPr lang="en-US" sz="12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2F0C3DA-6AB9-968C-701E-FF7E436CEB30}"/>
              </a:ext>
            </a:extLst>
          </p:cNvPr>
          <p:cNvSpPr/>
          <p:nvPr/>
        </p:nvSpPr>
        <p:spPr bwMode="gray">
          <a:xfrm>
            <a:off x="10053719" y="3365443"/>
            <a:ext cx="1636631" cy="236462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 anchorCtr="0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u-HU" sz="1200" b="1" dirty="0"/>
              <a:t>Ügyvitel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CFB79B0-DD79-96A8-D68A-BE180DF64811}"/>
              </a:ext>
            </a:extLst>
          </p:cNvPr>
          <p:cNvSpPr/>
          <p:nvPr/>
        </p:nvSpPr>
        <p:spPr bwMode="gray">
          <a:xfrm>
            <a:off x="4154120" y="3378286"/>
            <a:ext cx="1726509" cy="235178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 anchorCtr="0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u-HU" sz="1200" b="1" dirty="0"/>
              <a:t>Pénzügy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3A15E42-AE95-74E8-916B-298731376AD9}"/>
              </a:ext>
            </a:extLst>
          </p:cNvPr>
          <p:cNvSpPr/>
          <p:nvPr/>
        </p:nvSpPr>
        <p:spPr bwMode="gray">
          <a:xfrm>
            <a:off x="7015620" y="3366909"/>
            <a:ext cx="1726509" cy="23517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 anchorCtr="0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u-HU" sz="1200" b="1" dirty="0"/>
              <a:t>Értékesíté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FEC9AF1-5B74-D364-BE7C-5EC1233CA428}"/>
              </a:ext>
            </a:extLst>
          </p:cNvPr>
          <p:cNvSpPr/>
          <p:nvPr/>
        </p:nvSpPr>
        <p:spPr>
          <a:xfrm>
            <a:off x="10877702" y="3754639"/>
            <a:ext cx="608471" cy="308874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RP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649F280-EC80-7CEF-5ED1-0101CBB37007}"/>
              </a:ext>
            </a:extLst>
          </p:cNvPr>
          <p:cNvSpPr/>
          <p:nvPr/>
        </p:nvSpPr>
        <p:spPr>
          <a:xfrm>
            <a:off x="10877702" y="4863782"/>
            <a:ext cx="608471" cy="308874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WH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D3E78D2-CE28-96CE-D1B0-DFE222CCEF50}"/>
              </a:ext>
            </a:extLst>
          </p:cNvPr>
          <p:cNvSpPr/>
          <p:nvPr/>
        </p:nvSpPr>
        <p:spPr>
          <a:xfrm>
            <a:off x="4331421" y="3737790"/>
            <a:ext cx="1414979" cy="251536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yment</a:t>
            </a: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HUB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95E18F8-6F2D-05BA-7C5B-B31750BA0F9D}"/>
              </a:ext>
            </a:extLst>
          </p:cNvPr>
          <p:cNvSpPr/>
          <p:nvPr/>
        </p:nvSpPr>
        <p:spPr>
          <a:xfrm>
            <a:off x="4801457" y="4048993"/>
            <a:ext cx="951715" cy="2515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  <a:prstDash val="soli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pplePay</a:t>
            </a:r>
            <a:endParaRPr lang="hu-HU" sz="10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F594878-A4AC-B1B9-BFB9-32E0B4DCB29B}"/>
              </a:ext>
            </a:extLst>
          </p:cNvPr>
          <p:cNvSpPr/>
          <p:nvPr/>
        </p:nvSpPr>
        <p:spPr>
          <a:xfrm>
            <a:off x="4801457" y="4344737"/>
            <a:ext cx="951715" cy="2515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  <a:prstDash val="soli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oglePay</a:t>
            </a:r>
            <a:endParaRPr lang="hu-HU" sz="10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8A8633A-D5E6-9CED-F0E5-D36BD4D516E1}"/>
              </a:ext>
            </a:extLst>
          </p:cNvPr>
          <p:cNvSpPr/>
          <p:nvPr/>
        </p:nvSpPr>
        <p:spPr>
          <a:xfrm>
            <a:off x="4331421" y="4990409"/>
            <a:ext cx="1414979" cy="289067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9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TP, </a:t>
            </a:r>
            <a:r>
              <a:rPr lang="hu-HU" sz="9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nkHolding</a:t>
            </a:r>
            <a:endParaRPr lang="hu-HU" sz="9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D4827C4-AFEE-0C3D-D69A-81619EA7D410}"/>
              </a:ext>
            </a:extLst>
          </p:cNvPr>
          <p:cNvSpPr/>
          <p:nvPr/>
        </p:nvSpPr>
        <p:spPr>
          <a:xfrm>
            <a:off x="4801458" y="4640481"/>
            <a:ext cx="965498" cy="2515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  <a:prstDash val="soli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imple</a:t>
            </a:r>
            <a:endParaRPr lang="hu-HU" sz="10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4A8331A-17FA-D7A0-2251-321BE5A85376}"/>
              </a:ext>
            </a:extLst>
          </p:cNvPr>
          <p:cNvSpPr/>
          <p:nvPr/>
        </p:nvSpPr>
        <p:spPr>
          <a:xfrm>
            <a:off x="4338193" y="5347503"/>
            <a:ext cx="635707" cy="251536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9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xon</a:t>
            </a:r>
            <a:endParaRPr lang="hu-HU" sz="9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1E9B22D-15C6-44E0-87F7-6822B9E54DE7}"/>
              </a:ext>
            </a:extLst>
          </p:cNvPr>
          <p:cNvSpPr/>
          <p:nvPr/>
        </p:nvSpPr>
        <p:spPr>
          <a:xfrm>
            <a:off x="5109411" y="5340793"/>
            <a:ext cx="643761" cy="251536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9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bev</a:t>
            </a:r>
            <a:endParaRPr lang="hu-HU" sz="9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0156485-3FAB-0DB1-F145-AA399CF6E5C2}"/>
              </a:ext>
            </a:extLst>
          </p:cNvPr>
          <p:cNvSpPr/>
          <p:nvPr/>
        </p:nvSpPr>
        <p:spPr bwMode="gray">
          <a:xfrm>
            <a:off x="4261509" y="3675784"/>
            <a:ext cx="1565853" cy="1297972"/>
          </a:xfrm>
          <a:prstGeom prst="rect">
            <a:avLst/>
          </a:prstGeom>
          <a:solidFill>
            <a:schemeClr val="accent3">
              <a:alpha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FB3B9AA-A3E1-EE8F-A425-37EACED551BD}"/>
              </a:ext>
            </a:extLst>
          </p:cNvPr>
          <p:cNvSpPr/>
          <p:nvPr/>
        </p:nvSpPr>
        <p:spPr>
          <a:xfrm>
            <a:off x="7209852" y="3737790"/>
            <a:ext cx="1308791" cy="251536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9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lesForce</a:t>
            </a:r>
            <a:endParaRPr lang="hu-HU" sz="9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40B481-E438-1B8A-E41B-88E81965CD08}"/>
              </a:ext>
            </a:extLst>
          </p:cNvPr>
          <p:cNvSpPr/>
          <p:nvPr/>
        </p:nvSpPr>
        <p:spPr>
          <a:xfrm>
            <a:off x="7469717" y="4407532"/>
            <a:ext cx="804947" cy="251536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9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MDB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8600885-1EF7-879D-FD7E-A28B97D58538}"/>
              </a:ext>
            </a:extLst>
          </p:cNvPr>
          <p:cNvSpPr/>
          <p:nvPr/>
        </p:nvSpPr>
        <p:spPr>
          <a:xfrm>
            <a:off x="7224642" y="5134942"/>
            <a:ext cx="1308791" cy="251536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9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utalék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518D6DD-7B26-7EAC-50A4-578EA59FF98E}"/>
              </a:ext>
            </a:extLst>
          </p:cNvPr>
          <p:cNvCxnSpPr>
            <a:cxnSpLocks/>
            <a:stCxn id="32" idx="2"/>
            <a:endCxn id="33" idx="0"/>
          </p:cNvCxnSpPr>
          <p:nvPr/>
        </p:nvCxnSpPr>
        <p:spPr>
          <a:xfrm>
            <a:off x="7864248" y="3989326"/>
            <a:ext cx="7943" cy="418206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CAFA86E-6AAA-7B4A-36D2-20465E09CE23}"/>
              </a:ext>
            </a:extLst>
          </p:cNvPr>
          <p:cNvCxnSpPr>
            <a:cxnSpLocks/>
            <a:endCxn id="25" idx="1"/>
          </p:cNvCxnSpPr>
          <p:nvPr/>
        </p:nvCxnSpPr>
        <p:spPr>
          <a:xfrm>
            <a:off x="4534661" y="3989326"/>
            <a:ext cx="266796" cy="18543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AA89156-C05E-C03D-7C70-26CEFDBB9581}"/>
              </a:ext>
            </a:extLst>
          </p:cNvPr>
          <p:cNvCxnSpPr>
            <a:cxnSpLocks/>
            <a:endCxn id="26" idx="1"/>
          </p:cNvCxnSpPr>
          <p:nvPr/>
        </p:nvCxnSpPr>
        <p:spPr>
          <a:xfrm>
            <a:off x="4534661" y="3989326"/>
            <a:ext cx="266796" cy="48117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5544B535-F52D-506C-A40B-72F10F074E88}"/>
              </a:ext>
            </a:extLst>
          </p:cNvPr>
          <p:cNvCxnSpPr>
            <a:cxnSpLocks/>
            <a:endCxn id="28" idx="1"/>
          </p:cNvCxnSpPr>
          <p:nvPr/>
        </p:nvCxnSpPr>
        <p:spPr>
          <a:xfrm>
            <a:off x="4534661" y="3989326"/>
            <a:ext cx="266797" cy="776923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D3F470F-E71A-5D98-AD0E-9EF406E19B9E}"/>
              </a:ext>
            </a:extLst>
          </p:cNvPr>
          <p:cNvCxnSpPr>
            <a:cxnSpLocks/>
          </p:cNvCxnSpPr>
          <p:nvPr/>
        </p:nvCxnSpPr>
        <p:spPr>
          <a:xfrm>
            <a:off x="5731517" y="3863558"/>
            <a:ext cx="1725954" cy="67004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4365819A-B38F-61CD-EA02-81F06BFD43D7}"/>
              </a:ext>
            </a:extLst>
          </p:cNvPr>
          <p:cNvSpPr/>
          <p:nvPr/>
        </p:nvSpPr>
        <p:spPr>
          <a:xfrm>
            <a:off x="10877702" y="5255950"/>
            <a:ext cx="608471" cy="308874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aud</a:t>
            </a:r>
            <a:endParaRPr lang="hu-HU" sz="10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287A90A-80B5-B668-8A9B-32694624B5A5}"/>
              </a:ext>
            </a:extLst>
          </p:cNvPr>
          <p:cNvSpPr/>
          <p:nvPr/>
        </p:nvSpPr>
        <p:spPr>
          <a:xfrm>
            <a:off x="10877702" y="4476323"/>
            <a:ext cx="608471" cy="308874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PMS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4CBF5F4-385A-DEF2-2965-4DD5F2240527}"/>
              </a:ext>
            </a:extLst>
          </p:cNvPr>
          <p:cNvCxnSpPr>
            <a:cxnSpLocks/>
            <a:stCxn id="33" idx="2"/>
            <a:endCxn id="34" idx="0"/>
          </p:cNvCxnSpPr>
          <p:nvPr/>
        </p:nvCxnSpPr>
        <p:spPr>
          <a:xfrm>
            <a:off x="7872191" y="4659068"/>
            <a:ext cx="6847" cy="47587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80B9D190-1352-D2DA-4119-ACF54BA29B4A}"/>
              </a:ext>
            </a:extLst>
          </p:cNvPr>
          <p:cNvCxnSpPr>
            <a:cxnSpLocks/>
          </p:cNvCxnSpPr>
          <p:nvPr/>
        </p:nvCxnSpPr>
        <p:spPr>
          <a:xfrm>
            <a:off x="7362661" y="4000298"/>
            <a:ext cx="18887" cy="11346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D2B968A-2F86-1D9A-4780-4C775DB0118B}"/>
              </a:ext>
            </a:extLst>
          </p:cNvPr>
          <p:cNvCxnSpPr>
            <a:cxnSpLocks/>
          </p:cNvCxnSpPr>
          <p:nvPr/>
        </p:nvCxnSpPr>
        <p:spPr>
          <a:xfrm>
            <a:off x="5746400" y="3863405"/>
            <a:ext cx="1478242" cy="2076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4054DE90-14C6-6A8F-113D-5A3B8D1D0E08}"/>
              </a:ext>
            </a:extLst>
          </p:cNvPr>
          <p:cNvSpPr/>
          <p:nvPr/>
        </p:nvSpPr>
        <p:spPr>
          <a:xfrm>
            <a:off x="10881459" y="4116498"/>
            <a:ext cx="608471" cy="308874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ok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04EE3EB0-745E-B97A-2155-9A71B1FE702F}"/>
              </a:ext>
            </a:extLst>
          </p:cNvPr>
          <p:cNvCxnSpPr>
            <a:cxnSpLocks/>
            <a:stCxn id="33" idx="3"/>
          </p:cNvCxnSpPr>
          <p:nvPr/>
        </p:nvCxnSpPr>
        <p:spPr>
          <a:xfrm flipV="1">
            <a:off x="8274664" y="3910883"/>
            <a:ext cx="2603038" cy="62241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05CF5C36-2D7B-E34F-C77E-B4CE8F74C694}"/>
              </a:ext>
            </a:extLst>
          </p:cNvPr>
          <p:cNvCxnSpPr>
            <a:cxnSpLocks/>
            <a:stCxn id="32" idx="3"/>
            <a:endCxn id="22" idx="1"/>
          </p:cNvCxnSpPr>
          <p:nvPr/>
        </p:nvCxnSpPr>
        <p:spPr>
          <a:xfrm>
            <a:off x="8518643" y="3863558"/>
            <a:ext cx="2359059" cy="4551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BC0B4CA-DF9F-D50E-CC41-FE5607B22EBE}"/>
              </a:ext>
            </a:extLst>
          </p:cNvPr>
          <p:cNvCxnSpPr>
            <a:cxnSpLocks/>
            <a:endCxn id="45" idx="1"/>
          </p:cNvCxnSpPr>
          <p:nvPr/>
        </p:nvCxnSpPr>
        <p:spPr>
          <a:xfrm>
            <a:off x="8533433" y="3864601"/>
            <a:ext cx="2348026" cy="40633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D09DDF3-BA64-668E-534B-EF9A87AB5854}"/>
              </a:ext>
            </a:extLst>
          </p:cNvPr>
          <p:cNvCxnSpPr>
            <a:cxnSpLocks/>
            <a:endCxn id="29" idx="0"/>
          </p:cNvCxnSpPr>
          <p:nvPr/>
        </p:nvCxnSpPr>
        <p:spPr>
          <a:xfrm>
            <a:off x="4656047" y="5279476"/>
            <a:ext cx="0" cy="6802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8044E4D-92A9-13C1-FA09-3C93E7B15D2D}"/>
              </a:ext>
            </a:extLst>
          </p:cNvPr>
          <p:cNvCxnSpPr>
            <a:cxnSpLocks/>
          </p:cNvCxnSpPr>
          <p:nvPr/>
        </p:nvCxnSpPr>
        <p:spPr>
          <a:xfrm>
            <a:off x="5766956" y="5145914"/>
            <a:ext cx="1457686" cy="14665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227217E4-89E1-9235-DF9B-524A8FAAECCF}"/>
              </a:ext>
            </a:extLst>
          </p:cNvPr>
          <p:cNvCxnSpPr>
            <a:cxnSpLocks/>
          </p:cNvCxnSpPr>
          <p:nvPr/>
        </p:nvCxnSpPr>
        <p:spPr>
          <a:xfrm>
            <a:off x="8533433" y="3859932"/>
            <a:ext cx="2359059" cy="780306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CBDFA28E-854F-4E3A-0E93-D6D96487D531}"/>
              </a:ext>
            </a:extLst>
          </p:cNvPr>
          <p:cNvCxnSpPr>
            <a:cxnSpLocks/>
            <a:endCxn id="23" idx="1"/>
          </p:cNvCxnSpPr>
          <p:nvPr/>
        </p:nvCxnSpPr>
        <p:spPr>
          <a:xfrm>
            <a:off x="8274664" y="4533300"/>
            <a:ext cx="2603038" cy="48491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CD54087B-EE3E-DEBB-6DB2-0A6CCDD1FFC3}"/>
              </a:ext>
            </a:extLst>
          </p:cNvPr>
          <p:cNvCxnSpPr>
            <a:cxnSpLocks/>
          </p:cNvCxnSpPr>
          <p:nvPr/>
        </p:nvCxnSpPr>
        <p:spPr>
          <a:xfrm>
            <a:off x="8544466" y="3864601"/>
            <a:ext cx="2348026" cy="1182961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4455845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0C89F07-F979-4C2F-70FE-7FBB9C140D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0C89F07-F979-4C2F-70FE-7FBB9C140D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2AE3635-A411-6F61-5930-7B9108048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hu-HU" b="1" dirty="0"/>
              <a:t>EA vizsga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F6319D7-130B-0C95-5DDE-EE9E36AD41CF}"/>
              </a:ext>
            </a:extLst>
          </p:cNvPr>
          <p:cNvSpPr txBox="1">
            <a:spLocks/>
          </p:cNvSpPr>
          <p:nvPr/>
        </p:nvSpPr>
        <p:spPr>
          <a:xfrm>
            <a:off x="497681" y="651601"/>
            <a:ext cx="11201400" cy="334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dirty="0"/>
              <a:t>30 perc – 15 kérdé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F06F257-BCE8-D0AA-1B1C-4E33BD72D527}"/>
              </a:ext>
            </a:extLst>
          </p:cNvPr>
          <p:cNvSpPr/>
          <p:nvPr/>
        </p:nvSpPr>
        <p:spPr bwMode="gray">
          <a:xfrm>
            <a:off x="1050562" y="6709422"/>
            <a:ext cx="2252495" cy="73055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91440" tIns="91440" r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hu-HU" sz="1100" b="0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23C9609-DEE3-3D52-64D0-612FE0895796}"/>
              </a:ext>
            </a:extLst>
          </p:cNvPr>
          <p:cNvSpPr txBox="1"/>
          <p:nvPr/>
        </p:nvSpPr>
        <p:spPr>
          <a:xfrm>
            <a:off x="5842722" y="1469569"/>
            <a:ext cx="5117433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5"/>
              </a:rPr>
              <a:t>https://forms.office.com/e/QZ7i1gaxGM</a:t>
            </a:r>
            <a:endParaRPr lang="hu-HU" dirty="0"/>
          </a:p>
          <a:p>
            <a:endParaRPr lang="hu-H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b="1" dirty="0"/>
              <a:t>Megfelelt szint: 50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b="1" dirty="0"/>
              <a:t>Nincs részmegoldás</a:t>
            </a:r>
            <a:r>
              <a:rPr lang="hu-HU" dirty="0"/>
              <a:t> (MS </a:t>
            </a:r>
            <a:r>
              <a:rPr lang="hu-HU" dirty="0" err="1"/>
              <a:t>Forms</a:t>
            </a:r>
            <a:r>
              <a:rPr lang="hu-HU" dirty="0"/>
              <a:t>)</a:t>
            </a:r>
          </a:p>
          <a:p>
            <a:r>
              <a:rPr lang="hu-HU" dirty="0"/>
              <a:t>	(valamennyi helyes választ el kell találn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b="1" dirty="0"/>
              <a:t>Katasztrófa esetén:</a:t>
            </a:r>
            <a:r>
              <a:rPr lang="hu-HU" dirty="0"/>
              <a:t> mégis van részmegoldás </a:t>
            </a:r>
            <a:r>
              <a:rPr lang="hu-HU" dirty="0">
                <a:sym typeface="Wingdings" panose="05000000000000000000" pitchFamily="2" charset="2"/>
              </a:rPr>
              <a:t></a:t>
            </a:r>
            <a:endParaRPr lang="hu-HU" b="1" dirty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b="1" dirty="0">
                <a:sym typeface="Wingdings" panose="05000000000000000000" pitchFamily="2" charset="2"/>
              </a:rPr>
              <a:t>1. mentőöv:</a:t>
            </a:r>
            <a:r>
              <a:rPr lang="hu-HU" dirty="0">
                <a:sym typeface="Wingdings" panose="05000000000000000000" pitchFamily="2" charset="2"/>
              </a:rPr>
              <a:t> 30 perc = 45 per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b="1" dirty="0">
                <a:sym typeface="Wingdings" panose="05000000000000000000" pitchFamily="2" charset="2"/>
              </a:rPr>
              <a:t>2. mentőöv:</a:t>
            </a:r>
            <a:r>
              <a:rPr lang="hu-HU" dirty="0">
                <a:sym typeface="Wingdings" panose="05000000000000000000" pitchFamily="2" charset="2"/>
              </a:rPr>
              <a:t> A feladat pontszáma és a helyes válaszok száma között milyen összefüggés lehet?</a:t>
            </a:r>
          </a:p>
        </p:txBody>
      </p:sp>
      <p:pic>
        <p:nvPicPr>
          <p:cNvPr id="59" name="Picture 58" descr="Qr code&#10;&#10;Description automatically generated">
            <a:extLst>
              <a:ext uri="{FF2B5EF4-FFF2-40B4-BE49-F238E27FC236}">
                <a16:creationId xmlns:a16="http://schemas.microsoft.com/office/drawing/2014/main" id="{46F9FDBF-C540-CB9A-7A1D-4C37382C01F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48" y="1136082"/>
            <a:ext cx="4754755" cy="475475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23D63B6-99E8-7B06-23FB-E598ACB0796D}"/>
              </a:ext>
            </a:extLst>
          </p:cNvPr>
          <p:cNvSpPr/>
          <p:nvPr/>
        </p:nvSpPr>
        <p:spPr bwMode="gray">
          <a:xfrm>
            <a:off x="5625548" y="3448877"/>
            <a:ext cx="5237922" cy="646043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963395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DBF7606-2577-DFD8-1B1C-792D8F8293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1122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DBF7606-2577-DFD8-1B1C-792D8F8293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</a:t>
            </a:r>
            <a:r>
              <a:rPr lang="hu-HU" dirty="0" err="1"/>
              <a:t>ystem</a:t>
            </a:r>
            <a:r>
              <a:rPr lang="hu-HU" dirty="0"/>
              <a:t> </a:t>
            </a:r>
            <a:r>
              <a:rPr lang="hu-HU" dirty="0" err="1"/>
              <a:t>Integration</a:t>
            </a:r>
            <a:r>
              <a:rPr lang="hu-HU" dirty="0"/>
              <a:t> </a:t>
            </a:r>
            <a:r>
              <a:rPr lang="hu-HU" b="0" dirty="0"/>
              <a:t>(SI)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Elmél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6378231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AD2270-E335-4B25-9479-9641996328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7212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AD2270-E335-4B25-9479-964199632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Text Placeholder 33">
            <a:extLst>
              <a:ext uri="{FF2B5EF4-FFF2-40B4-BE49-F238E27FC236}">
                <a16:creationId xmlns:a16="http://schemas.microsoft.com/office/drawing/2014/main" id="{B1874E89-F474-2A09-FDCE-B90084B44BFB}"/>
              </a:ext>
            </a:extLst>
          </p:cNvPr>
          <p:cNvSpPr txBox="1">
            <a:spLocks/>
          </p:cNvSpPr>
          <p:nvPr/>
        </p:nvSpPr>
        <p:spPr>
          <a:xfrm>
            <a:off x="910839" y="5755660"/>
            <a:ext cx="10243562" cy="59349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/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CF5878-E500-4DEF-AB4F-0DA9187B5E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 pitchFamily="50" charset="0"/>
              <a:ea typeface="+mn-ea"/>
              <a:cs typeface="+mn-cs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22F353-239C-4F9C-9C2B-0006F1686A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hu-HU" dirty="0"/>
              <a:t>Integráció általános fogalma, előfordulása a gazdasági/</a:t>
            </a:r>
            <a:r>
              <a:rPr lang="hu-HU" dirty="0" err="1"/>
              <a:t>tech</a:t>
            </a:r>
            <a:r>
              <a:rPr lang="hu-HU" dirty="0"/>
              <a:t> tanácsadásban</a:t>
            </a:r>
            <a:br>
              <a:rPr lang="en-US" dirty="0"/>
            </a:b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11D686B-E2BC-9191-5E52-12B3EDFCB0EF}"/>
              </a:ext>
            </a:extLst>
          </p:cNvPr>
          <p:cNvSpPr txBox="1">
            <a:spLocks/>
          </p:cNvSpPr>
          <p:nvPr/>
        </p:nvSpPr>
        <p:spPr>
          <a:xfrm>
            <a:off x="497681" y="651601"/>
            <a:ext cx="11201400" cy="334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hu-HU" dirty="0"/>
              <a:t>Avagy szimplán … A nagy hal megeszi a kishalat … Sok lúd disznót győz …</a:t>
            </a:r>
            <a:endParaRPr lang="en-AU" dirty="0"/>
          </a:p>
          <a:p>
            <a:endParaRPr lang="en-US" dirty="0"/>
          </a:p>
        </p:txBody>
      </p: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F84841A5-05F5-1C8A-3B36-6D767F41C310}"/>
              </a:ext>
            </a:extLst>
          </p:cNvPr>
          <p:cNvGrpSpPr/>
          <p:nvPr/>
        </p:nvGrpSpPr>
        <p:grpSpPr>
          <a:xfrm>
            <a:off x="930900" y="1132302"/>
            <a:ext cx="10523845" cy="4322108"/>
            <a:chOff x="930900" y="1475202"/>
            <a:chExt cx="10523845" cy="4322108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41FB10E6-4658-E1B6-CF13-2AE8A67CA6DA}"/>
                </a:ext>
              </a:extLst>
            </p:cNvPr>
            <p:cNvGrpSpPr/>
            <p:nvPr/>
          </p:nvGrpSpPr>
          <p:grpSpPr>
            <a:xfrm>
              <a:off x="930900" y="3059579"/>
              <a:ext cx="2870759" cy="2737731"/>
              <a:chOff x="498719" y="4221483"/>
              <a:chExt cx="2925760" cy="3286413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C503B3DF-E873-251C-7F64-AB09C07169C5}"/>
                  </a:ext>
                </a:extLst>
              </p:cNvPr>
              <p:cNvSpPr/>
              <p:nvPr/>
            </p:nvSpPr>
            <p:spPr bwMode="gray">
              <a:xfrm>
                <a:off x="498719" y="4221483"/>
                <a:ext cx="2925760" cy="3286413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91440" tIns="91440" rIns="91440" bIns="91440" rtlCol="0" anchor="t"/>
              <a:lstStyle/>
              <a:p>
                <a:pPr algn="l"/>
                <a:r>
                  <a:rPr lang="hu-HU" sz="1600" b="1" dirty="0"/>
                  <a:t>Fejlődési szándék, szervezés, hatékonyság</a:t>
                </a:r>
              </a:p>
              <a:p>
                <a:pPr algn="l"/>
                <a:endParaRPr lang="hu-HU" sz="1600" b="1" dirty="0">
                  <a:latin typeface="Calibri" panose="020F0502020204030204" pitchFamily="34" charset="0"/>
                </a:endParaRPr>
              </a:p>
              <a:p>
                <a:r>
                  <a:rPr lang="hu-HU" sz="1600" dirty="0"/>
                  <a:t>Ösztönös és tudatos szándék, amely nem az elemek megváltoztatására, hanem azok kapcsolódására és közösségére épül.</a:t>
                </a:r>
                <a:endParaRPr lang="en-AU" sz="1600" dirty="0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47C50BBE-B6D1-C921-342E-661B95D430F1}"/>
                  </a:ext>
                </a:extLst>
              </p:cNvPr>
              <p:cNvSpPr/>
              <p:nvPr/>
            </p:nvSpPr>
            <p:spPr bwMode="gray">
              <a:xfrm>
                <a:off x="818059" y="7393011"/>
                <a:ext cx="2295650" cy="87696"/>
              </a:xfrm>
              <a:prstGeom prst="rect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91440" tIns="91440" r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0F4CB9A-5770-7523-B50B-33304E33B819}"/>
                </a:ext>
              </a:extLst>
            </p:cNvPr>
            <p:cNvGrpSpPr/>
            <p:nvPr/>
          </p:nvGrpSpPr>
          <p:grpSpPr>
            <a:xfrm>
              <a:off x="4705889" y="3029405"/>
              <a:ext cx="2870759" cy="2767905"/>
              <a:chOff x="614194" y="4185262"/>
              <a:chExt cx="2925760" cy="3322634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25762E06-40C0-4C5B-CD9C-E7903762F5E2}"/>
                  </a:ext>
                </a:extLst>
              </p:cNvPr>
              <p:cNvSpPr/>
              <p:nvPr/>
            </p:nvSpPr>
            <p:spPr bwMode="gray">
              <a:xfrm>
                <a:off x="614194" y="4185262"/>
                <a:ext cx="2925760" cy="332263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91440" tIns="91440" rIns="91440" bIns="91440" rtlCol="0" anchor="t"/>
              <a:lstStyle/>
              <a:p>
                <a:pPr algn="l"/>
                <a:r>
                  <a:rPr lang="hu-HU" sz="1600" b="1" dirty="0"/>
                  <a:t>Kölcsönösség, folytonosság, mellérendeltség</a:t>
                </a:r>
              </a:p>
              <a:p>
                <a:pPr algn="l"/>
                <a:endParaRPr lang="hu-HU" sz="1600" b="1" dirty="0">
                  <a:latin typeface="Calibri" panose="020F0502020204030204" pitchFamily="34" charset="0"/>
                </a:endParaRPr>
              </a:p>
              <a:p>
                <a:r>
                  <a:rPr lang="hu-HU" sz="1600" dirty="0"/>
                  <a:t>Az együttműködési folyamat bizonyos szakaszaiban, egyenrangú felek kölcsönhatása, a szervezeti méret növekedése.</a:t>
                </a:r>
                <a:endParaRPr lang="en-US" sz="1600" dirty="0"/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EA2791A6-64FE-1CF2-6D97-08E027379520}"/>
                  </a:ext>
                </a:extLst>
              </p:cNvPr>
              <p:cNvSpPr/>
              <p:nvPr/>
            </p:nvSpPr>
            <p:spPr bwMode="gray">
              <a:xfrm>
                <a:off x="934157" y="7408578"/>
                <a:ext cx="2295650" cy="87696"/>
              </a:xfrm>
              <a:prstGeom prst="rect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91440" tIns="91440" r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E04C902E-14DA-9349-6A23-51982146AAE0}"/>
                </a:ext>
              </a:extLst>
            </p:cNvPr>
            <p:cNvGrpSpPr/>
            <p:nvPr/>
          </p:nvGrpSpPr>
          <p:grpSpPr>
            <a:xfrm>
              <a:off x="8307734" y="3029404"/>
              <a:ext cx="2870759" cy="2737731"/>
              <a:chOff x="582909" y="4185261"/>
              <a:chExt cx="2925760" cy="3286413"/>
            </a:xfrm>
            <a:solidFill>
              <a:schemeClr val="bg1">
                <a:lumMod val="95000"/>
              </a:schemeClr>
            </a:solidFill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51BEF80-4793-E753-561D-16E306332EAC}"/>
                  </a:ext>
                </a:extLst>
              </p:cNvPr>
              <p:cNvSpPr/>
              <p:nvPr/>
            </p:nvSpPr>
            <p:spPr bwMode="gray">
              <a:xfrm>
                <a:off x="582909" y="4185261"/>
                <a:ext cx="2925760" cy="3286413"/>
              </a:xfrm>
              <a:prstGeom prst="rect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91440" tIns="91440" rIns="91440" bIns="91440" rtlCol="0" anchor="t"/>
              <a:lstStyle/>
              <a:p>
                <a:r>
                  <a:rPr lang="hu-HU" sz="1600" b="1" dirty="0"/>
                  <a:t>Komplexitás, mélység, szabályozás</a:t>
                </a:r>
              </a:p>
              <a:p>
                <a:endParaRPr lang="hu-HU" sz="1600" b="1" i="1" dirty="0">
                  <a:latin typeface="Calibri" panose="020F0502020204030204" pitchFamily="34" charset="0"/>
                </a:endParaRPr>
              </a:p>
              <a:p>
                <a:r>
                  <a:rPr lang="hu-HU" sz="1600" dirty="0"/>
                  <a:t>A rendkívül eltérő felek eltérő viselkedése és nagy elemszámosság miatt bonyolult összehangolás, az integráció mélysége és hasznossága előre nem látható, sokoldalú megállapodások</a:t>
                </a:r>
                <a:endParaRPr lang="en-AU" sz="1600" dirty="0"/>
              </a:p>
              <a:p>
                <a:endParaRPr lang="en-US" sz="1600" i="1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77F42A4D-CAB7-ADF7-BD8F-25D7B8CC73A7}"/>
                  </a:ext>
                </a:extLst>
              </p:cNvPr>
              <p:cNvSpPr/>
              <p:nvPr/>
            </p:nvSpPr>
            <p:spPr bwMode="gray">
              <a:xfrm>
                <a:off x="897964" y="7364730"/>
                <a:ext cx="2295650" cy="87696"/>
              </a:xfrm>
              <a:prstGeom prst="rect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91440" tIns="91440" r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F6421A5E-00AA-2C71-7D17-89B72568A04C}"/>
                </a:ext>
              </a:extLst>
            </p:cNvPr>
            <p:cNvGrpSpPr/>
            <p:nvPr/>
          </p:nvGrpSpPr>
          <p:grpSpPr>
            <a:xfrm>
              <a:off x="5670773" y="1475202"/>
              <a:ext cx="850454" cy="1406308"/>
              <a:chOff x="757805" y="1635343"/>
              <a:chExt cx="1185062" cy="2012973"/>
            </a:xfrm>
          </p:grpSpPr>
          <p:sp>
            <p:nvSpPr>
              <p:cNvPr id="21" name="Freeform 36">
                <a:extLst>
                  <a:ext uri="{FF2B5EF4-FFF2-40B4-BE49-F238E27FC236}">
                    <a16:creationId xmlns:a16="http://schemas.microsoft.com/office/drawing/2014/main" id="{6937C73D-2DE3-0BF6-04B8-8D3D4920F903}"/>
                  </a:ext>
                </a:extLst>
              </p:cNvPr>
              <p:cNvSpPr/>
              <p:nvPr/>
            </p:nvSpPr>
            <p:spPr bwMode="gray">
              <a:xfrm>
                <a:off x="757805" y="1635343"/>
                <a:ext cx="1185062" cy="1921248"/>
              </a:xfrm>
              <a:custGeom>
                <a:avLst/>
                <a:gdLst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73050 w 1162050"/>
                  <a:gd name="connsiteY26" fmla="*/ 87312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73050 w 1162050"/>
                  <a:gd name="connsiteY26" fmla="*/ 87312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73050 w 1162050"/>
                  <a:gd name="connsiteY26" fmla="*/ 87312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2938 h 1892938"/>
                  <a:gd name="connsiteX1" fmla="*/ 581393 w 1162418"/>
                  <a:gd name="connsiteY1" fmla="*/ 1762763 h 1892938"/>
                  <a:gd name="connsiteX2" fmla="*/ 508368 w 1162418"/>
                  <a:gd name="connsiteY2" fmla="*/ 1718313 h 1892938"/>
                  <a:gd name="connsiteX3" fmla="*/ 475030 w 1162418"/>
                  <a:gd name="connsiteY3" fmla="*/ 1678626 h 1892938"/>
                  <a:gd name="connsiteX4" fmla="*/ 505193 w 1162418"/>
                  <a:gd name="connsiteY4" fmla="*/ 1638938 h 1892938"/>
                  <a:gd name="connsiteX5" fmla="*/ 717918 w 1162418"/>
                  <a:gd name="connsiteY5" fmla="*/ 1638938 h 1892938"/>
                  <a:gd name="connsiteX6" fmla="*/ 746493 w 1162418"/>
                  <a:gd name="connsiteY6" fmla="*/ 1591313 h 1892938"/>
                  <a:gd name="connsiteX7" fmla="*/ 716330 w 1162418"/>
                  <a:gd name="connsiteY7" fmla="*/ 1554801 h 1892938"/>
                  <a:gd name="connsiteX8" fmla="*/ 398830 w 1162418"/>
                  <a:gd name="connsiteY8" fmla="*/ 1554801 h 1892938"/>
                  <a:gd name="connsiteX9" fmla="*/ 360730 w 1162418"/>
                  <a:gd name="connsiteY9" fmla="*/ 1516701 h 1892938"/>
                  <a:gd name="connsiteX10" fmla="*/ 382955 w 1162418"/>
                  <a:gd name="connsiteY10" fmla="*/ 1469076 h 1892938"/>
                  <a:gd name="connsiteX11" fmla="*/ 797293 w 1162418"/>
                  <a:gd name="connsiteY11" fmla="*/ 1469076 h 1892938"/>
                  <a:gd name="connsiteX12" fmla="*/ 830630 w 1162418"/>
                  <a:gd name="connsiteY12" fmla="*/ 1421451 h 1892938"/>
                  <a:gd name="connsiteX13" fmla="*/ 795705 w 1162418"/>
                  <a:gd name="connsiteY13" fmla="*/ 1378588 h 1892938"/>
                  <a:gd name="connsiteX14" fmla="*/ 386130 w 1162418"/>
                  <a:gd name="connsiteY14" fmla="*/ 1378588 h 1892938"/>
                  <a:gd name="connsiteX15" fmla="*/ 322630 w 1162418"/>
                  <a:gd name="connsiteY15" fmla="*/ 1346838 h 1892938"/>
                  <a:gd name="connsiteX16" fmla="*/ 283340 w 1162418"/>
                  <a:gd name="connsiteY16" fmla="*/ 1294848 h 1892938"/>
                  <a:gd name="connsiteX17" fmla="*/ 271830 w 1162418"/>
                  <a:gd name="connsiteY17" fmla="*/ 1202376 h 1892938"/>
                  <a:gd name="connsiteX18" fmla="*/ 260718 w 1162418"/>
                  <a:gd name="connsiteY18" fmla="*/ 1123001 h 1892938"/>
                  <a:gd name="connsiteX19" fmla="*/ 205155 w 1162418"/>
                  <a:gd name="connsiteY19" fmla="*/ 1032513 h 1892938"/>
                  <a:gd name="connsiteX20" fmla="*/ 130543 w 1162418"/>
                  <a:gd name="connsiteY20" fmla="*/ 949963 h 1892938"/>
                  <a:gd name="connsiteX21" fmla="*/ 55137 w 1162418"/>
                  <a:gd name="connsiteY21" fmla="*/ 840029 h 1892938"/>
                  <a:gd name="connsiteX22" fmla="*/ 13861 w 1162418"/>
                  <a:gd name="connsiteY22" fmla="*/ 730492 h 1892938"/>
                  <a:gd name="connsiteX23" fmla="*/ 368 w 1162418"/>
                  <a:gd name="connsiteY23" fmla="*/ 595951 h 1892938"/>
                  <a:gd name="connsiteX24" fmla="*/ 11480 w 1162418"/>
                  <a:gd name="connsiteY24" fmla="*/ 470538 h 1892938"/>
                  <a:gd name="connsiteX25" fmla="*/ 81330 w 1162418"/>
                  <a:gd name="connsiteY25" fmla="*/ 280038 h 1892938"/>
                  <a:gd name="connsiteX26" fmla="*/ 265480 w 1162418"/>
                  <a:gd name="connsiteY26" fmla="*/ 87950 h 1892938"/>
                  <a:gd name="connsiteX27" fmla="*/ 519480 w 1162418"/>
                  <a:gd name="connsiteY27" fmla="*/ 2226 h 1892938"/>
                  <a:gd name="connsiteX28" fmla="*/ 705218 w 1162418"/>
                  <a:gd name="connsiteY28" fmla="*/ 5401 h 1892938"/>
                  <a:gd name="connsiteX29" fmla="*/ 943343 w 1162418"/>
                  <a:gd name="connsiteY29" fmla="*/ 116526 h 1892938"/>
                  <a:gd name="connsiteX30" fmla="*/ 1100505 w 1162418"/>
                  <a:gd name="connsiteY30" fmla="*/ 305438 h 1892938"/>
                  <a:gd name="connsiteX31" fmla="*/ 1162418 w 1162418"/>
                  <a:gd name="connsiteY31" fmla="*/ 508638 h 1892938"/>
                  <a:gd name="connsiteX32" fmla="*/ 1159243 w 1162418"/>
                  <a:gd name="connsiteY32" fmla="*/ 678501 h 1892938"/>
                  <a:gd name="connsiteX33" fmla="*/ 1090980 w 1162418"/>
                  <a:gd name="connsiteY33" fmla="*/ 884876 h 1892938"/>
                  <a:gd name="connsiteX34" fmla="*/ 957630 w 1162418"/>
                  <a:gd name="connsiteY34" fmla="*/ 1053151 h 1892938"/>
                  <a:gd name="connsiteX35" fmla="*/ 914768 w 1162418"/>
                  <a:gd name="connsiteY35" fmla="*/ 1113476 h 1892938"/>
                  <a:gd name="connsiteX36" fmla="*/ 905243 w 1162418"/>
                  <a:gd name="connsiteY36" fmla="*/ 1170626 h 1892938"/>
                  <a:gd name="connsiteX37" fmla="*/ 905243 w 1162418"/>
                  <a:gd name="connsiteY37" fmla="*/ 1259526 h 1892938"/>
                  <a:gd name="connsiteX38" fmla="*/ 868730 w 1162418"/>
                  <a:gd name="connsiteY38" fmla="*/ 1296038 h 1892938"/>
                  <a:gd name="connsiteX39" fmla="*/ 641718 w 1162418"/>
                  <a:gd name="connsiteY39" fmla="*/ 1296038 h 1892938"/>
                  <a:gd name="connsiteX40" fmla="*/ 590918 w 1162418"/>
                  <a:gd name="connsiteY40" fmla="*/ 1273813 h 1892938"/>
                  <a:gd name="connsiteX41" fmla="*/ 590918 w 1162418"/>
                  <a:gd name="connsiteY41" fmla="*/ 1207138 h 1892938"/>
                  <a:gd name="connsiteX0" fmla="*/ 584568 w 1162418"/>
                  <a:gd name="connsiteY0" fmla="*/ 1895823 h 1895823"/>
                  <a:gd name="connsiteX1" fmla="*/ 581393 w 1162418"/>
                  <a:gd name="connsiteY1" fmla="*/ 1765648 h 1895823"/>
                  <a:gd name="connsiteX2" fmla="*/ 508368 w 1162418"/>
                  <a:gd name="connsiteY2" fmla="*/ 1721198 h 1895823"/>
                  <a:gd name="connsiteX3" fmla="*/ 475030 w 1162418"/>
                  <a:gd name="connsiteY3" fmla="*/ 1681511 h 1895823"/>
                  <a:gd name="connsiteX4" fmla="*/ 505193 w 1162418"/>
                  <a:gd name="connsiteY4" fmla="*/ 1641823 h 1895823"/>
                  <a:gd name="connsiteX5" fmla="*/ 717918 w 1162418"/>
                  <a:gd name="connsiteY5" fmla="*/ 1641823 h 1895823"/>
                  <a:gd name="connsiteX6" fmla="*/ 746493 w 1162418"/>
                  <a:gd name="connsiteY6" fmla="*/ 1594198 h 1895823"/>
                  <a:gd name="connsiteX7" fmla="*/ 716330 w 1162418"/>
                  <a:gd name="connsiteY7" fmla="*/ 1557686 h 1895823"/>
                  <a:gd name="connsiteX8" fmla="*/ 398830 w 1162418"/>
                  <a:gd name="connsiteY8" fmla="*/ 1557686 h 1895823"/>
                  <a:gd name="connsiteX9" fmla="*/ 360730 w 1162418"/>
                  <a:gd name="connsiteY9" fmla="*/ 1519586 h 1895823"/>
                  <a:gd name="connsiteX10" fmla="*/ 382955 w 1162418"/>
                  <a:gd name="connsiteY10" fmla="*/ 1471961 h 1895823"/>
                  <a:gd name="connsiteX11" fmla="*/ 797293 w 1162418"/>
                  <a:gd name="connsiteY11" fmla="*/ 1471961 h 1895823"/>
                  <a:gd name="connsiteX12" fmla="*/ 830630 w 1162418"/>
                  <a:gd name="connsiteY12" fmla="*/ 1424336 h 1895823"/>
                  <a:gd name="connsiteX13" fmla="*/ 795705 w 1162418"/>
                  <a:gd name="connsiteY13" fmla="*/ 1381473 h 1895823"/>
                  <a:gd name="connsiteX14" fmla="*/ 386130 w 1162418"/>
                  <a:gd name="connsiteY14" fmla="*/ 1381473 h 1895823"/>
                  <a:gd name="connsiteX15" fmla="*/ 322630 w 1162418"/>
                  <a:gd name="connsiteY15" fmla="*/ 1349723 h 1895823"/>
                  <a:gd name="connsiteX16" fmla="*/ 283340 w 1162418"/>
                  <a:gd name="connsiteY16" fmla="*/ 1297733 h 1895823"/>
                  <a:gd name="connsiteX17" fmla="*/ 271830 w 1162418"/>
                  <a:gd name="connsiteY17" fmla="*/ 1205261 h 1895823"/>
                  <a:gd name="connsiteX18" fmla="*/ 260718 w 1162418"/>
                  <a:gd name="connsiteY18" fmla="*/ 1125886 h 1895823"/>
                  <a:gd name="connsiteX19" fmla="*/ 205155 w 1162418"/>
                  <a:gd name="connsiteY19" fmla="*/ 1035398 h 1895823"/>
                  <a:gd name="connsiteX20" fmla="*/ 130543 w 1162418"/>
                  <a:gd name="connsiteY20" fmla="*/ 952848 h 1895823"/>
                  <a:gd name="connsiteX21" fmla="*/ 55137 w 1162418"/>
                  <a:gd name="connsiteY21" fmla="*/ 842914 h 1895823"/>
                  <a:gd name="connsiteX22" fmla="*/ 13861 w 1162418"/>
                  <a:gd name="connsiteY22" fmla="*/ 733377 h 1895823"/>
                  <a:gd name="connsiteX23" fmla="*/ 368 w 1162418"/>
                  <a:gd name="connsiteY23" fmla="*/ 598836 h 1895823"/>
                  <a:gd name="connsiteX24" fmla="*/ 11480 w 1162418"/>
                  <a:gd name="connsiteY24" fmla="*/ 473423 h 1895823"/>
                  <a:gd name="connsiteX25" fmla="*/ 81330 w 1162418"/>
                  <a:gd name="connsiteY25" fmla="*/ 282923 h 1895823"/>
                  <a:gd name="connsiteX26" fmla="*/ 265480 w 1162418"/>
                  <a:gd name="connsiteY26" fmla="*/ 90835 h 1895823"/>
                  <a:gd name="connsiteX27" fmla="*/ 519480 w 1162418"/>
                  <a:gd name="connsiteY27" fmla="*/ 5111 h 1895823"/>
                  <a:gd name="connsiteX28" fmla="*/ 705218 w 1162418"/>
                  <a:gd name="connsiteY28" fmla="*/ 8286 h 1895823"/>
                  <a:gd name="connsiteX29" fmla="*/ 943343 w 1162418"/>
                  <a:gd name="connsiteY29" fmla="*/ 119411 h 1895823"/>
                  <a:gd name="connsiteX30" fmla="*/ 1100505 w 1162418"/>
                  <a:gd name="connsiteY30" fmla="*/ 308323 h 1895823"/>
                  <a:gd name="connsiteX31" fmla="*/ 1162418 w 1162418"/>
                  <a:gd name="connsiteY31" fmla="*/ 511523 h 1895823"/>
                  <a:gd name="connsiteX32" fmla="*/ 1159243 w 1162418"/>
                  <a:gd name="connsiteY32" fmla="*/ 681386 h 1895823"/>
                  <a:gd name="connsiteX33" fmla="*/ 1090980 w 1162418"/>
                  <a:gd name="connsiteY33" fmla="*/ 887761 h 1895823"/>
                  <a:gd name="connsiteX34" fmla="*/ 957630 w 1162418"/>
                  <a:gd name="connsiteY34" fmla="*/ 1056036 h 1895823"/>
                  <a:gd name="connsiteX35" fmla="*/ 914768 w 1162418"/>
                  <a:gd name="connsiteY35" fmla="*/ 1116361 h 1895823"/>
                  <a:gd name="connsiteX36" fmla="*/ 905243 w 1162418"/>
                  <a:gd name="connsiteY36" fmla="*/ 1173511 h 1895823"/>
                  <a:gd name="connsiteX37" fmla="*/ 905243 w 1162418"/>
                  <a:gd name="connsiteY37" fmla="*/ 1262411 h 1895823"/>
                  <a:gd name="connsiteX38" fmla="*/ 868730 w 1162418"/>
                  <a:gd name="connsiteY38" fmla="*/ 1298923 h 1895823"/>
                  <a:gd name="connsiteX39" fmla="*/ 641718 w 1162418"/>
                  <a:gd name="connsiteY39" fmla="*/ 1298923 h 1895823"/>
                  <a:gd name="connsiteX40" fmla="*/ 590918 w 1162418"/>
                  <a:gd name="connsiteY40" fmla="*/ 1276698 h 1895823"/>
                  <a:gd name="connsiteX41" fmla="*/ 590918 w 1162418"/>
                  <a:gd name="connsiteY41" fmla="*/ 1210023 h 1895823"/>
                  <a:gd name="connsiteX0" fmla="*/ 584568 w 1162418"/>
                  <a:gd name="connsiteY0" fmla="*/ 1897931 h 1897931"/>
                  <a:gd name="connsiteX1" fmla="*/ 581393 w 1162418"/>
                  <a:gd name="connsiteY1" fmla="*/ 1767756 h 1897931"/>
                  <a:gd name="connsiteX2" fmla="*/ 508368 w 1162418"/>
                  <a:gd name="connsiteY2" fmla="*/ 1723306 h 1897931"/>
                  <a:gd name="connsiteX3" fmla="*/ 475030 w 1162418"/>
                  <a:gd name="connsiteY3" fmla="*/ 1683619 h 1897931"/>
                  <a:gd name="connsiteX4" fmla="*/ 505193 w 1162418"/>
                  <a:gd name="connsiteY4" fmla="*/ 1643931 h 1897931"/>
                  <a:gd name="connsiteX5" fmla="*/ 717918 w 1162418"/>
                  <a:gd name="connsiteY5" fmla="*/ 1643931 h 1897931"/>
                  <a:gd name="connsiteX6" fmla="*/ 746493 w 1162418"/>
                  <a:gd name="connsiteY6" fmla="*/ 1596306 h 1897931"/>
                  <a:gd name="connsiteX7" fmla="*/ 716330 w 1162418"/>
                  <a:gd name="connsiteY7" fmla="*/ 1559794 h 1897931"/>
                  <a:gd name="connsiteX8" fmla="*/ 398830 w 1162418"/>
                  <a:gd name="connsiteY8" fmla="*/ 1559794 h 1897931"/>
                  <a:gd name="connsiteX9" fmla="*/ 360730 w 1162418"/>
                  <a:gd name="connsiteY9" fmla="*/ 1521694 h 1897931"/>
                  <a:gd name="connsiteX10" fmla="*/ 382955 w 1162418"/>
                  <a:gd name="connsiteY10" fmla="*/ 1474069 h 1897931"/>
                  <a:gd name="connsiteX11" fmla="*/ 797293 w 1162418"/>
                  <a:gd name="connsiteY11" fmla="*/ 1474069 h 1897931"/>
                  <a:gd name="connsiteX12" fmla="*/ 830630 w 1162418"/>
                  <a:gd name="connsiteY12" fmla="*/ 1426444 h 1897931"/>
                  <a:gd name="connsiteX13" fmla="*/ 795705 w 1162418"/>
                  <a:gd name="connsiteY13" fmla="*/ 1383581 h 1897931"/>
                  <a:gd name="connsiteX14" fmla="*/ 386130 w 1162418"/>
                  <a:gd name="connsiteY14" fmla="*/ 1383581 h 1897931"/>
                  <a:gd name="connsiteX15" fmla="*/ 322630 w 1162418"/>
                  <a:gd name="connsiteY15" fmla="*/ 1351831 h 1897931"/>
                  <a:gd name="connsiteX16" fmla="*/ 283340 w 1162418"/>
                  <a:gd name="connsiteY16" fmla="*/ 1299841 h 1897931"/>
                  <a:gd name="connsiteX17" fmla="*/ 271830 w 1162418"/>
                  <a:gd name="connsiteY17" fmla="*/ 1207369 h 1897931"/>
                  <a:gd name="connsiteX18" fmla="*/ 260718 w 1162418"/>
                  <a:gd name="connsiteY18" fmla="*/ 1127994 h 1897931"/>
                  <a:gd name="connsiteX19" fmla="*/ 205155 w 1162418"/>
                  <a:gd name="connsiteY19" fmla="*/ 1037506 h 1897931"/>
                  <a:gd name="connsiteX20" fmla="*/ 130543 w 1162418"/>
                  <a:gd name="connsiteY20" fmla="*/ 954956 h 1897931"/>
                  <a:gd name="connsiteX21" fmla="*/ 55137 w 1162418"/>
                  <a:gd name="connsiteY21" fmla="*/ 845022 h 1897931"/>
                  <a:gd name="connsiteX22" fmla="*/ 13861 w 1162418"/>
                  <a:gd name="connsiteY22" fmla="*/ 735485 h 1897931"/>
                  <a:gd name="connsiteX23" fmla="*/ 368 w 1162418"/>
                  <a:gd name="connsiteY23" fmla="*/ 600944 h 1897931"/>
                  <a:gd name="connsiteX24" fmla="*/ 11480 w 1162418"/>
                  <a:gd name="connsiteY24" fmla="*/ 475531 h 1897931"/>
                  <a:gd name="connsiteX25" fmla="*/ 81330 w 1162418"/>
                  <a:gd name="connsiteY25" fmla="*/ 285031 h 1897931"/>
                  <a:gd name="connsiteX26" fmla="*/ 265480 w 1162418"/>
                  <a:gd name="connsiteY26" fmla="*/ 92943 h 1897931"/>
                  <a:gd name="connsiteX27" fmla="*/ 519480 w 1162418"/>
                  <a:gd name="connsiteY27" fmla="*/ 3648 h 1897931"/>
                  <a:gd name="connsiteX28" fmla="*/ 705218 w 1162418"/>
                  <a:gd name="connsiteY28" fmla="*/ 10394 h 1897931"/>
                  <a:gd name="connsiteX29" fmla="*/ 943343 w 1162418"/>
                  <a:gd name="connsiteY29" fmla="*/ 121519 h 1897931"/>
                  <a:gd name="connsiteX30" fmla="*/ 1100505 w 1162418"/>
                  <a:gd name="connsiteY30" fmla="*/ 310431 h 1897931"/>
                  <a:gd name="connsiteX31" fmla="*/ 1162418 w 1162418"/>
                  <a:gd name="connsiteY31" fmla="*/ 513631 h 1897931"/>
                  <a:gd name="connsiteX32" fmla="*/ 1159243 w 1162418"/>
                  <a:gd name="connsiteY32" fmla="*/ 683494 h 1897931"/>
                  <a:gd name="connsiteX33" fmla="*/ 1090980 w 1162418"/>
                  <a:gd name="connsiteY33" fmla="*/ 889869 h 1897931"/>
                  <a:gd name="connsiteX34" fmla="*/ 957630 w 1162418"/>
                  <a:gd name="connsiteY34" fmla="*/ 1058144 h 1897931"/>
                  <a:gd name="connsiteX35" fmla="*/ 914768 w 1162418"/>
                  <a:gd name="connsiteY35" fmla="*/ 1118469 h 1897931"/>
                  <a:gd name="connsiteX36" fmla="*/ 905243 w 1162418"/>
                  <a:gd name="connsiteY36" fmla="*/ 1175619 h 1897931"/>
                  <a:gd name="connsiteX37" fmla="*/ 905243 w 1162418"/>
                  <a:gd name="connsiteY37" fmla="*/ 1264519 h 1897931"/>
                  <a:gd name="connsiteX38" fmla="*/ 868730 w 1162418"/>
                  <a:gd name="connsiteY38" fmla="*/ 1301031 h 1897931"/>
                  <a:gd name="connsiteX39" fmla="*/ 641718 w 1162418"/>
                  <a:gd name="connsiteY39" fmla="*/ 1301031 h 1897931"/>
                  <a:gd name="connsiteX40" fmla="*/ 590918 w 1162418"/>
                  <a:gd name="connsiteY40" fmla="*/ 1278806 h 1897931"/>
                  <a:gd name="connsiteX41" fmla="*/ 590918 w 1162418"/>
                  <a:gd name="connsiteY41" fmla="*/ 1212131 h 1897931"/>
                  <a:gd name="connsiteX0" fmla="*/ 584568 w 1162418"/>
                  <a:gd name="connsiteY0" fmla="*/ 1897931 h 1897931"/>
                  <a:gd name="connsiteX1" fmla="*/ 581393 w 1162418"/>
                  <a:gd name="connsiteY1" fmla="*/ 1767756 h 1897931"/>
                  <a:gd name="connsiteX2" fmla="*/ 508368 w 1162418"/>
                  <a:gd name="connsiteY2" fmla="*/ 1723306 h 1897931"/>
                  <a:gd name="connsiteX3" fmla="*/ 475030 w 1162418"/>
                  <a:gd name="connsiteY3" fmla="*/ 1683619 h 1897931"/>
                  <a:gd name="connsiteX4" fmla="*/ 505193 w 1162418"/>
                  <a:gd name="connsiteY4" fmla="*/ 1643931 h 1897931"/>
                  <a:gd name="connsiteX5" fmla="*/ 717918 w 1162418"/>
                  <a:gd name="connsiteY5" fmla="*/ 1643931 h 1897931"/>
                  <a:gd name="connsiteX6" fmla="*/ 746493 w 1162418"/>
                  <a:gd name="connsiteY6" fmla="*/ 1596306 h 1897931"/>
                  <a:gd name="connsiteX7" fmla="*/ 716330 w 1162418"/>
                  <a:gd name="connsiteY7" fmla="*/ 1559794 h 1897931"/>
                  <a:gd name="connsiteX8" fmla="*/ 398830 w 1162418"/>
                  <a:gd name="connsiteY8" fmla="*/ 1559794 h 1897931"/>
                  <a:gd name="connsiteX9" fmla="*/ 360730 w 1162418"/>
                  <a:gd name="connsiteY9" fmla="*/ 1521694 h 1897931"/>
                  <a:gd name="connsiteX10" fmla="*/ 382955 w 1162418"/>
                  <a:gd name="connsiteY10" fmla="*/ 1474069 h 1897931"/>
                  <a:gd name="connsiteX11" fmla="*/ 797293 w 1162418"/>
                  <a:gd name="connsiteY11" fmla="*/ 1474069 h 1897931"/>
                  <a:gd name="connsiteX12" fmla="*/ 830630 w 1162418"/>
                  <a:gd name="connsiteY12" fmla="*/ 1426444 h 1897931"/>
                  <a:gd name="connsiteX13" fmla="*/ 795705 w 1162418"/>
                  <a:gd name="connsiteY13" fmla="*/ 1383581 h 1897931"/>
                  <a:gd name="connsiteX14" fmla="*/ 386130 w 1162418"/>
                  <a:gd name="connsiteY14" fmla="*/ 1383581 h 1897931"/>
                  <a:gd name="connsiteX15" fmla="*/ 322630 w 1162418"/>
                  <a:gd name="connsiteY15" fmla="*/ 1351831 h 1897931"/>
                  <a:gd name="connsiteX16" fmla="*/ 283340 w 1162418"/>
                  <a:gd name="connsiteY16" fmla="*/ 1299841 h 1897931"/>
                  <a:gd name="connsiteX17" fmla="*/ 271830 w 1162418"/>
                  <a:gd name="connsiteY17" fmla="*/ 1207369 h 1897931"/>
                  <a:gd name="connsiteX18" fmla="*/ 260718 w 1162418"/>
                  <a:gd name="connsiteY18" fmla="*/ 1127994 h 1897931"/>
                  <a:gd name="connsiteX19" fmla="*/ 205155 w 1162418"/>
                  <a:gd name="connsiteY19" fmla="*/ 1037506 h 1897931"/>
                  <a:gd name="connsiteX20" fmla="*/ 130543 w 1162418"/>
                  <a:gd name="connsiteY20" fmla="*/ 954956 h 1897931"/>
                  <a:gd name="connsiteX21" fmla="*/ 55137 w 1162418"/>
                  <a:gd name="connsiteY21" fmla="*/ 845022 h 1897931"/>
                  <a:gd name="connsiteX22" fmla="*/ 13861 w 1162418"/>
                  <a:gd name="connsiteY22" fmla="*/ 735485 h 1897931"/>
                  <a:gd name="connsiteX23" fmla="*/ 368 w 1162418"/>
                  <a:gd name="connsiteY23" fmla="*/ 600944 h 1897931"/>
                  <a:gd name="connsiteX24" fmla="*/ 11480 w 1162418"/>
                  <a:gd name="connsiteY24" fmla="*/ 475531 h 1897931"/>
                  <a:gd name="connsiteX25" fmla="*/ 81330 w 1162418"/>
                  <a:gd name="connsiteY25" fmla="*/ 285031 h 1897931"/>
                  <a:gd name="connsiteX26" fmla="*/ 265480 w 1162418"/>
                  <a:gd name="connsiteY26" fmla="*/ 92943 h 1897931"/>
                  <a:gd name="connsiteX27" fmla="*/ 519480 w 1162418"/>
                  <a:gd name="connsiteY27" fmla="*/ 3648 h 1897931"/>
                  <a:gd name="connsiteX28" fmla="*/ 705218 w 1162418"/>
                  <a:gd name="connsiteY28" fmla="*/ 10394 h 1897931"/>
                  <a:gd name="connsiteX29" fmla="*/ 943343 w 1162418"/>
                  <a:gd name="connsiteY29" fmla="*/ 121519 h 1897931"/>
                  <a:gd name="connsiteX30" fmla="*/ 1100505 w 1162418"/>
                  <a:gd name="connsiteY30" fmla="*/ 310431 h 1897931"/>
                  <a:gd name="connsiteX31" fmla="*/ 1162418 w 1162418"/>
                  <a:gd name="connsiteY31" fmla="*/ 513631 h 1897931"/>
                  <a:gd name="connsiteX32" fmla="*/ 1159243 w 1162418"/>
                  <a:gd name="connsiteY32" fmla="*/ 683494 h 1897931"/>
                  <a:gd name="connsiteX33" fmla="*/ 1090980 w 1162418"/>
                  <a:gd name="connsiteY33" fmla="*/ 889869 h 1897931"/>
                  <a:gd name="connsiteX34" fmla="*/ 957630 w 1162418"/>
                  <a:gd name="connsiteY34" fmla="*/ 1058144 h 1897931"/>
                  <a:gd name="connsiteX35" fmla="*/ 914768 w 1162418"/>
                  <a:gd name="connsiteY35" fmla="*/ 1118469 h 1897931"/>
                  <a:gd name="connsiteX36" fmla="*/ 905243 w 1162418"/>
                  <a:gd name="connsiteY36" fmla="*/ 1175619 h 1897931"/>
                  <a:gd name="connsiteX37" fmla="*/ 905243 w 1162418"/>
                  <a:gd name="connsiteY37" fmla="*/ 1264519 h 1897931"/>
                  <a:gd name="connsiteX38" fmla="*/ 868730 w 1162418"/>
                  <a:gd name="connsiteY38" fmla="*/ 1301031 h 1897931"/>
                  <a:gd name="connsiteX39" fmla="*/ 641718 w 1162418"/>
                  <a:gd name="connsiteY39" fmla="*/ 1301031 h 1897931"/>
                  <a:gd name="connsiteX40" fmla="*/ 590918 w 1162418"/>
                  <a:gd name="connsiteY40" fmla="*/ 1278806 h 1897931"/>
                  <a:gd name="connsiteX41" fmla="*/ 590918 w 1162418"/>
                  <a:gd name="connsiteY41" fmla="*/ 1212131 h 1897931"/>
                  <a:gd name="connsiteX0" fmla="*/ 584568 w 1162418"/>
                  <a:gd name="connsiteY0" fmla="*/ 1894283 h 1894283"/>
                  <a:gd name="connsiteX1" fmla="*/ 581393 w 1162418"/>
                  <a:gd name="connsiteY1" fmla="*/ 1764108 h 1894283"/>
                  <a:gd name="connsiteX2" fmla="*/ 508368 w 1162418"/>
                  <a:gd name="connsiteY2" fmla="*/ 1719658 h 1894283"/>
                  <a:gd name="connsiteX3" fmla="*/ 475030 w 1162418"/>
                  <a:gd name="connsiteY3" fmla="*/ 1679971 h 1894283"/>
                  <a:gd name="connsiteX4" fmla="*/ 505193 w 1162418"/>
                  <a:gd name="connsiteY4" fmla="*/ 1640283 h 1894283"/>
                  <a:gd name="connsiteX5" fmla="*/ 717918 w 1162418"/>
                  <a:gd name="connsiteY5" fmla="*/ 1640283 h 1894283"/>
                  <a:gd name="connsiteX6" fmla="*/ 746493 w 1162418"/>
                  <a:gd name="connsiteY6" fmla="*/ 1592658 h 1894283"/>
                  <a:gd name="connsiteX7" fmla="*/ 716330 w 1162418"/>
                  <a:gd name="connsiteY7" fmla="*/ 1556146 h 1894283"/>
                  <a:gd name="connsiteX8" fmla="*/ 398830 w 1162418"/>
                  <a:gd name="connsiteY8" fmla="*/ 1556146 h 1894283"/>
                  <a:gd name="connsiteX9" fmla="*/ 360730 w 1162418"/>
                  <a:gd name="connsiteY9" fmla="*/ 1518046 h 1894283"/>
                  <a:gd name="connsiteX10" fmla="*/ 382955 w 1162418"/>
                  <a:gd name="connsiteY10" fmla="*/ 1470421 h 1894283"/>
                  <a:gd name="connsiteX11" fmla="*/ 797293 w 1162418"/>
                  <a:gd name="connsiteY11" fmla="*/ 1470421 h 1894283"/>
                  <a:gd name="connsiteX12" fmla="*/ 830630 w 1162418"/>
                  <a:gd name="connsiteY12" fmla="*/ 1422796 h 1894283"/>
                  <a:gd name="connsiteX13" fmla="*/ 795705 w 1162418"/>
                  <a:gd name="connsiteY13" fmla="*/ 1379933 h 1894283"/>
                  <a:gd name="connsiteX14" fmla="*/ 386130 w 1162418"/>
                  <a:gd name="connsiteY14" fmla="*/ 1379933 h 1894283"/>
                  <a:gd name="connsiteX15" fmla="*/ 322630 w 1162418"/>
                  <a:gd name="connsiteY15" fmla="*/ 1348183 h 1894283"/>
                  <a:gd name="connsiteX16" fmla="*/ 283340 w 1162418"/>
                  <a:gd name="connsiteY16" fmla="*/ 1296193 h 1894283"/>
                  <a:gd name="connsiteX17" fmla="*/ 271830 w 1162418"/>
                  <a:gd name="connsiteY17" fmla="*/ 1203721 h 1894283"/>
                  <a:gd name="connsiteX18" fmla="*/ 260718 w 1162418"/>
                  <a:gd name="connsiteY18" fmla="*/ 1124346 h 1894283"/>
                  <a:gd name="connsiteX19" fmla="*/ 205155 w 1162418"/>
                  <a:gd name="connsiteY19" fmla="*/ 1033858 h 1894283"/>
                  <a:gd name="connsiteX20" fmla="*/ 130543 w 1162418"/>
                  <a:gd name="connsiteY20" fmla="*/ 951308 h 1894283"/>
                  <a:gd name="connsiteX21" fmla="*/ 55137 w 1162418"/>
                  <a:gd name="connsiteY21" fmla="*/ 841374 h 1894283"/>
                  <a:gd name="connsiteX22" fmla="*/ 13861 w 1162418"/>
                  <a:gd name="connsiteY22" fmla="*/ 731837 h 1894283"/>
                  <a:gd name="connsiteX23" fmla="*/ 368 w 1162418"/>
                  <a:gd name="connsiteY23" fmla="*/ 597296 h 1894283"/>
                  <a:gd name="connsiteX24" fmla="*/ 11480 w 1162418"/>
                  <a:gd name="connsiteY24" fmla="*/ 471883 h 1894283"/>
                  <a:gd name="connsiteX25" fmla="*/ 81330 w 1162418"/>
                  <a:gd name="connsiteY25" fmla="*/ 281383 h 1894283"/>
                  <a:gd name="connsiteX26" fmla="*/ 265480 w 1162418"/>
                  <a:gd name="connsiteY26" fmla="*/ 89295 h 1894283"/>
                  <a:gd name="connsiteX27" fmla="*/ 519480 w 1162418"/>
                  <a:gd name="connsiteY27" fmla="*/ 0 h 1894283"/>
                  <a:gd name="connsiteX28" fmla="*/ 705218 w 1162418"/>
                  <a:gd name="connsiteY28" fmla="*/ 6746 h 1894283"/>
                  <a:gd name="connsiteX29" fmla="*/ 943343 w 1162418"/>
                  <a:gd name="connsiteY29" fmla="*/ 117871 h 1894283"/>
                  <a:gd name="connsiteX30" fmla="*/ 1100505 w 1162418"/>
                  <a:gd name="connsiteY30" fmla="*/ 306783 h 1894283"/>
                  <a:gd name="connsiteX31" fmla="*/ 1162418 w 1162418"/>
                  <a:gd name="connsiteY31" fmla="*/ 509983 h 1894283"/>
                  <a:gd name="connsiteX32" fmla="*/ 1159243 w 1162418"/>
                  <a:gd name="connsiteY32" fmla="*/ 679846 h 1894283"/>
                  <a:gd name="connsiteX33" fmla="*/ 1090980 w 1162418"/>
                  <a:gd name="connsiteY33" fmla="*/ 886221 h 1894283"/>
                  <a:gd name="connsiteX34" fmla="*/ 957630 w 1162418"/>
                  <a:gd name="connsiteY34" fmla="*/ 1054496 h 1894283"/>
                  <a:gd name="connsiteX35" fmla="*/ 914768 w 1162418"/>
                  <a:gd name="connsiteY35" fmla="*/ 1114821 h 1894283"/>
                  <a:gd name="connsiteX36" fmla="*/ 905243 w 1162418"/>
                  <a:gd name="connsiteY36" fmla="*/ 1171971 h 1894283"/>
                  <a:gd name="connsiteX37" fmla="*/ 905243 w 1162418"/>
                  <a:gd name="connsiteY37" fmla="*/ 1260871 h 1894283"/>
                  <a:gd name="connsiteX38" fmla="*/ 868730 w 1162418"/>
                  <a:gd name="connsiteY38" fmla="*/ 1297383 h 1894283"/>
                  <a:gd name="connsiteX39" fmla="*/ 641718 w 1162418"/>
                  <a:gd name="connsiteY39" fmla="*/ 1297383 h 1894283"/>
                  <a:gd name="connsiteX40" fmla="*/ 590918 w 1162418"/>
                  <a:gd name="connsiteY40" fmla="*/ 1275158 h 1894283"/>
                  <a:gd name="connsiteX41" fmla="*/ 590918 w 1162418"/>
                  <a:gd name="connsiteY41" fmla="*/ 1208483 h 1894283"/>
                  <a:gd name="connsiteX0" fmla="*/ 584568 w 1162418"/>
                  <a:gd name="connsiteY0" fmla="*/ 1896145 h 1896145"/>
                  <a:gd name="connsiteX1" fmla="*/ 581393 w 1162418"/>
                  <a:gd name="connsiteY1" fmla="*/ 1765970 h 1896145"/>
                  <a:gd name="connsiteX2" fmla="*/ 508368 w 1162418"/>
                  <a:gd name="connsiteY2" fmla="*/ 1721520 h 1896145"/>
                  <a:gd name="connsiteX3" fmla="*/ 475030 w 1162418"/>
                  <a:gd name="connsiteY3" fmla="*/ 1681833 h 1896145"/>
                  <a:gd name="connsiteX4" fmla="*/ 505193 w 1162418"/>
                  <a:gd name="connsiteY4" fmla="*/ 1642145 h 1896145"/>
                  <a:gd name="connsiteX5" fmla="*/ 717918 w 1162418"/>
                  <a:gd name="connsiteY5" fmla="*/ 1642145 h 1896145"/>
                  <a:gd name="connsiteX6" fmla="*/ 746493 w 1162418"/>
                  <a:gd name="connsiteY6" fmla="*/ 1594520 h 1896145"/>
                  <a:gd name="connsiteX7" fmla="*/ 716330 w 1162418"/>
                  <a:gd name="connsiteY7" fmla="*/ 1558008 h 1896145"/>
                  <a:gd name="connsiteX8" fmla="*/ 398830 w 1162418"/>
                  <a:gd name="connsiteY8" fmla="*/ 1558008 h 1896145"/>
                  <a:gd name="connsiteX9" fmla="*/ 360730 w 1162418"/>
                  <a:gd name="connsiteY9" fmla="*/ 1519908 h 1896145"/>
                  <a:gd name="connsiteX10" fmla="*/ 382955 w 1162418"/>
                  <a:gd name="connsiteY10" fmla="*/ 1472283 h 1896145"/>
                  <a:gd name="connsiteX11" fmla="*/ 797293 w 1162418"/>
                  <a:gd name="connsiteY11" fmla="*/ 1472283 h 1896145"/>
                  <a:gd name="connsiteX12" fmla="*/ 830630 w 1162418"/>
                  <a:gd name="connsiteY12" fmla="*/ 1424658 h 1896145"/>
                  <a:gd name="connsiteX13" fmla="*/ 795705 w 1162418"/>
                  <a:gd name="connsiteY13" fmla="*/ 1381795 h 1896145"/>
                  <a:gd name="connsiteX14" fmla="*/ 386130 w 1162418"/>
                  <a:gd name="connsiteY14" fmla="*/ 1381795 h 1896145"/>
                  <a:gd name="connsiteX15" fmla="*/ 322630 w 1162418"/>
                  <a:gd name="connsiteY15" fmla="*/ 1350045 h 1896145"/>
                  <a:gd name="connsiteX16" fmla="*/ 283340 w 1162418"/>
                  <a:gd name="connsiteY16" fmla="*/ 1298055 h 1896145"/>
                  <a:gd name="connsiteX17" fmla="*/ 271830 w 1162418"/>
                  <a:gd name="connsiteY17" fmla="*/ 1205583 h 1896145"/>
                  <a:gd name="connsiteX18" fmla="*/ 260718 w 1162418"/>
                  <a:gd name="connsiteY18" fmla="*/ 1126208 h 1896145"/>
                  <a:gd name="connsiteX19" fmla="*/ 205155 w 1162418"/>
                  <a:gd name="connsiteY19" fmla="*/ 1035720 h 1896145"/>
                  <a:gd name="connsiteX20" fmla="*/ 130543 w 1162418"/>
                  <a:gd name="connsiteY20" fmla="*/ 953170 h 1896145"/>
                  <a:gd name="connsiteX21" fmla="*/ 55137 w 1162418"/>
                  <a:gd name="connsiteY21" fmla="*/ 843236 h 1896145"/>
                  <a:gd name="connsiteX22" fmla="*/ 13861 w 1162418"/>
                  <a:gd name="connsiteY22" fmla="*/ 733699 h 1896145"/>
                  <a:gd name="connsiteX23" fmla="*/ 368 w 1162418"/>
                  <a:gd name="connsiteY23" fmla="*/ 599158 h 1896145"/>
                  <a:gd name="connsiteX24" fmla="*/ 11480 w 1162418"/>
                  <a:gd name="connsiteY24" fmla="*/ 473745 h 1896145"/>
                  <a:gd name="connsiteX25" fmla="*/ 81330 w 1162418"/>
                  <a:gd name="connsiteY25" fmla="*/ 283245 h 1896145"/>
                  <a:gd name="connsiteX26" fmla="*/ 265480 w 1162418"/>
                  <a:gd name="connsiteY26" fmla="*/ 91157 h 1896145"/>
                  <a:gd name="connsiteX27" fmla="*/ 519480 w 1162418"/>
                  <a:gd name="connsiteY27" fmla="*/ 1862 h 1896145"/>
                  <a:gd name="connsiteX28" fmla="*/ 705218 w 1162418"/>
                  <a:gd name="connsiteY28" fmla="*/ 8608 h 1896145"/>
                  <a:gd name="connsiteX29" fmla="*/ 943343 w 1162418"/>
                  <a:gd name="connsiteY29" fmla="*/ 119733 h 1896145"/>
                  <a:gd name="connsiteX30" fmla="*/ 1100505 w 1162418"/>
                  <a:gd name="connsiteY30" fmla="*/ 308645 h 1896145"/>
                  <a:gd name="connsiteX31" fmla="*/ 1162418 w 1162418"/>
                  <a:gd name="connsiteY31" fmla="*/ 511845 h 1896145"/>
                  <a:gd name="connsiteX32" fmla="*/ 1159243 w 1162418"/>
                  <a:gd name="connsiteY32" fmla="*/ 681708 h 1896145"/>
                  <a:gd name="connsiteX33" fmla="*/ 1090980 w 1162418"/>
                  <a:gd name="connsiteY33" fmla="*/ 888083 h 1896145"/>
                  <a:gd name="connsiteX34" fmla="*/ 957630 w 1162418"/>
                  <a:gd name="connsiteY34" fmla="*/ 1056358 h 1896145"/>
                  <a:gd name="connsiteX35" fmla="*/ 914768 w 1162418"/>
                  <a:gd name="connsiteY35" fmla="*/ 1116683 h 1896145"/>
                  <a:gd name="connsiteX36" fmla="*/ 905243 w 1162418"/>
                  <a:gd name="connsiteY36" fmla="*/ 1173833 h 1896145"/>
                  <a:gd name="connsiteX37" fmla="*/ 905243 w 1162418"/>
                  <a:gd name="connsiteY37" fmla="*/ 1262733 h 1896145"/>
                  <a:gd name="connsiteX38" fmla="*/ 868730 w 1162418"/>
                  <a:gd name="connsiteY38" fmla="*/ 1299245 h 1896145"/>
                  <a:gd name="connsiteX39" fmla="*/ 641718 w 1162418"/>
                  <a:gd name="connsiteY39" fmla="*/ 1299245 h 1896145"/>
                  <a:gd name="connsiteX40" fmla="*/ 590918 w 1162418"/>
                  <a:gd name="connsiteY40" fmla="*/ 1277020 h 1896145"/>
                  <a:gd name="connsiteX41" fmla="*/ 590918 w 1162418"/>
                  <a:gd name="connsiteY41" fmla="*/ 1210345 h 1896145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6196"/>
                  <a:gd name="connsiteY0" fmla="*/ 1898273 h 1898273"/>
                  <a:gd name="connsiteX1" fmla="*/ 581393 w 1166196"/>
                  <a:gd name="connsiteY1" fmla="*/ 1768098 h 1898273"/>
                  <a:gd name="connsiteX2" fmla="*/ 508368 w 1166196"/>
                  <a:gd name="connsiteY2" fmla="*/ 1723648 h 1898273"/>
                  <a:gd name="connsiteX3" fmla="*/ 475030 w 1166196"/>
                  <a:gd name="connsiteY3" fmla="*/ 1683961 h 1898273"/>
                  <a:gd name="connsiteX4" fmla="*/ 505193 w 1166196"/>
                  <a:gd name="connsiteY4" fmla="*/ 1644273 h 1898273"/>
                  <a:gd name="connsiteX5" fmla="*/ 717918 w 1166196"/>
                  <a:gd name="connsiteY5" fmla="*/ 1644273 h 1898273"/>
                  <a:gd name="connsiteX6" fmla="*/ 746493 w 1166196"/>
                  <a:gd name="connsiteY6" fmla="*/ 1596648 h 1898273"/>
                  <a:gd name="connsiteX7" fmla="*/ 716330 w 1166196"/>
                  <a:gd name="connsiteY7" fmla="*/ 1560136 h 1898273"/>
                  <a:gd name="connsiteX8" fmla="*/ 398830 w 1166196"/>
                  <a:gd name="connsiteY8" fmla="*/ 1560136 h 1898273"/>
                  <a:gd name="connsiteX9" fmla="*/ 360730 w 1166196"/>
                  <a:gd name="connsiteY9" fmla="*/ 1522036 h 1898273"/>
                  <a:gd name="connsiteX10" fmla="*/ 382955 w 1166196"/>
                  <a:gd name="connsiteY10" fmla="*/ 1474411 h 1898273"/>
                  <a:gd name="connsiteX11" fmla="*/ 797293 w 1166196"/>
                  <a:gd name="connsiteY11" fmla="*/ 1474411 h 1898273"/>
                  <a:gd name="connsiteX12" fmla="*/ 830630 w 1166196"/>
                  <a:gd name="connsiteY12" fmla="*/ 1426786 h 1898273"/>
                  <a:gd name="connsiteX13" fmla="*/ 795705 w 1166196"/>
                  <a:gd name="connsiteY13" fmla="*/ 1383923 h 1898273"/>
                  <a:gd name="connsiteX14" fmla="*/ 386130 w 1166196"/>
                  <a:gd name="connsiteY14" fmla="*/ 1383923 h 1898273"/>
                  <a:gd name="connsiteX15" fmla="*/ 322630 w 1166196"/>
                  <a:gd name="connsiteY15" fmla="*/ 1352173 h 1898273"/>
                  <a:gd name="connsiteX16" fmla="*/ 283340 w 1166196"/>
                  <a:gd name="connsiteY16" fmla="*/ 1300183 h 1898273"/>
                  <a:gd name="connsiteX17" fmla="*/ 271830 w 1166196"/>
                  <a:gd name="connsiteY17" fmla="*/ 1207711 h 1898273"/>
                  <a:gd name="connsiteX18" fmla="*/ 260718 w 1166196"/>
                  <a:gd name="connsiteY18" fmla="*/ 1128336 h 1898273"/>
                  <a:gd name="connsiteX19" fmla="*/ 205155 w 1166196"/>
                  <a:gd name="connsiteY19" fmla="*/ 1037848 h 1898273"/>
                  <a:gd name="connsiteX20" fmla="*/ 130543 w 1166196"/>
                  <a:gd name="connsiteY20" fmla="*/ 955298 h 1898273"/>
                  <a:gd name="connsiteX21" fmla="*/ 55137 w 1166196"/>
                  <a:gd name="connsiteY21" fmla="*/ 845364 h 1898273"/>
                  <a:gd name="connsiteX22" fmla="*/ 13861 w 1166196"/>
                  <a:gd name="connsiteY22" fmla="*/ 735827 h 1898273"/>
                  <a:gd name="connsiteX23" fmla="*/ 368 w 1166196"/>
                  <a:gd name="connsiteY23" fmla="*/ 601286 h 1898273"/>
                  <a:gd name="connsiteX24" fmla="*/ 11480 w 1166196"/>
                  <a:gd name="connsiteY24" fmla="*/ 475873 h 1898273"/>
                  <a:gd name="connsiteX25" fmla="*/ 81330 w 1166196"/>
                  <a:gd name="connsiteY25" fmla="*/ 285373 h 1898273"/>
                  <a:gd name="connsiteX26" fmla="*/ 265480 w 1166196"/>
                  <a:gd name="connsiteY26" fmla="*/ 93285 h 1898273"/>
                  <a:gd name="connsiteX27" fmla="*/ 519480 w 1166196"/>
                  <a:gd name="connsiteY27" fmla="*/ 3990 h 1898273"/>
                  <a:gd name="connsiteX28" fmla="*/ 705218 w 1166196"/>
                  <a:gd name="connsiteY28" fmla="*/ 10736 h 1898273"/>
                  <a:gd name="connsiteX29" fmla="*/ 943343 w 1166196"/>
                  <a:gd name="connsiteY29" fmla="*/ 121861 h 1898273"/>
                  <a:gd name="connsiteX30" fmla="*/ 1100505 w 1166196"/>
                  <a:gd name="connsiteY30" fmla="*/ 310773 h 1898273"/>
                  <a:gd name="connsiteX31" fmla="*/ 1162418 w 1166196"/>
                  <a:gd name="connsiteY31" fmla="*/ 513973 h 1898273"/>
                  <a:gd name="connsiteX32" fmla="*/ 1159243 w 1166196"/>
                  <a:gd name="connsiteY32" fmla="*/ 683836 h 1898273"/>
                  <a:gd name="connsiteX33" fmla="*/ 1090980 w 1166196"/>
                  <a:gd name="connsiteY33" fmla="*/ 890211 h 1898273"/>
                  <a:gd name="connsiteX34" fmla="*/ 957630 w 1166196"/>
                  <a:gd name="connsiteY34" fmla="*/ 1058486 h 1898273"/>
                  <a:gd name="connsiteX35" fmla="*/ 914768 w 1166196"/>
                  <a:gd name="connsiteY35" fmla="*/ 1118811 h 1898273"/>
                  <a:gd name="connsiteX36" fmla="*/ 905243 w 1166196"/>
                  <a:gd name="connsiteY36" fmla="*/ 1175961 h 1898273"/>
                  <a:gd name="connsiteX37" fmla="*/ 905243 w 1166196"/>
                  <a:gd name="connsiteY37" fmla="*/ 1264861 h 1898273"/>
                  <a:gd name="connsiteX38" fmla="*/ 868730 w 1166196"/>
                  <a:gd name="connsiteY38" fmla="*/ 1301373 h 1898273"/>
                  <a:gd name="connsiteX39" fmla="*/ 641718 w 1166196"/>
                  <a:gd name="connsiteY39" fmla="*/ 1301373 h 1898273"/>
                  <a:gd name="connsiteX40" fmla="*/ 590918 w 1166196"/>
                  <a:gd name="connsiteY40" fmla="*/ 1279148 h 1898273"/>
                  <a:gd name="connsiteX41" fmla="*/ 590918 w 1166196"/>
                  <a:gd name="connsiteY41" fmla="*/ 1212473 h 1898273"/>
                  <a:gd name="connsiteX0" fmla="*/ 584568 w 1170207"/>
                  <a:gd name="connsiteY0" fmla="*/ 1898273 h 1898273"/>
                  <a:gd name="connsiteX1" fmla="*/ 581393 w 1170207"/>
                  <a:gd name="connsiteY1" fmla="*/ 1768098 h 1898273"/>
                  <a:gd name="connsiteX2" fmla="*/ 508368 w 1170207"/>
                  <a:gd name="connsiteY2" fmla="*/ 1723648 h 1898273"/>
                  <a:gd name="connsiteX3" fmla="*/ 475030 w 1170207"/>
                  <a:gd name="connsiteY3" fmla="*/ 1683961 h 1898273"/>
                  <a:gd name="connsiteX4" fmla="*/ 505193 w 1170207"/>
                  <a:gd name="connsiteY4" fmla="*/ 1644273 h 1898273"/>
                  <a:gd name="connsiteX5" fmla="*/ 717918 w 1170207"/>
                  <a:gd name="connsiteY5" fmla="*/ 1644273 h 1898273"/>
                  <a:gd name="connsiteX6" fmla="*/ 746493 w 1170207"/>
                  <a:gd name="connsiteY6" fmla="*/ 1596648 h 1898273"/>
                  <a:gd name="connsiteX7" fmla="*/ 716330 w 1170207"/>
                  <a:gd name="connsiteY7" fmla="*/ 1560136 h 1898273"/>
                  <a:gd name="connsiteX8" fmla="*/ 398830 w 1170207"/>
                  <a:gd name="connsiteY8" fmla="*/ 1560136 h 1898273"/>
                  <a:gd name="connsiteX9" fmla="*/ 360730 w 1170207"/>
                  <a:gd name="connsiteY9" fmla="*/ 1522036 h 1898273"/>
                  <a:gd name="connsiteX10" fmla="*/ 382955 w 1170207"/>
                  <a:gd name="connsiteY10" fmla="*/ 1474411 h 1898273"/>
                  <a:gd name="connsiteX11" fmla="*/ 797293 w 1170207"/>
                  <a:gd name="connsiteY11" fmla="*/ 1474411 h 1898273"/>
                  <a:gd name="connsiteX12" fmla="*/ 830630 w 1170207"/>
                  <a:gd name="connsiteY12" fmla="*/ 1426786 h 1898273"/>
                  <a:gd name="connsiteX13" fmla="*/ 795705 w 1170207"/>
                  <a:gd name="connsiteY13" fmla="*/ 1383923 h 1898273"/>
                  <a:gd name="connsiteX14" fmla="*/ 386130 w 1170207"/>
                  <a:gd name="connsiteY14" fmla="*/ 1383923 h 1898273"/>
                  <a:gd name="connsiteX15" fmla="*/ 322630 w 1170207"/>
                  <a:gd name="connsiteY15" fmla="*/ 1352173 h 1898273"/>
                  <a:gd name="connsiteX16" fmla="*/ 283340 w 1170207"/>
                  <a:gd name="connsiteY16" fmla="*/ 1300183 h 1898273"/>
                  <a:gd name="connsiteX17" fmla="*/ 271830 w 1170207"/>
                  <a:gd name="connsiteY17" fmla="*/ 1207711 h 1898273"/>
                  <a:gd name="connsiteX18" fmla="*/ 260718 w 1170207"/>
                  <a:gd name="connsiteY18" fmla="*/ 1128336 h 1898273"/>
                  <a:gd name="connsiteX19" fmla="*/ 205155 w 1170207"/>
                  <a:gd name="connsiteY19" fmla="*/ 1037848 h 1898273"/>
                  <a:gd name="connsiteX20" fmla="*/ 130543 w 1170207"/>
                  <a:gd name="connsiteY20" fmla="*/ 955298 h 1898273"/>
                  <a:gd name="connsiteX21" fmla="*/ 55137 w 1170207"/>
                  <a:gd name="connsiteY21" fmla="*/ 845364 h 1898273"/>
                  <a:gd name="connsiteX22" fmla="*/ 13861 w 1170207"/>
                  <a:gd name="connsiteY22" fmla="*/ 735827 h 1898273"/>
                  <a:gd name="connsiteX23" fmla="*/ 368 w 1170207"/>
                  <a:gd name="connsiteY23" fmla="*/ 601286 h 1898273"/>
                  <a:gd name="connsiteX24" fmla="*/ 11480 w 1170207"/>
                  <a:gd name="connsiteY24" fmla="*/ 475873 h 1898273"/>
                  <a:gd name="connsiteX25" fmla="*/ 81330 w 1170207"/>
                  <a:gd name="connsiteY25" fmla="*/ 285373 h 1898273"/>
                  <a:gd name="connsiteX26" fmla="*/ 265480 w 1170207"/>
                  <a:gd name="connsiteY26" fmla="*/ 93285 h 1898273"/>
                  <a:gd name="connsiteX27" fmla="*/ 519480 w 1170207"/>
                  <a:gd name="connsiteY27" fmla="*/ 3990 h 1898273"/>
                  <a:gd name="connsiteX28" fmla="*/ 705218 w 1170207"/>
                  <a:gd name="connsiteY28" fmla="*/ 10736 h 1898273"/>
                  <a:gd name="connsiteX29" fmla="*/ 943343 w 1170207"/>
                  <a:gd name="connsiteY29" fmla="*/ 121861 h 1898273"/>
                  <a:gd name="connsiteX30" fmla="*/ 1100505 w 1170207"/>
                  <a:gd name="connsiteY30" fmla="*/ 310773 h 1898273"/>
                  <a:gd name="connsiteX31" fmla="*/ 1162418 w 1170207"/>
                  <a:gd name="connsiteY31" fmla="*/ 513973 h 1898273"/>
                  <a:gd name="connsiteX32" fmla="*/ 1159243 w 1170207"/>
                  <a:gd name="connsiteY32" fmla="*/ 683836 h 1898273"/>
                  <a:gd name="connsiteX33" fmla="*/ 1090980 w 1170207"/>
                  <a:gd name="connsiteY33" fmla="*/ 890211 h 1898273"/>
                  <a:gd name="connsiteX34" fmla="*/ 957630 w 1170207"/>
                  <a:gd name="connsiteY34" fmla="*/ 1058486 h 1898273"/>
                  <a:gd name="connsiteX35" fmla="*/ 914768 w 1170207"/>
                  <a:gd name="connsiteY35" fmla="*/ 1118811 h 1898273"/>
                  <a:gd name="connsiteX36" fmla="*/ 905243 w 1170207"/>
                  <a:gd name="connsiteY36" fmla="*/ 1175961 h 1898273"/>
                  <a:gd name="connsiteX37" fmla="*/ 905243 w 1170207"/>
                  <a:gd name="connsiteY37" fmla="*/ 1264861 h 1898273"/>
                  <a:gd name="connsiteX38" fmla="*/ 868730 w 1170207"/>
                  <a:gd name="connsiteY38" fmla="*/ 1301373 h 1898273"/>
                  <a:gd name="connsiteX39" fmla="*/ 641718 w 1170207"/>
                  <a:gd name="connsiteY39" fmla="*/ 1301373 h 1898273"/>
                  <a:gd name="connsiteX40" fmla="*/ 590918 w 1170207"/>
                  <a:gd name="connsiteY40" fmla="*/ 1279148 h 1898273"/>
                  <a:gd name="connsiteX41" fmla="*/ 590918 w 1170207"/>
                  <a:gd name="connsiteY41" fmla="*/ 1212473 h 1898273"/>
                  <a:gd name="connsiteX0" fmla="*/ 584568 w 1167505"/>
                  <a:gd name="connsiteY0" fmla="*/ 1898273 h 1898273"/>
                  <a:gd name="connsiteX1" fmla="*/ 581393 w 1167505"/>
                  <a:gd name="connsiteY1" fmla="*/ 1768098 h 1898273"/>
                  <a:gd name="connsiteX2" fmla="*/ 508368 w 1167505"/>
                  <a:gd name="connsiteY2" fmla="*/ 1723648 h 1898273"/>
                  <a:gd name="connsiteX3" fmla="*/ 475030 w 1167505"/>
                  <a:gd name="connsiteY3" fmla="*/ 1683961 h 1898273"/>
                  <a:gd name="connsiteX4" fmla="*/ 505193 w 1167505"/>
                  <a:gd name="connsiteY4" fmla="*/ 1644273 h 1898273"/>
                  <a:gd name="connsiteX5" fmla="*/ 717918 w 1167505"/>
                  <a:gd name="connsiteY5" fmla="*/ 1644273 h 1898273"/>
                  <a:gd name="connsiteX6" fmla="*/ 746493 w 1167505"/>
                  <a:gd name="connsiteY6" fmla="*/ 1596648 h 1898273"/>
                  <a:gd name="connsiteX7" fmla="*/ 716330 w 1167505"/>
                  <a:gd name="connsiteY7" fmla="*/ 1560136 h 1898273"/>
                  <a:gd name="connsiteX8" fmla="*/ 398830 w 1167505"/>
                  <a:gd name="connsiteY8" fmla="*/ 1560136 h 1898273"/>
                  <a:gd name="connsiteX9" fmla="*/ 360730 w 1167505"/>
                  <a:gd name="connsiteY9" fmla="*/ 1522036 h 1898273"/>
                  <a:gd name="connsiteX10" fmla="*/ 382955 w 1167505"/>
                  <a:gd name="connsiteY10" fmla="*/ 1474411 h 1898273"/>
                  <a:gd name="connsiteX11" fmla="*/ 797293 w 1167505"/>
                  <a:gd name="connsiteY11" fmla="*/ 1474411 h 1898273"/>
                  <a:gd name="connsiteX12" fmla="*/ 830630 w 1167505"/>
                  <a:gd name="connsiteY12" fmla="*/ 1426786 h 1898273"/>
                  <a:gd name="connsiteX13" fmla="*/ 795705 w 1167505"/>
                  <a:gd name="connsiteY13" fmla="*/ 1383923 h 1898273"/>
                  <a:gd name="connsiteX14" fmla="*/ 386130 w 1167505"/>
                  <a:gd name="connsiteY14" fmla="*/ 1383923 h 1898273"/>
                  <a:gd name="connsiteX15" fmla="*/ 322630 w 1167505"/>
                  <a:gd name="connsiteY15" fmla="*/ 1352173 h 1898273"/>
                  <a:gd name="connsiteX16" fmla="*/ 283340 w 1167505"/>
                  <a:gd name="connsiteY16" fmla="*/ 1300183 h 1898273"/>
                  <a:gd name="connsiteX17" fmla="*/ 271830 w 1167505"/>
                  <a:gd name="connsiteY17" fmla="*/ 1207711 h 1898273"/>
                  <a:gd name="connsiteX18" fmla="*/ 260718 w 1167505"/>
                  <a:gd name="connsiteY18" fmla="*/ 1128336 h 1898273"/>
                  <a:gd name="connsiteX19" fmla="*/ 205155 w 1167505"/>
                  <a:gd name="connsiteY19" fmla="*/ 1037848 h 1898273"/>
                  <a:gd name="connsiteX20" fmla="*/ 130543 w 1167505"/>
                  <a:gd name="connsiteY20" fmla="*/ 955298 h 1898273"/>
                  <a:gd name="connsiteX21" fmla="*/ 55137 w 1167505"/>
                  <a:gd name="connsiteY21" fmla="*/ 845364 h 1898273"/>
                  <a:gd name="connsiteX22" fmla="*/ 13861 w 1167505"/>
                  <a:gd name="connsiteY22" fmla="*/ 735827 h 1898273"/>
                  <a:gd name="connsiteX23" fmla="*/ 368 w 1167505"/>
                  <a:gd name="connsiteY23" fmla="*/ 601286 h 1898273"/>
                  <a:gd name="connsiteX24" fmla="*/ 11480 w 1167505"/>
                  <a:gd name="connsiteY24" fmla="*/ 475873 h 1898273"/>
                  <a:gd name="connsiteX25" fmla="*/ 81330 w 1167505"/>
                  <a:gd name="connsiteY25" fmla="*/ 285373 h 1898273"/>
                  <a:gd name="connsiteX26" fmla="*/ 265480 w 1167505"/>
                  <a:gd name="connsiteY26" fmla="*/ 93285 h 1898273"/>
                  <a:gd name="connsiteX27" fmla="*/ 519480 w 1167505"/>
                  <a:gd name="connsiteY27" fmla="*/ 3990 h 1898273"/>
                  <a:gd name="connsiteX28" fmla="*/ 705218 w 1167505"/>
                  <a:gd name="connsiteY28" fmla="*/ 10736 h 1898273"/>
                  <a:gd name="connsiteX29" fmla="*/ 943343 w 1167505"/>
                  <a:gd name="connsiteY29" fmla="*/ 121861 h 1898273"/>
                  <a:gd name="connsiteX30" fmla="*/ 1100505 w 1167505"/>
                  <a:gd name="connsiteY30" fmla="*/ 310773 h 1898273"/>
                  <a:gd name="connsiteX31" fmla="*/ 1162418 w 1167505"/>
                  <a:gd name="connsiteY31" fmla="*/ 513973 h 1898273"/>
                  <a:gd name="connsiteX32" fmla="*/ 1159243 w 1167505"/>
                  <a:gd name="connsiteY32" fmla="*/ 683836 h 1898273"/>
                  <a:gd name="connsiteX33" fmla="*/ 1090980 w 1167505"/>
                  <a:gd name="connsiteY33" fmla="*/ 890211 h 1898273"/>
                  <a:gd name="connsiteX34" fmla="*/ 957630 w 1167505"/>
                  <a:gd name="connsiteY34" fmla="*/ 1058486 h 1898273"/>
                  <a:gd name="connsiteX35" fmla="*/ 914768 w 1167505"/>
                  <a:gd name="connsiteY35" fmla="*/ 1118811 h 1898273"/>
                  <a:gd name="connsiteX36" fmla="*/ 905243 w 1167505"/>
                  <a:gd name="connsiteY36" fmla="*/ 1175961 h 1898273"/>
                  <a:gd name="connsiteX37" fmla="*/ 905243 w 1167505"/>
                  <a:gd name="connsiteY37" fmla="*/ 1264861 h 1898273"/>
                  <a:gd name="connsiteX38" fmla="*/ 868730 w 1167505"/>
                  <a:gd name="connsiteY38" fmla="*/ 1301373 h 1898273"/>
                  <a:gd name="connsiteX39" fmla="*/ 641718 w 1167505"/>
                  <a:gd name="connsiteY39" fmla="*/ 1301373 h 1898273"/>
                  <a:gd name="connsiteX40" fmla="*/ 590918 w 1167505"/>
                  <a:gd name="connsiteY40" fmla="*/ 1279148 h 1898273"/>
                  <a:gd name="connsiteX41" fmla="*/ 590918 w 1167505"/>
                  <a:gd name="connsiteY41" fmla="*/ 1212473 h 1898273"/>
                  <a:gd name="connsiteX0" fmla="*/ 584568 w 1167505"/>
                  <a:gd name="connsiteY0" fmla="*/ 1898273 h 1898273"/>
                  <a:gd name="connsiteX1" fmla="*/ 581393 w 1167505"/>
                  <a:gd name="connsiteY1" fmla="*/ 1768098 h 1898273"/>
                  <a:gd name="connsiteX2" fmla="*/ 508368 w 1167505"/>
                  <a:gd name="connsiteY2" fmla="*/ 1723648 h 1898273"/>
                  <a:gd name="connsiteX3" fmla="*/ 475030 w 1167505"/>
                  <a:gd name="connsiteY3" fmla="*/ 1683961 h 1898273"/>
                  <a:gd name="connsiteX4" fmla="*/ 505193 w 1167505"/>
                  <a:gd name="connsiteY4" fmla="*/ 1644273 h 1898273"/>
                  <a:gd name="connsiteX5" fmla="*/ 717918 w 1167505"/>
                  <a:gd name="connsiteY5" fmla="*/ 1644273 h 1898273"/>
                  <a:gd name="connsiteX6" fmla="*/ 746493 w 1167505"/>
                  <a:gd name="connsiteY6" fmla="*/ 1596648 h 1898273"/>
                  <a:gd name="connsiteX7" fmla="*/ 716330 w 1167505"/>
                  <a:gd name="connsiteY7" fmla="*/ 1560136 h 1898273"/>
                  <a:gd name="connsiteX8" fmla="*/ 398830 w 1167505"/>
                  <a:gd name="connsiteY8" fmla="*/ 1560136 h 1898273"/>
                  <a:gd name="connsiteX9" fmla="*/ 360730 w 1167505"/>
                  <a:gd name="connsiteY9" fmla="*/ 1522036 h 1898273"/>
                  <a:gd name="connsiteX10" fmla="*/ 382955 w 1167505"/>
                  <a:gd name="connsiteY10" fmla="*/ 1474411 h 1898273"/>
                  <a:gd name="connsiteX11" fmla="*/ 797293 w 1167505"/>
                  <a:gd name="connsiteY11" fmla="*/ 1474411 h 1898273"/>
                  <a:gd name="connsiteX12" fmla="*/ 830630 w 1167505"/>
                  <a:gd name="connsiteY12" fmla="*/ 1426786 h 1898273"/>
                  <a:gd name="connsiteX13" fmla="*/ 795705 w 1167505"/>
                  <a:gd name="connsiteY13" fmla="*/ 1383923 h 1898273"/>
                  <a:gd name="connsiteX14" fmla="*/ 386130 w 1167505"/>
                  <a:gd name="connsiteY14" fmla="*/ 1383923 h 1898273"/>
                  <a:gd name="connsiteX15" fmla="*/ 322630 w 1167505"/>
                  <a:gd name="connsiteY15" fmla="*/ 1352173 h 1898273"/>
                  <a:gd name="connsiteX16" fmla="*/ 283340 w 1167505"/>
                  <a:gd name="connsiteY16" fmla="*/ 1300183 h 1898273"/>
                  <a:gd name="connsiteX17" fmla="*/ 271830 w 1167505"/>
                  <a:gd name="connsiteY17" fmla="*/ 1207711 h 1898273"/>
                  <a:gd name="connsiteX18" fmla="*/ 260718 w 1167505"/>
                  <a:gd name="connsiteY18" fmla="*/ 1128336 h 1898273"/>
                  <a:gd name="connsiteX19" fmla="*/ 205155 w 1167505"/>
                  <a:gd name="connsiteY19" fmla="*/ 1037848 h 1898273"/>
                  <a:gd name="connsiteX20" fmla="*/ 130543 w 1167505"/>
                  <a:gd name="connsiteY20" fmla="*/ 955298 h 1898273"/>
                  <a:gd name="connsiteX21" fmla="*/ 55137 w 1167505"/>
                  <a:gd name="connsiteY21" fmla="*/ 845364 h 1898273"/>
                  <a:gd name="connsiteX22" fmla="*/ 13861 w 1167505"/>
                  <a:gd name="connsiteY22" fmla="*/ 735827 h 1898273"/>
                  <a:gd name="connsiteX23" fmla="*/ 368 w 1167505"/>
                  <a:gd name="connsiteY23" fmla="*/ 601286 h 1898273"/>
                  <a:gd name="connsiteX24" fmla="*/ 11480 w 1167505"/>
                  <a:gd name="connsiteY24" fmla="*/ 475873 h 1898273"/>
                  <a:gd name="connsiteX25" fmla="*/ 81330 w 1167505"/>
                  <a:gd name="connsiteY25" fmla="*/ 285373 h 1898273"/>
                  <a:gd name="connsiteX26" fmla="*/ 265480 w 1167505"/>
                  <a:gd name="connsiteY26" fmla="*/ 93285 h 1898273"/>
                  <a:gd name="connsiteX27" fmla="*/ 519480 w 1167505"/>
                  <a:gd name="connsiteY27" fmla="*/ 3990 h 1898273"/>
                  <a:gd name="connsiteX28" fmla="*/ 705218 w 1167505"/>
                  <a:gd name="connsiteY28" fmla="*/ 10736 h 1898273"/>
                  <a:gd name="connsiteX29" fmla="*/ 943343 w 1167505"/>
                  <a:gd name="connsiteY29" fmla="*/ 121861 h 1898273"/>
                  <a:gd name="connsiteX30" fmla="*/ 1100505 w 1167505"/>
                  <a:gd name="connsiteY30" fmla="*/ 310773 h 1898273"/>
                  <a:gd name="connsiteX31" fmla="*/ 1162418 w 1167505"/>
                  <a:gd name="connsiteY31" fmla="*/ 513973 h 1898273"/>
                  <a:gd name="connsiteX32" fmla="*/ 1159243 w 1167505"/>
                  <a:gd name="connsiteY32" fmla="*/ 683836 h 1898273"/>
                  <a:gd name="connsiteX33" fmla="*/ 1090980 w 1167505"/>
                  <a:gd name="connsiteY33" fmla="*/ 890211 h 1898273"/>
                  <a:gd name="connsiteX34" fmla="*/ 957630 w 1167505"/>
                  <a:gd name="connsiteY34" fmla="*/ 1058486 h 1898273"/>
                  <a:gd name="connsiteX35" fmla="*/ 914768 w 1167505"/>
                  <a:gd name="connsiteY35" fmla="*/ 1118811 h 1898273"/>
                  <a:gd name="connsiteX36" fmla="*/ 905243 w 1167505"/>
                  <a:gd name="connsiteY36" fmla="*/ 1175961 h 1898273"/>
                  <a:gd name="connsiteX37" fmla="*/ 905243 w 1167505"/>
                  <a:gd name="connsiteY37" fmla="*/ 1264861 h 1898273"/>
                  <a:gd name="connsiteX38" fmla="*/ 868730 w 1167505"/>
                  <a:gd name="connsiteY38" fmla="*/ 1301373 h 1898273"/>
                  <a:gd name="connsiteX39" fmla="*/ 641718 w 1167505"/>
                  <a:gd name="connsiteY39" fmla="*/ 1301373 h 1898273"/>
                  <a:gd name="connsiteX40" fmla="*/ 590918 w 1167505"/>
                  <a:gd name="connsiteY40" fmla="*/ 1279148 h 1898273"/>
                  <a:gd name="connsiteX41" fmla="*/ 590918 w 1167505"/>
                  <a:gd name="connsiteY41" fmla="*/ 1212473 h 1898273"/>
                  <a:gd name="connsiteX0" fmla="*/ 584568 w 1167505"/>
                  <a:gd name="connsiteY0" fmla="*/ 1898273 h 1898273"/>
                  <a:gd name="connsiteX1" fmla="*/ 581393 w 1167505"/>
                  <a:gd name="connsiteY1" fmla="*/ 1768098 h 1898273"/>
                  <a:gd name="connsiteX2" fmla="*/ 508368 w 1167505"/>
                  <a:gd name="connsiteY2" fmla="*/ 1723648 h 1898273"/>
                  <a:gd name="connsiteX3" fmla="*/ 475030 w 1167505"/>
                  <a:gd name="connsiteY3" fmla="*/ 1683961 h 1898273"/>
                  <a:gd name="connsiteX4" fmla="*/ 505193 w 1167505"/>
                  <a:gd name="connsiteY4" fmla="*/ 1644273 h 1898273"/>
                  <a:gd name="connsiteX5" fmla="*/ 717918 w 1167505"/>
                  <a:gd name="connsiteY5" fmla="*/ 1644273 h 1898273"/>
                  <a:gd name="connsiteX6" fmla="*/ 746493 w 1167505"/>
                  <a:gd name="connsiteY6" fmla="*/ 1596648 h 1898273"/>
                  <a:gd name="connsiteX7" fmla="*/ 716330 w 1167505"/>
                  <a:gd name="connsiteY7" fmla="*/ 1560136 h 1898273"/>
                  <a:gd name="connsiteX8" fmla="*/ 398830 w 1167505"/>
                  <a:gd name="connsiteY8" fmla="*/ 1560136 h 1898273"/>
                  <a:gd name="connsiteX9" fmla="*/ 360730 w 1167505"/>
                  <a:gd name="connsiteY9" fmla="*/ 1522036 h 1898273"/>
                  <a:gd name="connsiteX10" fmla="*/ 382955 w 1167505"/>
                  <a:gd name="connsiteY10" fmla="*/ 1474411 h 1898273"/>
                  <a:gd name="connsiteX11" fmla="*/ 797293 w 1167505"/>
                  <a:gd name="connsiteY11" fmla="*/ 1474411 h 1898273"/>
                  <a:gd name="connsiteX12" fmla="*/ 830630 w 1167505"/>
                  <a:gd name="connsiteY12" fmla="*/ 1426786 h 1898273"/>
                  <a:gd name="connsiteX13" fmla="*/ 795705 w 1167505"/>
                  <a:gd name="connsiteY13" fmla="*/ 1383923 h 1898273"/>
                  <a:gd name="connsiteX14" fmla="*/ 386130 w 1167505"/>
                  <a:gd name="connsiteY14" fmla="*/ 1383923 h 1898273"/>
                  <a:gd name="connsiteX15" fmla="*/ 322630 w 1167505"/>
                  <a:gd name="connsiteY15" fmla="*/ 1352173 h 1898273"/>
                  <a:gd name="connsiteX16" fmla="*/ 283340 w 1167505"/>
                  <a:gd name="connsiteY16" fmla="*/ 1300183 h 1898273"/>
                  <a:gd name="connsiteX17" fmla="*/ 271830 w 1167505"/>
                  <a:gd name="connsiteY17" fmla="*/ 1207711 h 1898273"/>
                  <a:gd name="connsiteX18" fmla="*/ 260718 w 1167505"/>
                  <a:gd name="connsiteY18" fmla="*/ 1128336 h 1898273"/>
                  <a:gd name="connsiteX19" fmla="*/ 205155 w 1167505"/>
                  <a:gd name="connsiteY19" fmla="*/ 1037848 h 1898273"/>
                  <a:gd name="connsiteX20" fmla="*/ 130543 w 1167505"/>
                  <a:gd name="connsiteY20" fmla="*/ 955298 h 1898273"/>
                  <a:gd name="connsiteX21" fmla="*/ 55137 w 1167505"/>
                  <a:gd name="connsiteY21" fmla="*/ 845364 h 1898273"/>
                  <a:gd name="connsiteX22" fmla="*/ 13861 w 1167505"/>
                  <a:gd name="connsiteY22" fmla="*/ 735827 h 1898273"/>
                  <a:gd name="connsiteX23" fmla="*/ 368 w 1167505"/>
                  <a:gd name="connsiteY23" fmla="*/ 601286 h 1898273"/>
                  <a:gd name="connsiteX24" fmla="*/ 11480 w 1167505"/>
                  <a:gd name="connsiteY24" fmla="*/ 475873 h 1898273"/>
                  <a:gd name="connsiteX25" fmla="*/ 81330 w 1167505"/>
                  <a:gd name="connsiteY25" fmla="*/ 285373 h 1898273"/>
                  <a:gd name="connsiteX26" fmla="*/ 265480 w 1167505"/>
                  <a:gd name="connsiteY26" fmla="*/ 93285 h 1898273"/>
                  <a:gd name="connsiteX27" fmla="*/ 519480 w 1167505"/>
                  <a:gd name="connsiteY27" fmla="*/ 3990 h 1898273"/>
                  <a:gd name="connsiteX28" fmla="*/ 705218 w 1167505"/>
                  <a:gd name="connsiteY28" fmla="*/ 10736 h 1898273"/>
                  <a:gd name="connsiteX29" fmla="*/ 943343 w 1167505"/>
                  <a:gd name="connsiteY29" fmla="*/ 121861 h 1898273"/>
                  <a:gd name="connsiteX30" fmla="*/ 1100505 w 1167505"/>
                  <a:gd name="connsiteY30" fmla="*/ 310773 h 1898273"/>
                  <a:gd name="connsiteX31" fmla="*/ 1162418 w 1167505"/>
                  <a:gd name="connsiteY31" fmla="*/ 513973 h 1898273"/>
                  <a:gd name="connsiteX32" fmla="*/ 1159243 w 1167505"/>
                  <a:gd name="connsiteY32" fmla="*/ 683836 h 1898273"/>
                  <a:gd name="connsiteX33" fmla="*/ 1090980 w 1167505"/>
                  <a:gd name="connsiteY33" fmla="*/ 890211 h 1898273"/>
                  <a:gd name="connsiteX34" fmla="*/ 957630 w 1167505"/>
                  <a:gd name="connsiteY34" fmla="*/ 1058486 h 1898273"/>
                  <a:gd name="connsiteX35" fmla="*/ 914768 w 1167505"/>
                  <a:gd name="connsiteY35" fmla="*/ 1118811 h 1898273"/>
                  <a:gd name="connsiteX36" fmla="*/ 905243 w 1167505"/>
                  <a:gd name="connsiteY36" fmla="*/ 1175961 h 1898273"/>
                  <a:gd name="connsiteX37" fmla="*/ 905243 w 1167505"/>
                  <a:gd name="connsiteY37" fmla="*/ 1264861 h 1898273"/>
                  <a:gd name="connsiteX38" fmla="*/ 868730 w 1167505"/>
                  <a:gd name="connsiteY38" fmla="*/ 1301373 h 1898273"/>
                  <a:gd name="connsiteX39" fmla="*/ 641718 w 1167505"/>
                  <a:gd name="connsiteY39" fmla="*/ 1301373 h 1898273"/>
                  <a:gd name="connsiteX40" fmla="*/ 590918 w 1167505"/>
                  <a:gd name="connsiteY40" fmla="*/ 1279148 h 1898273"/>
                  <a:gd name="connsiteX41" fmla="*/ 590918 w 1167505"/>
                  <a:gd name="connsiteY41" fmla="*/ 1212473 h 1898273"/>
                  <a:gd name="connsiteX0" fmla="*/ 584568 w 1170104"/>
                  <a:gd name="connsiteY0" fmla="*/ 1898273 h 1898273"/>
                  <a:gd name="connsiteX1" fmla="*/ 581393 w 1170104"/>
                  <a:gd name="connsiteY1" fmla="*/ 1768098 h 1898273"/>
                  <a:gd name="connsiteX2" fmla="*/ 508368 w 1170104"/>
                  <a:gd name="connsiteY2" fmla="*/ 1723648 h 1898273"/>
                  <a:gd name="connsiteX3" fmla="*/ 475030 w 1170104"/>
                  <a:gd name="connsiteY3" fmla="*/ 1683961 h 1898273"/>
                  <a:gd name="connsiteX4" fmla="*/ 505193 w 1170104"/>
                  <a:gd name="connsiteY4" fmla="*/ 1644273 h 1898273"/>
                  <a:gd name="connsiteX5" fmla="*/ 717918 w 1170104"/>
                  <a:gd name="connsiteY5" fmla="*/ 1644273 h 1898273"/>
                  <a:gd name="connsiteX6" fmla="*/ 746493 w 1170104"/>
                  <a:gd name="connsiteY6" fmla="*/ 1596648 h 1898273"/>
                  <a:gd name="connsiteX7" fmla="*/ 716330 w 1170104"/>
                  <a:gd name="connsiteY7" fmla="*/ 1560136 h 1898273"/>
                  <a:gd name="connsiteX8" fmla="*/ 398830 w 1170104"/>
                  <a:gd name="connsiteY8" fmla="*/ 1560136 h 1898273"/>
                  <a:gd name="connsiteX9" fmla="*/ 360730 w 1170104"/>
                  <a:gd name="connsiteY9" fmla="*/ 1522036 h 1898273"/>
                  <a:gd name="connsiteX10" fmla="*/ 382955 w 1170104"/>
                  <a:gd name="connsiteY10" fmla="*/ 1474411 h 1898273"/>
                  <a:gd name="connsiteX11" fmla="*/ 797293 w 1170104"/>
                  <a:gd name="connsiteY11" fmla="*/ 1474411 h 1898273"/>
                  <a:gd name="connsiteX12" fmla="*/ 830630 w 1170104"/>
                  <a:gd name="connsiteY12" fmla="*/ 1426786 h 1898273"/>
                  <a:gd name="connsiteX13" fmla="*/ 795705 w 1170104"/>
                  <a:gd name="connsiteY13" fmla="*/ 1383923 h 1898273"/>
                  <a:gd name="connsiteX14" fmla="*/ 386130 w 1170104"/>
                  <a:gd name="connsiteY14" fmla="*/ 1383923 h 1898273"/>
                  <a:gd name="connsiteX15" fmla="*/ 322630 w 1170104"/>
                  <a:gd name="connsiteY15" fmla="*/ 1352173 h 1898273"/>
                  <a:gd name="connsiteX16" fmla="*/ 283340 w 1170104"/>
                  <a:gd name="connsiteY16" fmla="*/ 1300183 h 1898273"/>
                  <a:gd name="connsiteX17" fmla="*/ 271830 w 1170104"/>
                  <a:gd name="connsiteY17" fmla="*/ 1207711 h 1898273"/>
                  <a:gd name="connsiteX18" fmla="*/ 260718 w 1170104"/>
                  <a:gd name="connsiteY18" fmla="*/ 1128336 h 1898273"/>
                  <a:gd name="connsiteX19" fmla="*/ 205155 w 1170104"/>
                  <a:gd name="connsiteY19" fmla="*/ 1037848 h 1898273"/>
                  <a:gd name="connsiteX20" fmla="*/ 130543 w 1170104"/>
                  <a:gd name="connsiteY20" fmla="*/ 955298 h 1898273"/>
                  <a:gd name="connsiteX21" fmla="*/ 55137 w 1170104"/>
                  <a:gd name="connsiteY21" fmla="*/ 845364 h 1898273"/>
                  <a:gd name="connsiteX22" fmla="*/ 13861 w 1170104"/>
                  <a:gd name="connsiteY22" fmla="*/ 735827 h 1898273"/>
                  <a:gd name="connsiteX23" fmla="*/ 368 w 1170104"/>
                  <a:gd name="connsiteY23" fmla="*/ 601286 h 1898273"/>
                  <a:gd name="connsiteX24" fmla="*/ 11480 w 1170104"/>
                  <a:gd name="connsiteY24" fmla="*/ 475873 h 1898273"/>
                  <a:gd name="connsiteX25" fmla="*/ 81330 w 1170104"/>
                  <a:gd name="connsiteY25" fmla="*/ 285373 h 1898273"/>
                  <a:gd name="connsiteX26" fmla="*/ 265480 w 1170104"/>
                  <a:gd name="connsiteY26" fmla="*/ 93285 h 1898273"/>
                  <a:gd name="connsiteX27" fmla="*/ 519480 w 1170104"/>
                  <a:gd name="connsiteY27" fmla="*/ 3990 h 1898273"/>
                  <a:gd name="connsiteX28" fmla="*/ 705218 w 1170104"/>
                  <a:gd name="connsiteY28" fmla="*/ 10736 h 1898273"/>
                  <a:gd name="connsiteX29" fmla="*/ 943343 w 1170104"/>
                  <a:gd name="connsiteY29" fmla="*/ 121861 h 1898273"/>
                  <a:gd name="connsiteX30" fmla="*/ 1100505 w 1170104"/>
                  <a:gd name="connsiteY30" fmla="*/ 310773 h 1898273"/>
                  <a:gd name="connsiteX31" fmla="*/ 1162418 w 1170104"/>
                  <a:gd name="connsiteY31" fmla="*/ 513973 h 1898273"/>
                  <a:gd name="connsiteX32" fmla="*/ 1165196 w 1170104"/>
                  <a:gd name="connsiteY32" fmla="*/ 683836 h 1898273"/>
                  <a:gd name="connsiteX33" fmla="*/ 1090980 w 1170104"/>
                  <a:gd name="connsiteY33" fmla="*/ 890211 h 1898273"/>
                  <a:gd name="connsiteX34" fmla="*/ 957630 w 1170104"/>
                  <a:gd name="connsiteY34" fmla="*/ 1058486 h 1898273"/>
                  <a:gd name="connsiteX35" fmla="*/ 914768 w 1170104"/>
                  <a:gd name="connsiteY35" fmla="*/ 1118811 h 1898273"/>
                  <a:gd name="connsiteX36" fmla="*/ 905243 w 1170104"/>
                  <a:gd name="connsiteY36" fmla="*/ 1175961 h 1898273"/>
                  <a:gd name="connsiteX37" fmla="*/ 905243 w 1170104"/>
                  <a:gd name="connsiteY37" fmla="*/ 1264861 h 1898273"/>
                  <a:gd name="connsiteX38" fmla="*/ 868730 w 1170104"/>
                  <a:gd name="connsiteY38" fmla="*/ 1301373 h 1898273"/>
                  <a:gd name="connsiteX39" fmla="*/ 641718 w 1170104"/>
                  <a:gd name="connsiteY39" fmla="*/ 1301373 h 1898273"/>
                  <a:gd name="connsiteX40" fmla="*/ 590918 w 1170104"/>
                  <a:gd name="connsiteY40" fmla="*/ 1279148 h 1898273"/>
                  <a:gd name="connsiteX41" fmla="*/ 590918 w 1170104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90980 w 1167899"/>
                  <a:gd name="connsiteY33" fmla="*/ 890211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90980 w 1167899"/>
                  <a:gd name="connsiteY33" fmla="*/ 890211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90980 w 1167899"/>
                  <a:gd name="connsiteY33" fmla="*/ 890211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2862 w 1167899"/>
                  <a:gd name="connsiteY37" fmla="*/ 1261289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0033 w 1167899"/>
                  <a:gd name="connsiteY2" fmla="*/ 1728411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0033 w 1167899"/>
                  <a:gd name="connsiteY2" fmla="*/ 1728411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9527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58014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58014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0487 w 1167899"/>
                  <a:gd name="connsiteY34" fmla="*/ 1054914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58014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9166"/>
                  <a:gd name="connsiteY0" fmla="*/ 1898273 h 1898273"/>
                  <a:gd name="connsiteX1" fmla="*/ 581393 w 1169166"/>
                  <a:gd name="connsiteY1" fmla="*/ 1768098 h 1898273"/>
                  <a:gd name="connsiteX2" fmla="*/ 513130 w 1169166"/>
                  <a:gd name="connsiteY2" fmla="*/ 1726030 h 1898273"/>
                  <a:gd name="connsiteX3" fmla="*/ 470268 w 1169166"/>
                  <a:gd name="connsiteY3" fmla="*/ 1680389 h 1898273"/>
                  <a:gd name="connsiteX4" fmla="*/ 505193 w 1169166"/>
                  <a:gd name="connsiteY4" fmla="*/ 1644273 h 1898273"/>
                  <a:gd name="connsiteX5" fmla="*/ 717918 w 1169166"/>
                  <a:gd name="connsiteY5" fmla="*/ 1644273 h 1898273"/>
                  <a:gd name="connsiteX6" fmla="*/ 748874 w 1169166"/>
                  <a:gd name="connsiteY6" fmla="*/ 1603792 h 1898273"/>
                  <a:gd name="connsiteX7" fmla="*/ 716330 w 1169166"/>
                  <a:gd name="connsiteY7" fmla="*/ 1561327 h 1898273"/>
                  <a:gd name="connsiteX8" fmla="*/ 398830 w 1169166"/>
                  <a:gd name="connsiteY8" fmla="*/ 1560136 h 1898273"/>
                  <a:gd name="connsiteX9" fmla="*/ 360730 w 1169166"/>
                  <a:gd name="connsiteY9" fmla="*/ 1522036 h 1898273"/>
                  <a:gd name="connsiteX10" fmla="*/ 387717 w 1169166"/>
                  <a:gd name="connsiteY10" fmla="*/ 1476793 h 1898273"/>
                  <a:gd name="connsiteX11" fmla="*/ 797293 w 1169166"/>
                  <a:gd name="connsiteY11" fmla="*/ 1474411 h 1898273"/>
                  <a:gd name="connsiteX12" fmla="*/ 828249 w 1169166"/>
                  <a:gd name="connsiteY12" fmla="*/ 1425595 h 1898273"/>
                  <a:gd name="connsiteX13" fmla="*/ 795705 w 1169166"/>
                  <a:gd name="connsiteY13" fmla="*/ 1383923 h 1898273"/>
                  <a:gd name="connsiteX14" fmla="*/ 386130 w 1169166"/>
                  <a:gd name="connsiteY14" fmla="*/ 1383923 h 1898273"/>
                  <a:gd name="connsiteX15" fmla="*/ 322630 w 1169166"/>
                  <a:gd name="connsiteY15" fmla="*/ 1352173 h 1898273"/>
                  <a:gd name="connsiteX16" fmla="*/ 283340 w 1169166"/>
                  <a:gd name="connsiteY16" fmla="*/ 1300183 h 1898273"/>
                  <a:gd name="connsiteX17" fmla="*/ 271830 w 1169166"/>
                  <a:gd name="connsiteY17" fmla="*/ 1207711 h 1898273"/>
                  <a:gd name="connsiteX18" fmla="*/ 255955 w 1169166"/>
                  <a:gd name="connsiteY18" fmla="*/ 1128336 h 1898273"/>
                  <a:gd name="connsiteX19" fmla="*/ 205155 w 1169166"/>
                  <a:gd name="connsiteY19" fmla="*/ 1037848 h 1898273"/>
                  <a:gd name="connsiteX20" fmla="*/ 130543 w 1169166"/>
                  <a:gd name="connsiteY20" fmla="*/ 955298 h 1898273"/>
                  <a:gd name="connsiteX21" fmla="*/ 55137 w 1169166"/>
                  <a:gd name="connsiteY21" fmla="*/ 845364 h 1898273"/>
                  <a:gd name="connsiteX22" fmla="*/ 13861 w 1169166"/>
                  <a:gd name="connsiteY22" fmla="*/ 735827 h 1898273"/>
                  <a:gd name="connsiteX23" fmla="*/ 368 w 1169166"/>
                  <a:gd name="connsiteY23" fmla="*/ 601286 h 1898273"/>
                  <a:gd name="connsiteX24" fmla="*/ 11480 w 1169166"/>
                  <a:gd name="connsiteY24" fmla="*/ 475873 h 1898273"/>
                  <a:gd name="connsiteX25" fmla="*/ 81330 w 1169166"/>
                  <a:gd name="connsiteY25" fmla="*/ 285373 h 1898273"/>
                  <a:gd name="connsiteX26" fmla="*/ 265480 w 1169166"/>
                  <a:gd name="connsiteY26" fmla="*/ 93285 h 1898273"/>
                  <a:gd name="connsiteX27" fmla="*/ 519480 w 1169166"/>
                  <a:gd name="connsiteY27" fmla="*/ 3990 h 1898273"/>
                  <a:gd name="connsiteX28" fmla="*/ 705218 w 1169166"/>
                  <a:gd name="connsiteY28" fmla="*/ 10736 h 1898273"/>
                  <a:gd name="connsiteX29" fmla="*/ 943343 w 1169166"/>
                  <a:gd name="connsiteY29" fmla="*/ 121861 h 1898273"/>
                  <a:gd name="connsiteX30" fmla="*/ 1100505 w 1169166"/>
                  <a:gd name="connsiteY30" fmla="*/ 310773 h 1898273"/>
                  <a:gd name="connsiteX31" fmla="*/ 1162418 w 1169166"/>
                  <a:gd name="connsiteY31" fmla="*/ 513973 h 1898273"/>
                  <a:gd name="connsiteX32" fmla="*/ 1165196 w 1169166"/>
                  <a:gd name="connsiteY32" fmla="*/ 683836 h 1898273"/>
                  <a:gd name="connsiteX33" fmla="*/ 1085027 w 1169166"/>
                  <a:gd name="connsiteY33" fmla="*/ 889020 h 1898273"/>
                  <a:gd name="connsiteX34" fmla="*/ 950487 w 1169166"/>
                  <a:gd name="connsiteY34" fmla="*/ 1054914 h 1898273"/>
                  <a:gd name="connsiteX35" fmla="*/ 914768 w 1169166"/>
                  <a:gd name="connsiteY35" fmla="*/ 1118811 h 1898273"/>
                  <a:gd name="connsiteX36" fmla="*/ 900480 w 1169166"/>
                  <a:gd name="connsiteY36" fmla="*/ 1177152 h 1898273"/>
                  <a:gd name="connsiteX37" fmla="*/ 898100 w 1169166"/>
                  <a:gd name="connsiteY37" fmla="*/ 1258908 h 1898273"/>
                  <a:gd name="connsiteX38" fmla="*/ 858014 w 1169166"/>
                  <a:gd name="connsiteY38" fmla="*/ 1301373 h 1898273"/>
                  <a:gd name="connsiteX39" fmla="*/ 641718 w 1169166"/>
                  <a:gd name="connsiteY39" fmla="*/ 1301373 h 1898273"/>
                  <a:gd name="connsiteX40" fmla="*/ 590918 w 1169166"/>
                  <a:gd name="connsiteY40" fmla="*/ 1279148 h 1898273"/>
                  <a:gd name="connsiteX41" fmla="*/ 590918 w 1169166"/>
                  <a:gd name="connsiteY41" fmla="*/ 1212473 h 1898273"/>
                  <a:gd name="connsiteX0" fmla="*/ 584568 w 1169166"/>
                  <a:gd name="connsiteY0" fmla="*/ 1898273 h 1898273"/>
                  <a:gd name="connsiteX1" fmla="*/ 581393 w 1169166"/>
                  <a:gd name="connsiteY1" fmla="*/ 1768098 h 1898273"/>
                  <a:gd name="connsiteX2" fmla="*/ 513130 w 1169166"/>
                  <a:gd name="connsiteY2" fmla="*/ 1726030 h 1898273"/>
                  <a:gd name="connsiteX3" fmla="*/ 470268 w 1169166"/>
                  <a:gd name="connsiteY3" fmla="*/ 1680389 h 1898273"/>
                  <a:gd name="connsiteX4" fmla="*/ 505193 w 1169166"/>
                  <a:gd name="connsiteY4" fmla="*/ 1644273 h 1898273"/>
                  <a:gd name="connsiteX5" fmla="*/ 717918 w 1169166"/>
                  <a:gd name="connsiteY5" fmla="*/ 1644273 h 1898273"/>
                  <a:gd name="connsiteX6" fmla="*/ 748874 w 1169166"/>
                  <a:gd name="connsiteY6" fmla="*/ 1603792 h 1898273"/>
                  <a:gd name="connsiteX7" fmla="*/ 716330 w 1169166"/>
                  <a:gd name="connsiteY7" fmla="*/ 1561327 h 1898273"/>
                  <a:gd name="connsiteX8" fmla="*/ 398830 w 1169166"/>
                  <a:gd name="connsiteY8" fmla="*/ 1560136 h 1898273"/>
                  <a:gd name="connsiteX9" fmla="*/ 360730 w 1169166"/>
                  <a:gd name="connsiteY9" fmla="*/ 1522036 h 1898273"/>
                  <a:gd name="connsiteX10" fmla="*/ 387717 w 1169166"/>
                  <a:gd name="connsiteY10" fmla="*/ 1476793 h 1898273"/>
                  <a:gd name="connsiteX11" fmla="*/ 797293 w 1169166"/>
                  <a:gd name="connsiteY11" fmla="*/ 1474411 h 1898273"/>
                  <a:gd name="connsiteX12" fmla="*/ 828249 w 1169166"/>
                  <a:gd name="connsiteY12" fmla="*/ 1425595 h 1898273"/>
                  <a:gd name="connsiteX13" fmla="*/ 795705 w 1169166"/>
                  <a:gd name="connsiteY13" fmla="*/ 1383923 h 1898273"/>
                  <a:gd name="connsiteX14" fmla="*/ 386130 w 1169166"/>
                  <a:gd name="connsiteY14" fmla="*/ 1383923 h 1898273"/>
                  <a:gd name="connsiteX15" fmla="*/ 322630 w 1169166"/>
                  <a:gd name="connsiteY15" fmla="*/ 1352173 h 1898273"/>
                  <a:gd name="connsiteX16" fmla="*/ 283340 w 1169166"/>
                  <a:gd name="connsiteY16" fmla="*/ 1300183 h 1898273"/>
                  <a:gd name="connsiteX17" fmla="*/ 271830 w 1169166"/>
                  <a:gd name="connsiteY17" fmla="*/ 1207711 h 1898273"/>
                  <a:gd name="connsiteX18" fmla="*/ 255955 w 1169166"/>
                  <a:gd name="connsiteY18" fmla="*/ 1128336 h 1898273"/>
                  <a:gd name="connsiteX19" fmla="*/ 205155 w 1169166"/>
                  <a:gd name="connsiteY19" fmla="*/ 1037848 h 1898273"/>
                  <a:gd name="connsiteX20" fmla="*/ 130543 w 1169166"/>
                  <a:gd name="connsiteY20" fmla="*/ 955298 h 1898273"/>
                  <a:gd name="connsiteX21" fmla="*/ 55137 w 1169166"/>
                  <a:gd name="connsiteY21" fmla="*/ 845364 h 1898273"/>
                  <a:gd name="connsiteX22" fmla="*/ 13861 w 1169166"/>
                  <a:gd name="connsiteY22" fmla="*/ 735827 h 1898273"/>
                  <a:gd name="connsiteX23" fmla="*/ 368 w 1169166"/>
                  <a:gd name="connsiteY23" fmla="*/ 601286 h 1898273"/>
                  <a:gd name="connsiteX24" fmla="*/ 11480 w 1169166"/>
                  <a:gd name="connsiteY24" fmla="*/ 475873 h 1898273"/>
                  <a:gd name="connsiteX25" fmla="*/ 81330 w 1169166"/>
                  <a:gd name="connsiteY25" fmla="*/ 285373 h 1898273"/>
                  <a:gd name="connsiteX26" fmla="*/ 265480 w 1169166"/>
                  <a:gd name="connsiteY26" fmla="*/ 93285 h 1898273"/>
                  <a:gd name="connsiteX27" fmla="*/ 519480 w 1169166"/>
                  <a:gd name="connsiteY27" fmla="*/ 3990 h 1898273"/>
                  <a:gd name="connsiteX28" fmla="*/ 705218 w 1169166"/>
                  <a:gd name="connsiteY28" fmla="*/ 10736 h 1898273"/>
                  <a:gd name="connsiteX29" fmla="*/ 943343 w 1169166"/>
                  <a:gd name="connsiteY29" fmla="*/ 121861 h 1898273"/>
                  <a:gd name="connsiteX30" fmla="*/ 1100505 w 1169166"/>
                  <a:gd name="connsiteY30" fmla="*/ 310773 h 1898273"/>
                  <a:gd name="connsiteX31" fmla="*/ 1162418 w 1169166"/>
                  <a:gd name="connsiteY31" fmla="*/ 513973 h 1898273"/>
                  <a:gd name="connsiteX32" fmla="*/ 1165196 w 1169166"/>
                  <a:gd name="connsiteY32" fmla="*/ 683836 h 1898273"/>
                  <a:gd name="connsiteX33" fmla="*/ 1085027 w 1169166"/>
                  <a:gd name="connsiteY33" fmla="*/ 889020 h 1898273"/>
                  <a:gd name="connsiteX34" fmla="*/ 950487 w 1169166"/>
                  <a:gd name="connsiteY34" fmla="*/ 1054914 h 1898273"/>
                  <a:gd name="connsiteX35" fmla="*/ 914768 w 1169166"/>
                  <a:gd name="connsiteY35" fmla="*/ 1118811 h 1898273"/>
                  <a:gd name="connsiteX36" fmla="*/ 900480 w 1169166"/>
                  <a:gd name="connsiteY36" fmla="*/ 1177152 h 1898273"/>
                  <a:gd name="connsiteX37" fmla="*/ 898100 w 1169166"/>
                  <a:gd name="connsiteY37" fmla="*/ 1258908 h 1898273"/>
                  <a:gd name="connsiteX38" fmla="*/ 858014 w 1169166"/>
                  <a:gd name="connsiteY38" fmla="*/ 1301373 h 1898273"/>
                  <a:gd name="connsiteX39" fmla="*/ 641718 w 1169166"/>
                  <a:gd name="connsiteY39" fmla="*/ 1301373 h 1898273"/>
                  <a:gd name="connsiteX40" fmla="*/ 590918 w 1169166"/>
                  <a:gd name="connsiteY40" fmla="*/ 1279148 h 1898273"/>
                  <a:gd name="connsiteX41" fmla="*/ 590918 w 1169166"/>
                  <a:gd name="connsiteY41" fmla="*/ 1212473 h 1898273"/>
                  <a:gd name="connsiteX0" fmla="*/ 584568 w 1170467"/>
                  <a:gd name="connsiteY0" fmla="*/ 1898273 h 1898273"/>
                  <a:gd name="connsiteX1" fmla="*/ 581393 w 1170467"/>
                  <a:gd name="connsiteY1" fmla="*/ 1768098 h 1898273"/>
                  <a:gd name="connsiteX2" fmla="*/ 513130 w 1170467"/>
                  <a:gd name="connsiteY2" fmla="*/ 1726030 h 1898273"/>
                  <a:gd name="connsiteX3" fmla="*/ 470268 w 1170467"/>
                  <a:gd name="connsiteY3" fmla="*/ 1680389 h 1898273"/>
                  <a:gd name="connsiteX4" fmla="*/ 505193 w 1170467"/>
                  <a:gd name="connsiteY4" fmla="*/ 1644273 h 1898273"/>
                  <a:gd name="connsiteX5" fmla="*/ 717918 w 1170467"/>
                  <a:gd name="connsiteY5" fmla="*/ 1644273 h 1898273"/>
                  <a:gd name="connsiteX6" fmla="*/ 748874 w 1170467"/>
                  <a:gd name="connsiteY6" fmla="*/ 1603792 h 1898273"/>
                  <a:gd name="connsiteX7" fmla="*/ 716330 w 1170467"/>
                  <a:gd name="connsiteY7" fmla="*/ 1561327 h 1898273"/>
                  <a:gd name="connsiteX8" fmla="*/ 398830 w 1170467"/>
                  <a:gd name="connsiteY8" fmla="*/ 1560136 h 1898273"/>
                  <a:gd name="connsiteX9" fmla="*/ 360730 w 1170467"/>
                  <a:gd name="connsiteY9" fmla="*/ 1522036 h 1898273"/>
                  <a:gd name="connsiteX10" fmla="*/ 387717 w 1170467"/>
                  <a:gd name="connsiteY10" fmla="*/ 1476793 h 1898273"/>
                  <a:gd name="connsiteX11" fmla="*/ 797293 w 1170467"/>
                  <a:gd name="connsiteY11" fmla="*/ 1474411 h 1898273"/>
                  <a:gd name="connsiteX12" fmla="*/ 828249 w 1170467"/>
                  <a:gd name="connsiteY12" fmla="*/ 1425595 h 1898273"/>
                  <a:gd name="connsiteX13" fmla="*/ 795705 w 1170467"/>
                  <a:gd name="connsiteY13" fmla="*/ 1383923 h 1898273"/>
                  <a:gd name="connsiteX14" fmla="*/ 386130 w 1170467"/>
                  <a:gd name="connsiteY14" fmla="*/ 1383923 h 1898273"/>
                  <a:gd name="connsiteX15" fmla="*/ 322630 w 1170467"/>
                  <a:gd name="connsiteY15" fmla="*/ 1352173 h 1898273"/>
                  <a:gd name="connsiteX16" fmla="*/ 283340 w 1170467"/>
                  <a:gd name="connsiteY16" fmla="*/ 1300183 h 1898273"/>
                  <a:gd name="connsiteX17" fmla="*/ 271830 w 1170467"/>
                  <a:gd name="connsiteY17" fmla="*/ 1207711 h 1898273"/>
                  <a:gd name="connsiteX18" fmla="*/ 255955 w 1170467"/>
                  <a:gd name="connsiteY18" fmla="*/ 1128336 h 1898273"/>
                  <a:gd name="connsiteX19" fmla="*/ 205155 w 1170467"/>
                  <a:gd name="connsiteY19" fmla="*/ 1037848 h 1898273"/>
                  <a:gd name="connsiteX20" fmla="*/ 130543 w 1170467"/>
                  <a:gd name="connsiteY20" fmla="*/ 955298 h 1898273"/>
                  <a:gd name="connsiteX21" fmla="*/ 55137 w 1170467"/>
                  <a:gd name="connsiteY21" fmla="*/ 845364 h 1898273"/>
                  <a:gd name="connsiteX22" fmla="*/ 13861 w 1170467"/>
                  <a:gd name="connsiteY22" fmla="*/ 735827 h 1898273"/>
                  <a:gd name="connsiteX23" fmla="*/ 368 w 1170467"/>
                  <a:gd name="connsiteY23" fmla="*/ 601286 h 1898273"/>
                  <a:gd name="connsiteX24" fmla="*/ 11480 w 1170467"/>
                  <a:gd name="connsiteY24" fmla="*/ 475873 h 1898273"/>
                  <a:gd name="connsiteX25" fmla="*/ 81330 w 1170467"/>
                  <a:gd name="connsiteY25" fmla="*/ 285373 h 1898273"/>
                  <a:gd name="connsiteX26" fmla="*/ 265480 w 1170467"/>
                  <a:gd name="connsiteY26" fmla="*/ 93285 h 1898273"/>
                  <a:gd name="connsiteX27" fmla="*/ 519480 w 1170467"/>
                  <a:gd name="connsiteY27" fmla="*/ 3990 h 1898273"/>
                  <a:gd name="connsiteX28" fmla="*/ 705218 w 1170467"/>
                  <a:gd name="connsiteY28" fmla="*/ 10736 h 1898273"/>
                  <a:gd name="connsiteX29" fmla="*/ 943343 w 1170467"/>
                  <a:gd name="connsiteY29" fmla="*/ 121861 h 1898273"/>
                  <a:gd name="connsiteX30" fmla="*/ 1100505 w 1170467"/>
                  <a:gd name="connsiteY30" fmla="*/ 310773 h 1898273"/>
                  <a:gd name="connsiteX31" fmla="*/ 1164799 w 1170467"/>
                  <a:gd name="connsiteY31" fmla="*/ 512783 h 1898273"/>
                  <a:gd name="connsiteX32" fmla="*/ 1165196 w 1170467"/>
                  <a:gd name="connsiteY32" fmla="*/ 683836 h 1898273"/>
                  <a:gd name="connsiteX33" fmla="*/ 1085027 w 1170467"/>
                  <a:gd name="connsiteY33" fmla="*/ 889020 h 1898273"/>
                  <a:gd name="connsiteX34" fmla="*/ 950487 w 1170467"/>
                  <a:gd name="connsiteY34" fmla="*/ 1054914 h 1898273"/>
                  <a:gd name="connsiteX35" fmla="*/ 914768 w 1170467"/>
                  <a:gd name="connsiteY35" fmla="*/ 1118811 h 1898273"/>
                  <a:gd name="connsiteX36" fmla="*/ 900480 w 1170467"/>
                  <a:gd name="connsiteY36" fmla="*/ 1177152 h 1898273"/>
                  <a:gd name="connsiteX37" fmla="*/ 898100 w 1170467"/>
                  <a:gd name="connsiteY37" fmla="*/ 1258908 h 1898273"/>
                  <a:gd name="connsiteX38" fmla="*/ 858014 w 1170467"/>
                  <a:gd name="connsiteY38" fmla="*/ 1301373 h 1898273"/>
                  <a:gd name="connsiteX39" fmla="*/ 641718 w 1170467"/>
                  <a:gd name="connsiteY39" fmla="*/ 1301373 h 1898273"/>
                  <a:gd name="connsiteX40" fmla="*/ 590918 w 1170467"/>
                  <a:gd name="connsiteY40" fmla="*/ 1279148 h 1898273"/>
                  <a:gd name="connsiteX41" fmla="*/ 590918 w 1170467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88142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170892" h="1898273">
                    <a:moveTo>
                      <a:pt x="584993" y="1898273"/>
                    </a:moveTo>
                    <a:cubicBezTo>
                      <a:pt x="583935" y="1854881"/>
                      <a:pt x="582876" y="1811490"/>
                      <a:pt x="581818" y="1768098"/>
                    </a:cubicBezTo>
                    <a:cubicBezTo>
                      <a:pt x="573352" y="1746931"/>
                      <a:pt x="562503" y="1729338"/>
                      <a:pt x="513555" y="1726030"/>
                    </a:cubicBezTo>
                    <a:cubicBezTo>
                      <a:pt x="487759" y="1721135"/>
                      <a:pt x="471487" y="1707906"/>
                      <a:pt x="470693" y="1680389"/>
                    </a:cubicBezTo>
                    <a:cubicBezTo>
                      <a:pt x="474793" y="1662398"/>
                      <a:pt x="478895" y="1650358"/>
                      <a:pt x="505618" y="1644273"/>
                    </a:cubicBezTo>
                    <a:lnTo>
                      <a:pt x="718343" y="1644273"/>
                    </a:lnTo>
                    <a:cubicBezTo>
                      <a:pt x="736202" y="1631970"/>
                      <a:pt x="744536" y="1626810"/>
                      <a:pt x="749299" y="1603792"/>
                    </a:cubicBezTo>
                    <a:cubicBezTo>
                      <a:pt x="745198" y="1586858"/>
                      <a:pt x="741097" y="1572308"/>
                      <a:pt x="716755" y="1561327"/>
                    </a:cubicBezTo>
                    <a:lnTo>
                      <a:pt x="399255" y="1560136"/>
                    </a:lnTo>
                    <a:cubicBezTo>
                      <a:pt x="375839" y="1555770"/>
                      <a:pt x="367902" y="1546642"/>
                      <a:pt x="361155" y="1522036"/>
                    </a:cubicBezTo>
                    <a:cubicBezTo>
                      <a:pt x="362610" y="1506161"/>
                      <a:pt x="365255" y="1491478"/>
                      <a:pt x="394095" y="1476793"/>
                    </a:cubicBezTo>
                    <a:lnTo>
                      <a:pt x="797718" y="1474411"/>
                    </a:lnTo>
                    <a:cubicBezTo>
                      <a:pt x="819546" y="1463299"/>
                      <a:pt x="827088" y="1449805"/>
                      <a:pt x="828674" y="1425595"/>
                    </a:cubicBezTo>
                    <a:cubicBezTo>
                      <a:pt x="824177" y="1402972"/>
                      <a:pt x="825632" y="1399402"/>
                      <a:pt x="796130" y="1383923"/>
                    </a:cubicBezTo>
                    <a:lnTo>
                      <a:pt x="386555" y="1383923"/>
                    </a:lnTo>
                    <a:cubicBezTo>
                      <a:pt x="360625" y="1374530"/>
                      <a:pt x="343031" y="1368709"/>
                      <a:pt x="323055" y="1352173"/>
                    </a:cubicBezTo>
                    <a:cubicBezTo>
                      <a:pt x="314721" y="1341193"/>
                      <a:pt x="295670" y="1327832"/>
                      <a:pt x="283765" y="1300183"/>
                    </a:cubicBezTo>
                    <a:cubicBezTo>
                      <a:pt x="275166" y="1267772"/>
                      <a:pt x="274901" y="1238932"/>
                      <a:pt x="272255" y="1207711"/>
                    </a:cubicBezTo>
                    <a:lnTo>
                      <a:pt x="256380" y="1128336"/>
                    </a:lnTo>
                    <a:cubicBezTo>
                      <a:pt x="240241" y="1093410"/>
                      <a:pt x="227673" y="1070392"/>
                      <a:pt x="205580" y="1037848"/>
                    </a:cubicBezTo>
                    <a:cubicBezTo>
                      <a:pt x="184281" y="1006760"/>
                      <a:pt x="162982" y="981625"/>
                      <a:pt x="130968" y="955298"/>
                    </a:cubicBezTo>
                    <a:cubicBezTo>
                      <a:pt x="101071" y="924606"/>
                      <a:pt x="77125" y="886771"/>
                      <a:pt x="55562" y="845364"/>
                    </a:cubicBezTo>
                    <a:cubicBezTo>
                      <a:pt x="23150" y="783054"/>
                      <a:pt x="26457" y="770752"/>
                      <a:pt x="14286" y="735827"/>
                    </a:cubicBezTo>
                    <a:cubicBezTo>
                      <a:pt x="6217" y="686615"/>
                      <a:pt x="1322" y="648911"/>
                      <a:pt x="793" y="601286"/>
                    </a:cubicBezTo>
                    <a:cubicBezTo>
                      <a:pt x="-265" y="557894"/>
                      <a:pt x="-2118" y="514502"/>
                      <a:pt x="9524" y="475873"/>
                    </a:cubicBezTo>
                    <a:cubicBezTo>
                      <a:pt x="20107" y="409198"/>
                      <a:pt x="44184" y="347286"/>
                      <a:pt x="81755" y="285373"/>
                    </a:cubicBezTo>
                    <a:cubicBezTo>
                      <a:pt x="130438" y="213406"/>
                      <a:pt x="185472" y="143027"/>
                      <a:pt x="265905" y="93285"/>
                    </a:cubicBezTo>
                    <a:cubicBezTo>
                      <a:pt x="333638" y="48306"/>
                      <a:pt x="420819" y="15632"/>
                      <a:pt x="519905" y="3990"/>
                    </a:cubicBezTo>
                    <a:cubicBezTo>
                      <a:pt x="584200" y="-2095"/>
                      <a:pt x="644921" y="-2228"/>
                      <a:pt x="705643" y="10736"/>
                    </a:cubicBezTo>
                    <a:cubicBezTo>
                      <a:pt x="805259" y="37062"/>
                      <a:pt x="872727" y="72912"/>
                      <a:pt x="943768" y="121861"/>
                    </a:cubicBezTo>
                    <a:cubicBezTo>
                      <a:pt x="1009252" y="178879"/>
                      <a:pt x="1058067" y="229942"/>
                      <a:pt x="1100930" y="310773"/>
                    </a:cubicBezTo>
                    <a:cubicBezTo>
                      <a:pt x="1137046" y="378506"/>
                      <a:pt x="1160063" y="439096"/>
                      <a:pt x="1165224" y="512783"/>
                    </a:cubicBezTo>
                    <a:cubicBezTo>
                      <a:pt x="1174881" y="568213"/>
                      <a:pt x="1170250" y="629597"/>
                      <a:pt x="1165621" y="683836"/>
                    </a:cubicBezTo>
                    <a:cubicBezTo>
                      <a:pt x="1151202" y="755009"/>
                      <a:pt x="1129637" y="822609"/>
                      <a:pt x="1085452" y="889020"/>
                    </a:cubicBezTo>
                    <a:cubicBezTo>
                      <a:pt x="1047749" y="946699"/>
                      <a:pt x="994569" y="992472"/>
                      <a:pt x="950912" y="1054914"/>
                    </a:cubicBezTo>
                    <a:cubicBezTo>
                      <a:pt x="937021" y="1078197"/>
                      <a:pt x="923130" y="1091956"/>
                      <a:pt x="915193" y="1118811"/>
                    </a:cubicBezTo>
                    <a:cubicBezTo>
                      <a:pt x="906065" y="1147386"/>
                      <a:pt x="904080" y="1158102"/>
                      <a:pt x="900905" y="1177152"/>
                    </a:cubicBezTo>
                    <a:cubicBezTo>
                      <a:pt x="898920" y="1217501"/>
                      <a:pt x="899319" y="1230465"/>
                      <a:pt x="898525" y="1258908"/>
                    </a:cubicBezTo>
                    <a:cubicBezTo>
                      <a:pt x="898260" y="1276635"/>
                      <a:pt x="886089" y="1291981"/>
                      <a:pt x="858439" y="1301373"/>
                    </a:cubicBezTo>
                    <a:lnTo>
                      <a:pt x="642143" y="1301373"/>
                    </a:lnTo>
                    <a:cubicBezTo>
                      <a:pt x="604968" y="1298728"/>
                      <a:pt x="601133" y="1297271"/>
                      <a:pt x="591343" y="1279148"/>
                    </a:cubicBezTo>
                    <a:lnTo>
                      <a:pt x="591343" y="1212473"/>
                    </a:lnTo>
                  </a:path>
                </a:pathLst>
              </a:custGeom>
              <a:noFill/>
              <a:ln w="25400" algn="ctr">
                <a:solidFill>
                  <a:schemeClr val="accent1"/>
                </a:solidFill>
                <a:miter lim="800000"/>
                <a:headEnd type="none" w="sm" len="sm"/>
                <a:tailEnd type="oval" w="sm" len="sm"/>
              </a:ln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2" name="Round Same Side Corner Rectangle 37">
                <a:extLst>
                  <a:ext uri="{FF2B5EF4-FFF2-40B4-BE49-F238E27FC236}">
                    <a16:creationId xmlns:a16="http://schemas.microsoft.com/office/drawing/2014/main" id="{6012E996-620B-2031-7C57-8224F9D68597}"/>
                  </a:ext>
                </a:extLst>
              </p:cNvPr>
              <p:cNvSpPr/>
              <p:nvPr/>
            </p:nvSpPr>
            <p:spPr bwMode="gray">
              <a:xfrm>
                <a:off x="1289779" y="3495046"/>
                <a:ext cx="116350" cy="108039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3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3" name="Round Same Side Corner Rectangle 38">
                <a:extLst>
                  <a:ext uri="{FF2B5EF4-FFF2-40B4-BE49-F238E27FC236}">
                    <a16:creationId xmlns:a16="http://schemas.microsoft.com/office/drawing/2014/main" id="{95845193-22FD-D85A-BB65-725C92E0F5C9}"/>
                  </a:ext>
                </a:extLst>
              </p:cNvPr>
              <p:cNvSpPr/>
              <p:nvPr/>
            </p:nvSpPr>
            <p:spPr bwMode="gray">
              <a:xfrm flipV="1">
                <a:off x="1312850" y="3603085"/>
                <a:ext cx="21108" cy="45231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3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4" name="Round Same Side Corner Rectangle 39">
                <a:extLst>
                  <a:ext uri="{FF2B5EF4-FFF2-40B4-BE49-F238E27FC236}">
                    <a16:creationId xmlns:a16="http://schemas.microsoft.com/office/drawing/2014/main" id="{F7EAC069-189F-B570-41CD-348060387004}"/>
                  </a:ext>
                </a:extLst>
              </p:cNvPr>
              <p:cNvSpPr/>
              <p:nvPr/>
            </p:nvSpPr>
            <p:spPr bwMode="gray">
              <a:xfrm flipV="1">
                <a:off x="1362714" y="3603085"/>
                <a:ext cx="21108" cy="45231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3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91CB9F45-C3E3-BBDC-027C-9E89988C842B}"/>
                  </a:ext>
                </a:extLst>
              </p:cNvPr>
              <p:cNvSpPr/>
              <p:nvPr/>
            </p:nvSpPr>
            <p:spPr bwMode="gray">
              <a:xfrm>
                <a:off x="1329954" y="3531065"/>
                <a:ext cx="36000" cy="36000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37020BF9-8B8E-7FD2-F957-E9AEF6E7CEB5}"/>
                </a:ext>
              </a:extLst>
            </p:cNvPr>
            <p:cNvGrpSpPr/>
            <p:nvPr/>
          </p:nvGrpSpPr>
          <p:grpSpPr>
            <a:xfrm>
              <a:off x="1934833" y="1475202"/>
              <a:ext cx="850454" cy="1406308"/>
              <a:chOff x="757805" y="1635343"/>
              <a:chExt cx="1185062" cy="2012973"/>
            </a:xfrm>
          </p:grpSpPr>
          <p:sp>
            <p:nvSpPr>
              <p:cNvPr id="12" name="Freeform 36">
                <a:extLst>
                  <a:ext uri="{FF2B5EF4-FFF2-40B4-BE49-F238E27FC236}">
                    <a16:creationId xmlns:a16="http://schemas.microsoft.com/office/drawing/2014/main" id="{B839F9A2-61D3-C19B-E251-15157F175DCD}"/>
                  </a:ext>
                </a:extLst>
              </p:cNvPr>
              <p:cNvSpPr/>
              <p:nvPr/>
            </p:nvSpPr>
            <p:spPr bwMode="gray">
              <a:xfrm>
                <a:off x="757805" y="1635343"/>
                <a:ext cx="1185062" cy="1921248"/>
              </a:xfrm>
              <a:custGeom>
                <a:avLst/>
                <a:gdLst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73050 w 1162050"/>
                  <a:gd name="connsiteY26" fmla="*/ 87312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73050 w 1162050"/>
                  <a:gd name="connsiteY26" fmla="*/ 87312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73050 w 1162050"/>
                  <a:gd name="connsiteY26" fmla="*/ 87312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2938 h 1892938"/>
                  <a:gd name="connsiteX1" fmla="*/ 581393 w 1162418"/>
                  <a:gd name="connsiteY1" fmla="*/ 1762763 h 1892938"/>
                  <a:gd name="connsiteX2" fmla="*/ 508368 w 1162418"/>
                  <a:gd name="connsiteY2" fmla="*/ 1718313 h 1892938"/>
                  <a:gd name="connsiteX3" fmla="*/ 475030 w 1162418"/>
                  <a:gd name="connsiteY3" fmla="*/ 1678626 h 1892938"/>
                  <a:gd name="connsiteX4" fmla="*/ 505193 w 1162418"/>
                  <a:gd name="connsiteY4" fmla="*/ 1638938 h 1892938"/>
                  <a:gd name="connsiteX5" fmla="*/ 717918 w 1162418"/>
                  <a:gd name="connsiteY5" fmla="*/ 1638938 h 1892938"/>
                  <a:gd name="connsiteX6" fmla="*/ 746493 w 1162418"/>
                  <a:gd name="connsiteY6" fmla="*/ 1591313 h 1892938"/>
                  <a:gd name="connsiteX7" fmla="*/ 716330 w 1162418"/>
                  <a:gd name="connsiteY7" fmla="*/ 1554801 h 1892938"/>
                  <a:gd name="connsiteX8" fmla="*/ 398830 w 1162418"/>
                  <a:gd name="connsiteY8" fmla="*/ 1554801 h 1892938"/>
                  <a:gd name="connsiteX9" fmla="*/ 360730 w 1162418"/>
                  <a:gd name="connsiteY9" fmla="*/ 1516701 h 1892938"/>
                  <a:gd name="connsiteX10" fmla="*/ 382955 w 1162418"/>
                  <a:gd name="connsiteY10" fmla="*/ 1469076 h 1892938"/>
                  <a:gd name="connsiteX11" fmla="*/ 797293 w 1162418"/>
                  <a:gd name="connsiteY11" fmla="*/ 1469076 h 1892938"/>
                  <a:gd name="connsiteX12" fmla="*/ 830630 w 1162418"/>
                  <a:gd name="connsiteY12" fmla="*/ 1421451 h 1892938"/>
                  <a:gd name="connsiteX13" fmla="*/ 795705 w 1162418"/>
                  <a:gd name="connsiteY13" fmla="*/ 1378588 h 1892938"/>
                  <a:gd name="connsiteX14" fmla="*/ 386130 w 1162418"/>
                  <a:gd name="connsiteY14" fmla="*/ 1378588 h 1892938"/>
                  <a:gd name="connsiteX15" fmla="*/ 322630 w 1162418"/>
                  <a:gd name="connsiteY15" fmla="*/ 1346838 h 1892938"/>
                  <a:gd name="connsiteX16" fmla="*/ 283340 w 1162418"/>
                  <a:gd name="connsiteY16" fmla="*/ 1294848 h 1892938"/>
                  <a:gd name="connsiteX17" fmla="*/ 271830 w 1162418"/>
                  <a:gd name="connsiteY17" fmla="*/ 1202376 h 1892938"/>
                  <a:gd name="connsiteX18" fmla="*/ 260718 w 1162418"/>
                  <a:gd name="connsiteY18" fmla="*/ 1123001 h 1892938"/>
                  <a:gd name="connsiteX19" fmla="*/ 205155 w 1162418"/>
                  <a:gd name="connsiteY19" fmla="*/ 1032513 h 1892938"/>
                  <a:gd name="connsiteX20" fmla="*/ 130543 w 1162418"/>
                  <a:gd name="connsiteY20" fmla="*/ 949963 h 1892938"/>
                  <a:gd name="connsiteX21" fmla="*/ 55137 w 1162418"/>
                  <a:gd name="connsiteY21" fmla="*/ 840029 h 1892938"/>
                  <a:gd name="connsiteX22" fmla="*/ 13861 w 1162418"/>
                  <a:gd name="connsiteY22" fmla="*/ 730492 h 1892938"/>
                  <a:gd name="connsiteX23" fmla="*/ 368 w 1162418"/>
                  <a:gd name="connsiteY23" fmla="*/ 595951 h 1892938"/>
                  <a:gd name="connsiteX24" fmla="*/ 11480 w 1162418"/>
                  <a:gd name="connsiteY24" fmla="*/ 470538 h 1892938"/>
                  <a:gd name="connsiteX25" fmla="*/ 81330 w 1162418"/>
                  <a:gd name="connsiteY25" fmla="*/ 280038 h 1892938"/>
                  <a:gd name="connsiteX26" fmla="*/ 265480 w 1162418"/>
                  <a:gd name="connsiteY26" fmla="*/ 87950 h 1892938"/>
                  <a:gd name="connsiteX27" fmla="*/ 519480 w 1162418"/>
                  <a:gd name="connsiteY27" fmla="*/ 2226 h 1892938"/>
                  <a:gd name="connsiteX28" fmla="*/ 705218 w 1162418"/>
                  <a:gd name="connsiteY28" fmla="*/ 5401 h 1892938"/>
                  <a:gd name="connsiteX29" fmla="*/ 943343 w 1162418"/>
                  <a:gd name="connsiteY29" fmla="*/ 116526 h 1892938"/>
                  <a:gd name="connsiteX30" fmla="*/ 1100505 w 1162418"/>
                  <a:gd name="connsiteY30" fmla="*/ 305438 h 1892938"/>
                  <a:gd name="connsiteX31" fmla="*/ 1162418 w 1162418"/>
                  <a:gd name="connsiteY31" fmla="*/ 508638 h 1892938"/>
                  <a:gd name="connsiteX32" fmla="*/ 1159243 w 1162418"/>
                  <a:gd name="connsiteY32" fmla="*/ 678501 h 1892938"/>
                  <a:gd name="connsiteX33" fmla="*/ 1090980 w 1162418"/>
                  <a:gd name="connsiteY33" fmla="*/ 884876 h 1892938"/>
                  <a:gd name="connsiteX34" fmla="*/ 957630 w 1162418"/>
                  <a:gd name="connsiteY34" fmla="*/ 1053151 h 1892938"/>
                  <a:gd name="connsiteX35" fmla="*/ 914768 w 1162418"/>
                  <a:gd name="connsiteY35" fmla="*/ 1113476 h 1892938"/>
                  <a:gd name="connsiteX36" fmla="*/ 905243 w 1162418"/>
                  <a:gd name="connsiteY36" fmla="*/ 1170626 h 1892938"/>
                  <a:gd name="connsiteX37" fmla="*/ 905243 w 1162418"/>
                  <a:gd name="connsiteY37" fmla="*/ 1259526 h 1892938"/>
                  <a:gd name="connsiteX38" fmla="*/ 868730 w 1162418"/>
                  <a:gd name="connsiteY38" fmla="*/ 1296038 h 1892938"/>
                  <a:gd name="connsiteX39" fmla="*/ 641718 w 1162418"/>
                  <a:gd name="connsiteY39" fmla="*/ 1296038 h 1892938"/>
                  <a:gd name="connsiteX40" fmla="*/ 590918 w 1162418"/>
                  <a:gd name="connsiteY40" fmla="*/ 1273813 h 1892938"/>
                  <a:gd name="connsiteX41" fmla="*/ 590918 w 1162418"/>
                  <a:gd name="connsiteY41" fmla="*/ 1207138 h 1892938"/>
                  <a:gd name="connsiteX0" fmla="*/ 584568 w 1162418"/>
                  <a:gd name="connsiteY0" fmla="*/ 1895823 h 1895823"/>
                  <a:gd name="connsiteX1" fmla="*/ 581393 w 1162418"/>
                  <a:gd name="connsiteY1" fmla="*/ 1765648 h 1895823"/>
                  <a:gd name="connsiteX2" fmla="*/ 508368 w 1162418"/>
                  <a:gd name="connsiteY2" fmla="*/ 1721198 h 1895823"/>
                  <a:gd name="connsiteX3" fmla="*/ 475030 w 1162418"/>
                  <a:gd name="connsiteY3" fmla="*/ 1681511 h 1895823"/>
                  <a:gd name="connsiteX4" fmla="*/ 505193 w 1162418"/>
                  <a:gd name="connsiteY4" fmla="*/ 1641823 h 1895823"/>
                  <a:gd name="connsiteX5" fmla="*/ 717918 w 1162418"/>
                  <a:gd name="connsiteY5" fmla="*/ 1641823 h 1895823"/>
                  <a:gd name="connsiteX6" fmla="*/ 746493 w 1162418"/>
                  <a:gd name="connsiteY6" fmla="*/ 1594198 h 1895823"/>
                  <a:gd name="connsiteX7" fmla="*/ 716330 w 1162418"/>
                  <a:gd name="connsiteY7" fmla="*/ 1557686 h 1895823"/>
                  <a:gd name="connsiteX8" fmla="*/ 398830 w 1162418"/>
                  <a:gd name="connsiteY8" fmla="*/ 1557686 h 1895823"/>
                  <a:gd name="connsiteX9" fmla="*/ 360730 w 1162418"/>
                  <a:gd name="connsiteY9" fmla="*/ 1519586 h 1895823"/>
                  <a:gd name="connsiteX10" fmla="*/ 382955 w 1162418"/>
                  <a:gd name="connsiteY10" fmla="*/ 1471961 h 1895823"/>
                  <a:gd name="connsiteX11" fmla="*/ 797293 w 1162418"/>
                  <a:gd name="connsiteY11" fmla="*/ 1471961 h 1895823"/>
                  <a:gd name="connsiteX12" fmla="*/ 830630 w 1162418"/>
                  <a:gd name="connsiteY12" fmla="*/ 1424336 h 1895823"/>
                  <a:gd name="connsiteX13" fmla="*/ 795705 w 1162418"/>
                  <a:gd name="connsiteY13" fmla="*/ 1381473 h 1895823"/>
                  <a:gd name="connsiteX14" fmla="*/ 386130 w 1162418"/>
                  <a:gd name="connsiteY14" fmla="*/ 1381473 h 1895823"/>
                  <a:gd name="connsiteX15" fmla="*/ 322630 w 1162418"/>
                  <a:gd name="connsiteY15" fmla="*/ 1349723 h 1895823"/>
                  <a:gd name="connsiteX16" fmla="*/ 283340 w 1162418"/>
                  <a:gd name="connsiteY16" fmla="*/ 1297733 h 1895823"/>
                  <a:gd name="connsiteX17" fmla="*/ 271830 w 1162418"/>
                  <a:gd name="connsiteY17" fmla="*/ 1205261 h 1895823"/>
                  <a:gd name="connsiteX18" fmla="*/ 260718 w 1162418"/>
                  <a:gd name="connsiteY18" fmla="*/ 1125886 h 1895823"/>
                  <a:gd name="connsiteX19" fmla="*/ 205155 w 1162418"/>
                  <a:gd name="connsiteY19" fmla="*/ 1035398 h 1895823"/>
                  <a:gd name="connsiteX20" fmla="*/ 130543 w 1162418"/>
                  <a:gd name="connsiteY20" fmla="*/ 952848 h 1895823"/>
                  <a:gd name="connsiteX21" fmla="*/ 55137 w 1162418"/>
                  <a:gd name="connsiteY21" fmla="*/ 842914 h 1895823"/>
                  <a:gd name="connsiteX22" fmla="*/ 13861 w 1162418"/>
                  <a:gd name="connsiteY22" fmla="*/ 733377 h 1895823"/>
                  <a:gd name="connsiteX23" fmla="*/ 368 w 1162418"/>
                  <a:gd name="connsiteY23" fmla="*/ 598836 h 1895823"/>
                  <a:gd name="connsiteX24" fmla="*/ 11480 w 1162418"/>
                  <a:gd name="connsiteY24" fmla="*/ 473423 h 1895823"/>
                  <a:gd name="connsiteX25" fmla="*/ 81330 w 1162418"/>
                  <a:gd name="connsiteY25" fmla="*/ 282923 h 1895823"/>
                  <a:gd name="connsiteX26" fmla="*/ 265480 w 1162418"/>
                  <a:gd name="connsiteY26" fmla="*/ 90835 h 1895823"/>
                  <a:gd name="connsiteX27" fmla="*/ 519480 w 1162418"/>
                  <a:gd name="connsiteY27" fmla="*/ 5111 h 1895823"/>
                  <a:gd name="connsiteX28" fmla="*/ 705218 w 1162418"/>
                  <a:gd name="connsiteY28" fmla="*/ 8286 h 1895823"/>
                  <a:gd name="connsiteX29" fmla="*/ 943343 w 1162418"/>
                  <a:gd name="connsiteY29" fmla="*/ 119411 h 1895823"/>
                  <a:gd name="connsiteX30" fmla="*/ 1100505 w 1162418"/>
                  <a:gd name="connsiteY30" fmla="*/ 308323 h 1895823"/>
                  <a:gd name="connsiteX31" fmla="*/ 1162418 w 1162418"/>
                  <a:gd name="connsiteY31" fmla="*/ 511523 h 1895823"/>
                  <a:gd name="connsiteX32" fmla="*/ 1159243 w 1162418"/>
                  <a:gd name="connsiteY32" fmla="*/ 681386 h 1895823"/>
                  <a:gd name="connsiteX33" fmla="*/ 1090980 w 1162418"/>
                  <a:gd name="connsiteY33" fmla="*/ 887761 h 1895823"/>
                  <a:gd name="connsiteX34" fmla="*/ 957630 w 1162418"/>
                  <a:gd name="connsiteY34" fmla="*/ 1056036 h 1895823"/>
                  <a:gd name="connsiteX35" fmla="*/ 914768 w 1162418"/>
                  <a:gd name="connsiteY35" fmla="*/ 1116361 h 1895823"/>
                  <a:gd name="connsiteX36" fmla="*/ 905243 w 1162418"/>
                  <a:gd name="connsiteY36" fmla="*/ 1173511 h 1895823"/>
                  <a:gd name="connsiteX37" fmla="*/ 905243 w 1162418"/>
                  <a:gd name="connsiteY37" fmla="*/ 1262411 h 1895823"/>
                  <a:gd name="connsiteX38" fmla="*/ 868730 w 1162418"/>
                  <a:gd name="connsiteY38" fmla="*/ 1298923 h 1895823"/>
                  <a:gd name="connsiteX39" fmla="*/ 641718 w 1162418"/>
                  <a:gd name="connsiteY39" fmla="*/ 1298923 h 1895823"/>
                  <a:gd name="connsiteX40" fmla="*/ 590918 w 1162418"/>
                  <a:gd name="connsiteY40" fmla="*/ 1276698 h 1895823"/>
                  <a:gd name="connsiteX41" fmla="*/ 590918 w 1162418"/>
                  <a:gd name="connsiteY41" fmla="*/ 1210023 h 1895823"/>
                  <a:gd name="connsiteX0" fmla="*/ 584568 w 1162418"/>
                  <a:gd name="connsiteY0" fmla="*/ 1897931 h 1897931"/>
                  <a:gd name="connsiteX1" fmla="*/ 581393 w 1162418"/>
                  <a:gd name="connsiteY1" fmla="*/ 1767756 h 1897931"/>
                  <a:gd name="connsiteX2" fmla="*/ 508368 w 1162418"/>
                  <a:gd name="connsiteY2" fmla="*/ 1723306 h 1897931"/>
                  <a:gd name="connsiteX3" fmla="*/ 475030 w 1162418"/>
                  <a:gd name="connsiteY3" fmla="*/ 1683619 h 1897931"/>
                  <a:gd name="connsiteX4" fmla="*/ 505193 w 1162418"/>
                  <a:gd name="connsiteY4" fmla="*/ 1643931 h 1897931"/>
                  <a:gd name="connsiteX5" fmla="*/ 717918 w 1162418"/>
                  <a:gd name="connsiteY5" fmla="*/ 1643931 h 1897931"/>
                  <a:gd name="connsiteX6" fmla="*/ 746493 w 1162418"/>
                  <a:gd name="connsiteY6" fmla="*/ 1596306 h 1897931"/>
                  <a:gd name="connsiteX7" fmla="*/ 716330 w 1162418"/>
                  <a:gd name="connsiteY7" fmla="*/ 1559794 h 1897931"/>
                  <a:gd name="connsiteX8" fmla="*/ 398830 w 1162418"/>
                  <a:gd name="connsiteY8" fmla="*/ 1559794 h 1897931"/>
                  <a:gd name="connsiteX9" fmla="*/ 360730 w 1162418"/>
                  <a:gd name="connsiteY9" fmla="*/ 1521694 h 1897931"/>
                  <a:gd name="connsiteX10" fmla="*/ 382955 w 1162418"/>
                  <a:gd name="connsiteY10" fmla="*/ 1474069 h 1897931"/>
                  <a:gd name="connsiteX11" fmla="*/ 797293 w 1162418"/>
                  <a:gd name="connsiteY11" fmla="*/ 1474069 h 1897931"/>
                  <a:gd name="connsiteX12" fmla="*/ 830630 w 1162418"/>
                  <a:gd name="connsiteY12" fmla="*/ 1426444 h 1897931"/>
                  <a:gd name="connsiteX13" fmla="*/ 795705 w 1162418"/>
                  <a:gd name="connsiteY13" fmla="*/ 1383581 h 1897931"/>
                  <a:gd name="connsiteX14" fmla="*/ 386130 w 1162418"/>
                  <a:gd name="connsiteY14" fmla="*/ 1383581 h 1897931"/>
                  <a:gd name="connsiteX15" fmla="*/ 322630 w 1162418"/>
                  <a:gd name="connsiteY15" fmla="*/ 1351831 h 1897931"/>
                  <a:gd name="connsiteX16" fmla="*/ 283340 w 1162418"/>
                  <a:gd name="connsiteY16" fmla="*/ 1299841 h 1897931"/>
                  <a:gd name="connsiteX17" fmla="*/ 271830 w 1162418"/>
                  <a:gd name="connsiteY17" fmla="*/ 1207369 h 1897931"/>
                  <a:gd name="connsiteX18" fmla="*/ 260718 w 1162418"/>
                  <a:gd name="connsiteY18" fmla="*/ 1127994 h 1897931"/>
                  <a:gd name="connsiteX19" fmla="*/ 205155 w 1162418"/>
                  <a:gd name="connsiteY19" fmla="*/ 1037506 h 1897931"/>
                  <a:gd name="connsiteX20" fmla="*/ 130543 w 1162418"/>
                  <a:gd name="connsiteY20" fmla="*/ 954956 h 1897931"/>
                  <a:gd name="connsiteX21" fmla="*/ 55137 w 1162418"/>
                  <a:gd name="connsiteY21" fmla="*/ 845022 h 1897931"/>
                  <a:gd name="connsiteX22" fmla="*/ 13861 w 1162418"/>
                  <a:gd name="connsiteY22" fmla="*/ 735485 h 1897931"/>
                  <a:gd name="connsiteX23" fmla="*/ 368 w 1162418"/>
                  <a:gd name="connsiteY23" fmla="*/ 600944 h 1897931"/>
                  <a:gd name="connsiteX24" fmla="*/ 11480 w 1162418"/>
                  <a:gd name="connsiteY24" fmla="*/ 475531 h 1897931"/>
                  <a:gd name="connsiteX25" fmla="*/ 81330 w 1162418"/>
                  <a:gd name="connsiteY25" fmla="*/ 285031 h 1897931"/>
                  <a:gd name="connsiteX26" fmla="*/ 265480 w 1162418"/>
                  <a:gd name="connsiteY26" fmla="*/ 92943 h 1897931"/>
                  <a:gd name="connsiteX27" fmla="*/ 519480 w 1162418"/>
                  <a:gd name="connsiteY27" fmla="*/ 3648 h 1897931"/>
                  <a:gd name="connsiteX28" fmla="*/ 705218 w 1162418"/>
                  <a:gd name="connsiteY28" fmla="*/ 10394 h 1897931"/>
                  <a:gd name="connsiteX29" fmla="*/ 943343 w 1162418"/>
                  <a:gd name="connsiteY29" fmla="*/ 121519 h 1897931"/>
                  <a:gd name="connsiteX30" fmla="*/ 1100505 w 1162418"/>
                  <a:gd name="connsiteY30" fmla="*/ 310431 h 1897931"/>
                  <a:gd name="connsiteX31" fmla="*/ 1162418 w 1162418"/>
                  <a:gd name="connsiteY31" fmla="*/ 513631 h 1897931"/>
                  <a:gd name="connsiteX32" fmla="*/ 1159243 w 1162418"/>
                  <a:gd name="connsiteY32" fmla="*/ 683494 h 1897931"/>
                  <a:gd name="connsiteX33" fmla="*/ 1090980 w 1162418"/>
                  <a:gd name="connsiteY33" fmla="*/ 889869 h 1897931"/>
                  <a:gd name="connsiteX34" fmla="*/ 957630 w 1162418"/>
                  <a:gd name="connsiteY34" fmla="*/ 1058144 h 1897931"/>
                  <a:gd name="connsiteX35" fmla="*/ 914768 w 1162418"/>
                  <a:gd name="connsiteY35" fmla="*/ 1118469 h 1897931"/>
                  <a:gd name="connsiteX36" fmla="*/ 905243 w 1162418"/>
                  <a:gd name="connsiteY36" fmla="*/ 1175619 h 1897931"/>
                  <a:gd name="connsiteX37" fmla="*/ 905243 w 1162418"/>
                  <a:gd name="connsiteY37" fmla="*/ 1264519 h 1897931"/>
                  <a:gd name="connsiteX38" fmla="*/ 868730 w 1162418"/>
                  <a:gd name="connsiteY38" fmla="*/ 1301031 h 1897931"/>
                  <a:gd name="connsiteX39" fmla="*/ 641718 w 1162418"/>
                  <a:gd name="connsiteY39" fmla="*/ 1301031 h 1897931"/>
                  <a:gd name="connsiteX40" fmla="*/ 590918 w 1162418"/>
                  <a:gd name="connsiteY40" fmla="*/ 1278806 h 1897931"/>
                  <a:gd name="connsiteX41" fmla="*/ 590918 w 1162418"/>
                  <a:gd name="connsiteY41" fmla="*/ 1212131 h 1897931"/>
                  <a:gd name="connsiteX0" fmla="*/ 584568 w 1162418"/>
                  <a:gd name="connsiteY0" fmla="*/ 1897931 h 1897931"/>
                  <a:gd name="connsiteX1" fmla="*/ 581393 w 1162418"/>
                  <a:gd name="connsiteY1" fmla="*/ 1767756 h 1897931"/>
                  <a:gd name="connsiteX2" fmla="*/ 508368 w 1162418"/>
                  <a:gd name="connsiteY2" fmla="*/ 1723306 h 1897931"/>
                  <a:gd name="connsiteX3" fmla="*/ 475030 w 1162418"/>
                  <a:gd name="connsiteY3" fmla="*/ 1683619 h 1897931"/>
                  <a:gd name="connsiteX4" fmla="*/ 505193 w 1162418"/>
                  <a:gd name="connsiteY4" fmla="*/ 1643931 h 1897931"/>
                  <a:gd name="connsiteX5" fmla="*/ 717918 w 1162418"/>
                  <a:gd name="connsiteY5" fmla="*/ 1643931 h 1897931"/>
                  <a:gd name="connsiteX6" fmla="*/ 746493 w 1162418"/>
                  <a:gd name="connsiteY6" fmla="*/ 1596306 h 1897931"/>
                  <a:gd name="connsiteX7" fmla="*/ 716330 w 1162418"/>
                  <a:gd name="connsiteY7" fmla="*/ 1559794 h 1897931"/>
                  <a:gd name="connsiteX8" fmla="*/ 398830 w 1162418"/>
                  <a:gd name="connsiteY8" fmla="*/ 1559794 h 1897931"/>
                  <a:gd name="connsiteX9" fmla="*/ 360730 w 1162418"/>
                  <a:gd name="connsiteY9" fmla="*/ 1521694 h 1897931"/>
                  <a:gd name="connsiteX10" fmla="*/ 382955 w 1162418"/>
                  <a:gd name="connsiteY10" fmla="*/ 1474069 h 1897931"/>
                  <a:gd name="connsiteX11" fmla="*/ 797293 w 1162418"/>
                  <a:gd name="connsiteY11" fmla="*/ 1474069 h 1897931"/>
                  <a:gd name="connsiteX12" fmla="*/ 830630 w 1162418"/>
                  <a:gd name="connsiteY12" fmla="*/ 1426444 h 1897931"/>
                  <a:gd name="connsiteX13" fmla="*/ 795705 w 1162418"/>
                  <a:gd name="connsiteY13" fmla="*/ 1383581 h 1897931"/>
                  <a:gd name="connsiteX14" fmla="*/ 386130 w 1162418"/>
                  <a:gd name="connsiteY14" fmla="*/ 1383581 h 1897931"/>
                  <a:gd name="connsiteX15" fmla="*/ 322630 w 1162418"/>
                  <a:gd name="connsiteY15" fmla="*/ 1351831 h 1897931"/>
                  <a:gd name="connsiteX16" fmla="*/ 283340 w 1162418"/>
                  <a:gd name="connsiteY16" fmla="*/ 1299841 h 1897931"/>
                  <a:gd name="connsiteX17" fmla="*/ 271830 w 1162418"/>
                  <a:gd name="connsiteY17" fmla="*/ 1207369 h 1897931"/>
                  <a:gd name="connsiteX18" fmla="*/ 260718 w 1162418"/>
                  <a:gd name="connsiteY18" fmla="*/ 1127994 h 1897931"/>
                  <a:gd name="connsiteX19" fmla="*/ 205155 w 1162418"/>
                  <a:gd name="connsiteY19" fmla="*/ 1037506 h 1897931"/>
                  <a:gd name="connsiteX20" fmla="*/ 130543 w 1162418"/>
                  <a:gd name="connsiteY20" fmla="*/ 954956 h 1897931"/>
                  <a:gd name="connsiteX21" fmla="*/ 55137 w 1162418"/>
                  <a:gd name="connsiteY21" fmla="*/ 845022 h 1897931"/>
                  <a:gd name="connsiteX22" fmla="*/ 13861 w 1162418"/>
                  <a:gd name="connsiteY22" fmla="*/ 735485 h 1897931"/>
                  <a:gd name="connsiteX23" fmla="*/ 368 w 1162418"/>
                  <a:gd name="connsiteY23" fmla="*/ 600944 h 1897931"/>
                  <a:gd name="connsiteX24" fmla="*/ 11480 w 1162418"/>
                  <a:gd name="connsiteY24" fmla="*/ 475531 h 1897931"/>
                  <a:gd name="connsiteX25" fmla="*/ 81330 w 1162418"/>
                  <a:gd name="connsiteY25" fmla="*/ 285031 h 1897931"/>
                  <a:gd name="connsiteX26" fmla="*/ 265480 w 1162418"/>
                  <a:gd name="connsiteY26" fmla="*/ 92943 h 1897931"/>
                  <a:gd name="connsiteX27" fmla="*/ 519480 w 1162418"/>
                  <a:gd name="connsiteY27" fmla="*/ 3648 h 1897931"/>
                  <a:gd name="connsiteX28" fmla="*/ 705218 w 1162418"/>
                  <a:gd name="connsiteY28" fmla="*/ 10394 h 1897931"/>
                  <a:gd name="connsiteX29" fmla="*/ 943343 w 1162418"/>
                  <a:gd name="connsiteY29" fmla="*/ 121519 h 1897931"/>
                  <a:gd name="connsiteX30" fmla="*/ 1100505 w 1162418"/>
                  <a:gd name="connsiteY30" fmla="*/ 310431 h 1897931"/>
                  <a:gd name="connsiteX31" fmla="*/ 1162418 w 1162418"/>
                  <a:gd name="connsiteY31" fmla="*/ 513631 h 1897931"/>
                  <a:gd name="connsiteX32" fmla="*/ 1159243 w 1162418"/>
                  <a:gd name="connsiteY32" fmla="*/ 683494 h 1897931"/>
                  <a:gd name="connsiteX33" fmla="*/ 1090980 w 1162418"/>
                  <a:gd name="connsiteY33" fmla="*/ 889869 h 1897931"/>
                  <a:gd name="connsiteX34" fmla="*/ 957630 w 1162418"/>
                  <a:gd name="connsiteY34" fmla="*/ 1058144 h 1897931"/>
                  <a:gd name="connsiteX35" fmla="*/ 914768 w 1162418"/>
                  <a:gd name="connsiteY35" fmla="*/ 1118469 h 1897931"/>
                  <a:gd name="connsiteX36" fmla="*/ 905243 w 1162418"/>
                  <a:gd name="connsiteY36" fmla="*/ 1175619 h 1897931"/>
                  <a:gd name="connsiteX37" fmla="*/ 905243 w 1162418"/>
                  <a:gd name="connsiteY37" fmla="*/ 1264519 h 1897931"/>
                  <a:gd name="connsiteX38" fmla="*/ 868730 w 1162418"/>
                  <a:gd name="connsiteY38" fmla="*/ 1301031 h 1897931"/>
                  <a:gd name="connsiteX39" fmla="*/ 641718 w 1162418"/>
                  <a:gd name="connsiteY39" fmla="*/ 1301031 h 1897931"/>
                  <a:gd name="connsiteX40" fmla="*/ 590918 w 1162418"/>
                  <a:gd name="connsiteY40" fmla="*/ 1278806 h 1897931"/>
                  <a:gd name="connsiteX41" fmla="*/ 590918 w 1162418"/>
                  <a:gd name="connsiteY41" fmla="*/ 1212131 h 1897931"/>
                  <a:gd name="connsiteX0" fmla="*/ 584568 w 1162418"/>
                  <a:gd name="connsiteY0" fmla="*/ 1894283 h 1894283"/>
                  <a:gd name="connsiteX1" fmla="*/ 581393 w 1162418"/>
                  <a:gd name="connsiteY1" fmla="*/ 1764108 h 1894283"/>
                  <a:gd name="connsiteX2" fmla="*/ 508368 w 1162418"/>
                  <a:gd name="connsiteY2" fmla="*/ 1719658 h 1894283"/>
                  <a:gd name="connsiteX3" fmla="*/ 475030 w 1162418"/>
                  <a:gd name="connsiteY3" fmla="*/ 1679971 h 1894283"/>
                  <a:gd name="connsiteX4" fmla="*/ 505193 w 1162418"/>
                  <a:gd name="connsiteY4" fmla="*/ 1640283 h 1894283"/>
                  <a:gd name="connsiteX5" fmla="*/ 717918 w 1162418"/>
                  <a:gd name="connsiteY5" fmla="*/ 1640283 h 1894283"/>
                  <a:gd name="connsiteX6" fmla="*/ 746493 w 1162418"/>
                  <a:gd name="connsiteY6" fmla="*/ 1592658 h 1894283"/>
                  <a:gd name="connsiteX7" fmla="*/ 716330 w 1162418"/>
                  <a:gd name="connsiteY7" fmla="*/ 1556146 h 1894283"/>
                  <a:gd name="connsiteX8" fmla="*/ 398830 w 1162418"/>
                  <a:gd name="connsiteY8" fmla="*/ 1556146 h 1894283"/>
                  <a:gd name="connsiteX9" fmla="*/ 360730 w 1162418"/>
                  <a:gd name="connsiteY9" fmla="*/ 1518046 h 1894283"/>
                  <a:gd name="connsiteX10" fmla="*/ 382955 w 1162418"/>
                  <a:gd name="connsiteY10" fmla="*/ 1470421 h 1894283"/>
                  <a:gd name="connsiteX11" fmla="*/ 797293 w 1162418"/>
                  <a:gd name="connsiteY11" fmla="*/ 1470421 h 1894283"/>
                  <a:gd name="connsiteX12" fmla="*/ 830630 w 1162418"/>
                  <a:gd name="connsiteY12" fmla="*/ 1422796 h 1894283"/>
                  <a:gd name="connsiteX13" fmla="*/ 795705 w 1162418"/>
                  <a:gd name="connsiteY13" fmla="*/ 1379933 h 1894283"/>
                  <a:gd name="connsiteX14" fmla="*/ 386130 w 1162418"/>
                  <a:gd name="connsiteY14" fmla="*/ 1379933 h 1894283"/>
                  <a:gd name="connsiteX15" fmla="*/ 322630 w 1162418"/>
                  <a:gd name="connsiteY15" fmla="*/ 1348183 h 1894283"/>
                  <a:gd name="connsiteX16" fmla="*/ 283340 w 1162418"/>
                  <a:gd name="connsiteY16" fmla="*/ 1296193 h 1894283"/>
                  <a:gd name="connsiteX17" fmla="*/ 271830 w 1162418"/>
                  <a:gd name="connsiteY17" fmla="*/ 1203721 h 1894283"/>
                  <a:gd name="connsiteX18" fmla="*/ 260718 w 1162418"/>
                  <a:gd name="connsiteY18" fmla="*/ 1124346 h 1894283"/>
                  <a:gd name="connsiteX19" fmla="*/ 205155 w 1162418"/>
                  <a:gd name="connsiteY19" fmla="*/ 1033858 h 1894283"/>
                  <a:gd name="connsiteX20" fmla="*/ 130543 w 1162418"/>
                  <a:gd name="connsiteY20" fmla="*/ 951308 h 1894283"/>
                  <a:gd name="connsiteX21" fmla="*/ 55137 w 1162418"/>
                  <a:gd name="connsiteY21" fmla="*/ 841374 h 1894283"/>
                  <a:gd name="connsiteX22" fmla="*/ 13861 w 1162418"/>
                  <a:gd name="connsiteY22" fmla="*/ 731837 h 1894283"/>
                  <a:gd name="connsiteX23" fmla="*/ 368 w 1162418"/>
                  <a:gd name="connsiteY23" fmla="*/ 597296 h 1894283"/>
                  <a:gd name="connsiteX24" fmla="*/ 11480 w 1162418"/>
                  <a:gd name="connsiteY24" fmla="*/ 471883 h 1894283"/>
                  <a:gd name="connsiteX25" fmla="*/ 81330 w 1162418"/>
                  <a:gd name="connsiteY25" fmla="*/ 281383 h 1894283"/>
                  <a:gd name="connsiteX26" fmla="*/ 265480 w 1162418"/>
                  <a:gd name="connsiteY26" fmla="*/ 89295 h 1894283"/>
                  <a:gd name="connsiteX27" fmla="*/ 519480 w 1162418"/>
                  <a:gd name="connsiteY27" fmla="*/ 0 h 1894283"/>
                  <a:gd name="connsiteX28" fmla="*/ 705218 w 1162418"/>
                  <a:gd name="connsiteY28" fmla="*/ 6746 h 1894283"/>
                  <a:gd name="connsiteX29" fmla="*/ 943343 w 1162418"/>
                  <a:gd name="connsiteY29" fmla="*/ 117871 h 1894283"/>
                  <a:gd name="connsiteX30" fmla="*/ 1100505 w 1162418"/>
                  <a:gd name="connsiteY30" fmla="*/ 306783 h 1894283"/>
                  <a:gd name="connsiteX31" fmla="*/ 1162418 w 1162418"/>
                  <a:gd name="connsiteY31" fmla="*/ 509983 h 1894283"/>
                  <a:gd name="connsiteX32" fmla="*/ 1159243 w 1162418"/>
                  <a:gd name="connsiteY32" fmla="*/ 679846 h 1894283"/>
                  <a:gd name="connsiteX33" fmla="*/ 1090980 w 1162418"/>
                  <a:gd name="connsiteY33" fmla="*/ 886221 h 1894283"/>
                  <a:gd name="connsiteX34" fmla="*/ 957630 w 1162418"/>
                  <a:gd name="connsiteY34" fmla="*/ 1054496 h 1894283"/>
                  <a:gd name="connsiteX35" fmla="*/ 914768 w 1162418"/>
                  <a:gd name="connsiteY35" fmla="*/ 1114821 h 1894283"/>
                  <a:gd name="connsiteX36" fmla="*/ 905243 w 1162418"/>
                  <a:gd name="connsiteY36" fmla="*/ 1171971 h 1894283"/>
                  <a:gd name="connsiteX37" fmla="*/ 905243 w 1162418"/>
                  <a:gd name="connsiteY37" fmla="*/ 1260871 h 1894283"/>
                  <a:gd name="connsiteX38" fmla="*/ 868730 w 1162418"/>
                  <a:gd name="connsiteY38" fmla="*/ 1297383 h 1894283"/>
                  <a:gd name="connsiteX39" fmla="*/ 641718 w 1162418"/>
                  <a:gd name="connsiteY39" fmla="*/ 1297383 h 1894283"/>
                  <a:gd name="connsiteX40" fmla="*/ 590918 w 1162418"/>
                  <a:gd name="connsiteY40" fmla="*/ 1275158 h 1894283"/>
                  <a:gd name="connsiteX41" fmla="*/ 590918 w 1162418"/>
                  <a:gd name="connsiteY41" fmla="*/ 1208483 h 1894283"/>
                  <a:gd name="connsiteX0" fmla="*/ 584568 w 1162418"/>
                  <a:gd name="connsiteY0" fmla="*/ 1896145 h 1896145"/>
                  <a:gd name="connsiteX1" fmla="*/ 581393 w 1162418"/>
                  <a:gd name="connsiteY1" fmla="*/ 1765970 h 1896145"/>
                  <a:gd name="connsiteX2" fmla="*/ 508368 w 1162418"/>
                  <a:gd name="connsiteY2" fmla="*/ 1721520 h 1896145"/>
                  <a:gd name="connsiteX3" fmla="*/ 475030 w 1162418"/>
                  <a:gd name="connsiteY3" fmla="*/ 1681833 h 1896145"/>
                  <a:gd name="connsiteX4" fmla="*/ 505193 w 1162418"/>
                  <a:gd name="connsiteY4" fmla="*/ 1642145 h 1896145"/>
                  <a:gd name="connsiteX5" fmla="*/ 717918 w 1162418"/>
                  <a:gd name="connsiteY5" fmla="*/ 1642145 h 1896145"/>
                  <a:gd name="connsiteX6" fmla="*/ 746493 w 1162418"/>
                  <a:gd name="connsiteY6" fmla="*/ 1594520 h 1896145"/>
                  <a:gd name="connsiteX7" fmla="*/ 716330 w 1162418"/>
                  <a:gd name="connsiteY7" fmla="*/ 1558008 h 1896145"/>
                  <a:gd name="connsiteX8" fmla="*/ 398830 w 1162418"/>
                  <a:gd name="connsiteY8" fmla="*/ 1558008 h 1896145"/>
                  <a:gd name="connsiteX9" fmla="*/ 360730 w 1162418"/>
                  <a:gd name="connsiteY9" fmla="*/ 1519908 h 1896145"/>
                  <a:gd name="connsiteX10" fmla="*/ 382955 w 1162418"/>
                  <a:gd name="connsiteY10" fmla="*/ 1472283 h 1896145"/>
                  <a:gd name="connsiteX11" fmla="*/ 797293 w 1162418"/>
                  <a:gd name="connsiteY11" fmla="*/ 1472283 h 1896145"/>
                  <a:gd name="connsiteX12" fmla="*/ 830630 w 1162418"/>
                  <a:gd name="connsiteY12" fmla="*/ 1424658 h 1896145"/>
                  <a:gd name="connsiteX13" fmla="*/ 795705 w 1162418"/>
                  <a:gd name="connsiteY13" fmla="*/ 1381795 h 1896145"/>
                  <a:gd name="connsiteX14" fmla="*/ 386130 w 1162418"/>
                  <a:gd name="connsiteY14" fmla="*/ 1381795 h 1896145"/>
                  <a:gd name="connsiteX15" fmla="*/ 322630 w 1162418"/>
                  <a:gd name="connsiteY15" fmla="*/ 1350045 h 1896145"/>
                  <a:gd name="connsiteX16" fmla="*/ 283340 w 1162418"/>
                  <a:gd name="connsiteY16" fmla="*/ 1298055 h 1896145"/>
                  <a:gd name="connsiteX17" fmla="*/ 271830 w 1162418"/>
                  <a:gd name="connsiteY17" fmla="*/ 1205583 h 1896145"/>
                  <a:gd name="connsiteX18" fmla="*/ 260718 w 1162418"/>
                  <a:gd name="connsiteY18" fmla="*/ 1126208 h 1896145"/>
                  <a:gd name="connsiteX19" fmla="*/ 205155 w 1162418"/>
                  <a:gd name="connsiteY19" fmla="*/ 1035720 h 1896145"/>
                  <a:gd name="connsiteX20" fmla="*/ 130543 w 1162418"/>
                  <a:gd name="connsiteY20" fmla="*/ 953170 h 1896145"/>
                  <a:gd name="connsiteX21" fmla="*/ 55137 w 1162418"/>
                  <a:gd name="connsiteY21" fmla="*/ 843236 h 1896145"/>
                  <a:gd name="connsiteX22" fmla="*/ 13861 w 1162418"/>
                  <a:gd name="connsiteY22" fmla="*/ 733699 h 1896145"/>
                  <a:gd name="connsiteX23" fmla="*/ 368 w 1162418"/>
                  <a:gd name="connsiteY23" fmla="*/ 599158 h 1896145"/>
                  <a:gd name="connsiteX24" fmla="*/ 11480 w 1162418"/>
                  <a:gd name="connsiteY24" fmla="*/ 473745 h 1896145"/>
                  <a:gd name="connsiteX25" fmla="*/ 81330 w 1162418"/>
                  <a:gd name="connsiteY25" fmla="*/ 283245 h 1896145"/>
                  <a:gd name="connsiteX26" fmla="*/ 265480 w 1162418"/>
                  <a:gd name="connsiteY26" fmla="*/ 91157 h 1896145"/>
                  <a:gd name="connsiteX27" fmla="*/ 519480 w 1162418"/>
                  <a:gd name="connsiteY27" fmla="*/ 1862 h 1896145"/>
                  <a:gd name="connsiteX28" fmla="*/ 705218 w 1162418"/>
                  <a:gd name="connsiteY28" fmla="*/ 8608 h 1896145"/>
                  <a:gd name="connsiteX29" fmla="*/ 943343 w 1162418"/>
                  <a:gd name="connsiteY29" fmla="*/ 119733 h 1896145"/>
                  <a:gd name="connsiteX30" fmla="*/ 1100505 w 1162418"/>
                  <a:gd name="connsiteY30" fmla="*/ 308645 h 1896145"/>
                  <a:gd name="connsiteX31" fmla="*/ 1162418 w 1162418"/>
                  <a:gd name="connsiteY31" fmla="*/ 511845 h 1896145"/>
                  <a:gd name="connsiteX32" fmla="*/ 1159243 w 1162418"/>
                  <a:gd name="connsiteY32" fmla="*/ 681708 h 1896145"/>
                  <a:gd name="connsiteX33" fmla="*/ 1090980 w 1162418"/>
                  <a:gd name="connsiteY33" fmla="*/ 888083 h 1896145"/>
                  <a:gd name="connsiteX34" fmla="*/ 957630 w 1162418"/>
                  <a:gd name="connsiteY34" fmla="*/ 1056358 h 1896145"/>
                  <a:gd name="connsiteX35" fmla="*/ 914768 w 1162418"/>
                  <a:gd name="connsiteY35" fmla="*/ 1116683 h 1896145"/>
                  <a:gd name="connsiteX36" fmla="*/ 905243 w 1162418"/>
                  <a:gd name="connsiteY36" fmla="*/ 1173833 h 1896145"/>
                  <a:gd name="connsiteX37" fmla="*/ 905243 w 1162418"/>
                  <a:gd name="connsiteY37" fmla="*/ 1262733 h 1896145"/>
                  <a:gd name="connsiteX38" fmla="*/ 868730 w 1162418"/>
                  <a:gd name="connsiteY38" fmla="*/ 1299245 h 1896145"/>
                  <a:gd name="connsiteX39" fmla="*/ 641718 w 1162418"/>
                  <a:gd name="connsiteY39" fmla="*/ 1299245 h 1896145"/>
                  <a:gd name="connsiteX40" fmla="*/ 590918 w 1162418"/>
                  <a:gd name="connsiteY40" fmla="*/ 1277020 h 1896145"/>
                  <a:gd name="connsiteX41" fmla="*/ 590918 w 1162418"/>
                  <a:gd name="connsiteY41" fmla="*/ 1210345 h 1896145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6196"/>
                  <a:gd name="connsiteY0" fmla="*/ 1898273 h 1898273"/>
                  <a:gd name="connsiteX1" fmla="*/ 581393 w 1166196"/>
                  <a:gd name="connsiteY1" fmla="*/ 1768098 h 1898273"/>
                  <a:gd name="connsiteX2" fmla="*/ 508368 w 1166196"/>
                  <a:gd name="connsiteY2" fmla="*/ 1723648 h 1898273"/>
                  <a:gd name="connsiteX3" fmla="*/ 475030 w 1166196"/>
                  <a:gd name="connsiteY3" fmla="*/ 1683961 h 1898273"/>
                  <a:gd name="connsiteX4" fmla="*/ 505193 w 1166196"/>
                  <a:gd name="connsiteY4" fmla="*/ 1644273 h 1898273"/>
                  <a:gd name="connsiteX5" fmla="*/ 717918 w 1166196"/>
                  <a:gd name="connsiteY5" fmla="*/ 1644273 h 1898273"/>
                  <a:gd name="connsiteX6" fmla="*/ 746493 w 1166196"/>
                  <a:gd name="connsiteY6" fmla="*/ 1596648 h 1898273"/>
                  <a:gd name="connsiteX7" fmla="*/ 716330 w 1166196"/>
                  <a:gd name="connsiteY7" fmla="*/ 1560136 h 1898273"/>
                  <a:gd name="connsiteX8" fmla="*/ 398830 w 1166196"/>
                  <a:gd name="connsiteY8" fmla="*/ 1560136 h 1898273"/>
                  <a:gd name="connsiteX9" fmla="*/ 360730 w 1166196"/>
                  <a:gd name="connsiteY9" fmla="*/ 1522036 h 1898273"/>
                  <a:gd name="connsiteX10" fmla="*/ 382955 w 1166196"/>
                  <a:gd name="connsiteY10" fmla="*/ 1474411 h 1898273"/>
                  <a:gd name="connsiteX11" fmla="*/ 797293 w 1166196"/>
                  <a:gd name="connsiteY11" fmla="*/ 1474411 h 1898273"/>
                  <a:gd name="connsiteX12" fmla="*/ 830630 w 1166196"/>
                  <a:gd name="connsiteY12" fmla="*/ 1426786 h 1898273"/>
                  <a:gd name="connsiteX13" fmla="*/ 795705 w 1166196"/>
                  <a:gd name="connsiteY13" fmla="*/ 1383923 h 1898273"/>
                  <a:gd name="connsiteX14" fmla="*/ 386130 w 1166196"/>
                  <a:gd name="connsiteY14" fmla="*/ 1383923 h 1898273"/>
                  <a:gd name="connsiteX15" fmla="*/ 322630 w 1166196"/>
                  <a:gd name="connsiteY15" fmla="*/ 1352173 h 1898273"/>
                  <a:gd name="connsiteX16" fmla="*/ 283340 w 1166196"/>
                  <a:gd name="connsiteY16" fmla="*/ 1300183 h 1898273"/>
                  <a:gd name="connsiteX17" fmla="*/ 271830 w 1166196"/>
                  <a:gd name="connsiteY17" fmla="*/ 1207711 h 1898273"/>
                  <a:gd name="connsiteX18" fmla="*/ 260718 w 1166196"/>
                  <a:gd name="connsiteY18" fmla="*/ 1128336 h 1898273"/>
                  <a:gd name="connsiteX19" fmla="*/ 205155 w 1166196"/>
                  <a:gd name="connsiteY19" fmla="*/ 1037848 h 1898273"/>
                  <a:gd name="connsiteX20" fmla="*/ 130543 w 1166196"/>
                  <a:gd name="connsiteY20" fmla="*/ 955298 h 1898273"/>
                  <a:gd name="connsiteX21" fmla="*/ 55137 w 1166196"/>
                  <a:gd name="connsiteY21" fmla="*/ 845364 h 1898273"/>
                  <a:gd name="connsiteX22" fmla="*/ 13861 w 1166196"/>
                  <a:gd name="connsiteY22" fmla="*/ 735827 h 1898273"/>
                  <a:gd name="connsiteX23" fmla="*/ 368 w 1166196"/>
                  <a:gd name="connsiteY23" fmla="*/ 601286 h 1898273"/>
                  <a:gd name="connsiteX24" fmla="*/ 11480 w 1166196"/>
                  <a:gd name="connsiteY24" fmla="*/ 475873 h 1898273"/>
                  <a:gd name="connsiteX25" fmla="*/ 81330 w 1166196"/>
                  <a:gd name="connsiteY25" fmla="*/ 285373 h 1898273"/>
                  <a:gd name="connsiteX26" fmla="*/ 265480 w 1166196"/>
                  <a:gd name="connsiteY26" fmla="*/ 93285 h 1898273"/>
                  <a:gd name="connsiteX27" fmla="*/ 519480 w 1166196"/>
                  <a:gd name="connsiteY27" fmla="*/ 3990 h 1898273"/>
                  <a:gd name="connsiteX28" fmla="*/ 705218 w 1166196"/>
                  <a:gd name="connsiteY28" fmla="*/ 10736 h 1898273"/>
                  <a:gd name="connsiteX29" fmla="*/ 943343 w 1166196"/>
                  <a:gd name="connsiteY29" fmla="*/ 121861 h 1898273"/>
                  <a:gd name="connsiteX30" fmla="*/ 1100505 w 1166196"/>
                  <a:gd name="connsiteY30" fmla="*/ 310773 h 1898273"/>
                  <a:gd name="connsiteX31" fmla="*/ 1162418 w 1166196"/>
                  <a:gd name="connsiteY31" fmla="*/ 513973 h 1898273"/>
                  <a:gd name="connsiteX32" fmla="*/ 1159243 w 1166196"/>
                  <a:gd name="connsiteY32" fmla="*/ 683836 h 1898273"/>
                  <a:gd name="connsiteX33" fmla="*/ 1090980 w 1166196"/>
                  <a:gd name="connsiteY33" fmla="*/ 890211 h 1898273"/>
                  <a:gd name="connsiteX34" fmla="*/ 957630 w 1166196"/>
                  <a:gd name="connsiteY34" fmla="*/ 1058486 h 1898273"/>
                  <a:gd name="connsiteX35" fmla="*/ 914768 w 1166196"/>
                  <a:gd name="connsiteY35" fmla="*/ 1118811 h 1898273"/>
                  <a:gd name="connsiteX36" fmla="*/ 905243 w 1166196"/>
                  <a:gd name="connsiteY36" fmla="*/ 1175961 h 1898273"/>
                  <a:gd name="connsiteX37" fmla="*/ 905243 w 1166196"/>
                  <a:gd name="connsiteY37" fmla="*/ 1264861 h 1898273"/>
                  <a:gd name="connsiteX38" fmla="*/ 868730 w 1166196"/>
                  <a:gd name="connsiteY38" fmla="*/ 1301373 h 1898273"/>
                  <a:gd name="connsiteX39" fmla="*/ 641718 w 1166196"/>
                  <a:gd name="connsiteY39" fmla="*/ 1301373 h 1898273"/>
                  <a:gd name="connsiteX40" fmla="*/ 590918 w 1166196"/>
                  <a:gd name="connsiteY40" fmla="*/ 1279148 h 1898273"/>
                  <a:gd name="connsiteX41" fmla="*/ 590918 w 1166196"/>
                  <a:gd name="connsiteY41" fmla="*/ 1212473 h 1898273"/>
                  <a:gd name="connsiteX0" fmla="*/ 584568 w 1170207"/>
                  <a:gd name="connsiteY0" fmla="*/ 1898273 h 1898273"/>
                  <a:gd name="connsiteX1" fmla="*/ 581393 w 1170207"/>
                  <a:gd name="connsiteY1" fmla="*/ 1768098 h 1898273"/>
                  <a:gd name="connsiteX2" fmla="*/ 508368 w 1170207"/>
                  <a:gd name="connsiteY2" fmla="*/ 1723648 h 1898273"/>
                  <a:gd name="connsiteX3" fmla="*/ 475030 w 1170207"/>
                  <a:gd name="connsiteY3" fmla="*/ 1683961 h 1898273"/>
                  <a:gd name="connsiteX4" fmla="*/ 505193 w 1170207"/>
                  <a:gd name="connsiteY4" fmla="*/ 1644273 h 1898273"/>
                  <a:gd name="connsiteX5" fmla="*/ 717918 w 1170207"/>
                  <a:gd name="connsiteY5" fmla="*/ 1644273 h 1898273"/>
                  <a:gd name="connsiteX6" fmla="*/ 746493 w 1170207"/>
                  <a:gd name="connsiteY6" fmla="*/ 1596648 h 1898273"/>
                  <a:gd name="connsiteX7" fmla="*/ 716330 w 1170207"/>
                  <a:gd name="connsiteY7" fmla="*/ 1560136 h 1898273"/>
                  <a:gd name="connsiteX8" fmla="*/ 398830 w 1170207"/>
                  <a:gd name="connsiteY8" fmla="*/ 1560136 h 1898273"/>
                  <a:gd name="connsiteX9" fmla="*/ 360730 w 1170207"/>
                  <a:gd name="connsiteY9" fmla="*/ 1522036 h 1898273"/>
                  <a:gd name="connsiteX10" fmla="*/ 382955 w 1170207"/>
                  <a:gd name="connsiteY10" fmla="*/ 1474411 h 1898273"/>
                  <a:gd name="connsiteX11" fmla="*/ 797293 w 1170207"/>
                  <a:gd name="connsiteY11" fmla="*/ 1474411 h 1898273"/>
                  <a:gd name="connsiteX12" fmla="*/ 830630 w 1170207"/>
                  <a:gd name="connsiteY12" fmla="*/ 1426786 h 1898273"/>
                  <a:gd name="connsiteX13" fmla="*/ 795705 w 1170207"/>
                  <a:gd name="connsiteY13" fmla="*/ 1383923 h 1898273"/>
                  <a:gd name="connsiteX14" fmla="*/ 386130 w 1170207"/>
                  <a:gd name="connsiteY14" fmla="*/ 1383923 h 1898273"/>
                  <a:gd name="connsiteX15" fmla="*/ 322630 w 1170207"/>
                  <a:gd name="connsiteY15" fmla="*/ 1352173 h 1898273"/>
                  <a:gd name="connsiteX16" fmla="*/ 283340 w 1170207"/>
                  <a:gd name="connsiteY16" fmla="*/ 1300183 h 1898273"/>
                  <a:gd name="connsiteX17" fmla="*/ 271830 w 1170207"/>
                  <a:gd name="connsiteY17" fmla="*/ 1207711 h 1898273"/>
                  <a:gd name="connsiteX18" fmla="*/ 260718 w 1170207"/>
                  <a:gd name="connsiteY18" fmla="*/ 1128336 h 1898273"/>
                  <a:gd name="connsiteX19" fmla="*/ 205155 w 1170207"/>
                  <a:gd name="connsiteY19" fmla="*/ 1037848 h 1898273"/>
                  <a:gd name="connsiteX20" fmla="*/ 130543 w 1170207"/>
                  <a:gd name="connsiteY20" fmla="*/ 955298 h 1898273"/>
                  <a:gd name="connsiteX21" fmla="*/ 55137 w 1170207"/>
                  <a:gd name="connsiteY21" fmla="*/ 845364 h 1898273"/>
                  <a:gd name="connsiteX22" fmla="*/ 13861 w 1170207"/>
                  <a:gd name="connsiteY22" fmla="*/ 735827 h 1898273"/>
                  <a:gd name="connsiteX23" fmla="*/ 368 w 1170207"/>
                  <a:gd name="connsiteY23" fmla="*/ 601286 h 1898273"/>
                  <a:gd name="connsiteX24" fmla="*/ 11480 w 1170207"/>
                  <a:gd name="connsiteY24" fmla="*/ 475873 h 1898273"/>
                  <a:gd name="connsiteX25" fmla="*/ 81330 w 1170207"/>
                  <a:gd name="connsiteY25" fmla="*/ 285373 h 1898273"/>
                  <a:gd name="connsiteX26" fmla="*/ 265480 w 1170207"/>
                  <a:gd name="connsiteY26" fmla="*/ 93285 h 1898273"/>
                  <a:gd name="connsiteX27" fmla="*/ 519480 w 1170207"/>
                  <a:gd name="connsiteY27" fmla="*/ 3990 h 1898273"/>
                  <a:gd name="connsiteX28" fmla="*/ 705218 w 1170207"/>
                  <a:gd name="connsiteY28" fmla="*/ 10736 h 1898273"/>
                  <a:gd name="connsiteX29" fmla="*/ 943343 w 1170207"/>
                  <a:gd name="connsiteY29" fmla="*/ 121861 h 1898273"/>
                  <a:gd name="connsiteX30" fmla="*/ 1100505 w 1170207"/>
                  <a:gd name="connsiteY30" fmla="*/ 310773 h 1898273"/>
                  <a:gd name="connsiteX31" fmla="*/ 1162418 w 1170207"/>
                  <a:gd name="connsiteY31" fmla="*/ 513973 h 1898273"/>
                  <a:gd name="connsiteX32" fmla="*/ 1159243 w 1170207"/>
                  <a:gd name="connsiteY32" fmla="*/ 683836 h 1898273"/>
                  <a:gd name="connsiteX33" fmla="*/ 1090980 w 1170207"/>
                  <a:gd name="connsiteY33" fmla="*/ 890211 h 1898273"/>
                  <a:gd name="connsiteX34" fmla="*/ 957630 w 1170207"/>
                  <a:gd name="connsiteY34" fmla="*/ 1058486 h 1898273"/>
                  <a:gd name="connsiteX35" fmla="*/ 914768 w 1170207"/>
                  <a:gd name="connsiteY35" fmla="*/ 1118811 h 1898273"/>
                  <a:gd name="connsiteX36" fmla="*/ 905243 w 1170207"/>
                  <a:gd name="connsiteY36" fmla="*/ 1175961 h 1898273"/>
                  <a:gd name="connsiteX37" fmla="*/ 905243 w 1170207"/>
                  <a:gd name="connsiteY37" fmla="*/ 1264861 h 1898273"/>
                  <a:gd name="connsiteX38" fmla="*/ 868730 w 1170207"/>
                  <a:gd name="connsiteY38" fmla="*/ 1301373 h 1898273"/>
                  <a:gd name="connsiteX39" fmla="*/ 641718 w 1170207"/>
                  <a:gd name="connsiteY39" fmla="*/ 1301373 h 1898273"/>
                  <a:gd name="connsiteX40" fmla="*/ 590918 w 1170207"/>
                  <a:gd name="connsiteY40" fmla="*/ 1279148 h 1898273"/>
                  <a:gd name="connsiteX41" fmla="*/ 590918 w 1170207"/>
                  <a:gd name="connsiteY41" fmla="*/ 1212473 h 1898273"/>
                  <a:gd name="connsiteX0" fmla="*/ 584568 w 1167505"/>
                  <a:gd name="connsiteY0" fmla="*/ 1898273 h 1898273"/>
                  <a:gd name="connsiteX1" fmla="*/ 581393 w 1167505"/>
                  <a:gd name="connsiteY1" fmla="*/ 1768098 h 1898273"/>
                  <a:gd name="connsiteX2" fmla="*/ 508368 w 1167505"/>
                  <a:gd name="connsiteY2" fmla="*/ 1723648 h 1898273"/>
                  <a:gd name="connsiteX3" fmla="*/ 475030 w 1167505"/>
                  <a:gd name="connsiteY3" fmla="*/ 1683961 h 1898273"/>
                  <a:gd name="connsiteX4" fmla="*/ 505193 w 1167505"/>
                  <a:gd name="connsiteY4" fmla="*/ 1644273 h 1898273"/>
                  <a:gd name="connsiteX5" fmla="*/ 717918 w 1167505"/>
                  <a:gd name="connsiteY5" fmla="*/ 1644273 h 1898273"/>
                  <a:gd name="connsiteX6" fmla="*/ 746493 w 1167505"/>
                  <a:gd name="connsiteY6" fmla="*/ 1596648 h 1898273"/>
                  <a:gd name="connsiteX7" fmla="*/ 716330 w 1167505"/>
                  <a:gd name="connsiteY7" fmla="*/ 1560136 h 1898273"/>
                  <a:gd name="connsiteX8" fmla="*/ 398830 w 1167505"/>
                  <a:gd name="connsiteY8" fmla="*/ 1560136 h 1898273"/>
                  <a:gd name="connsiteX9" fmla="*/ 360730 w 1167505"/>
                  <a:gd name="connsiteY9" fmla="*/ 1522036 h 1898273"/>
                  <a:gd name="connsiteX10" fmla="*/ 382955 w 1167505"/>
                  <a:gd name="connsiteY10" fmla="*/ 1474411 h 1898273"/>
                  <a:gd name="connsiteX11" fmla="*/ 797293 w 1167505"/>
                  <a:gd name="connsiteY11" fmla="*/ 1474411 h 1898273"/>
                  <a:gd name="connsiteX12" fmla="*/ 830630 w 1167505"/>
                  <a:gd name="connsiteY12" fmla="*/ 1426786 h 1898273"/>
                  <a:gd name="connsiteX13" fmla="*/ 795705 w 1167505"/>
                  <a:gd name="connsiteY13" fmla="*/ 1383923 h 1898273"/>
                  <a:gd name="connsiteX14" fmla="*/ 386130 w 1167505"/>
                  <a:gd name="connsiteY14" fmla="*/ 1383923 h 1898273"/>
                  <a:gd name="connsiteX15" fmla="*/ 322630 w 1167505"/>
                  <a:gd name="connsiteY15" fmla="*/ 1352173 h 1898273"/>
                  <a:gd name="connsiteX16" fmla="*/ 283340 w 1167505"/>
                  <a:gd name="connsiteY16" fmla="*/ 1300183 h 1898273"/>
                  <a:gd name="connsiteX17" fmla="*/ 271830 w 1167505"/>
                  <a:gd name="connsiteY17" fmla="*/ 1207711 h 1898273"/>
                  <a:gd name="connsiteX18" fmla="*/ 260718 w 1167505"/>
                  <a:gd name="connsiteY18" fmla="*/ 1128336 h 1898273"/>
                  <a:gd name="connsiteX19" fmla="*/ 205155 w 1167505"/>
                  <a:gd name="connsiteY19" fmla="*/ 1037848 h 1898273"/>
                  <a:gd name="connsiteX20" fmla="*/ 130543 w 1167505"/>
                  <a:gd name="connsiteY20" fmla="*/ 955298 h 1898273"/>
                  <a:gd name="connsiteX21" fmla="*/ 55137 w 1167505"/>
                  <a:gd name="connsiteY21" fmla="*/ 845364 h 1898273"/>
                  <a:gd name="connsiteX22" fmla="*/ 13861 w 1167505"/>
                  <a:gd name="connsiteY22" fmla="*/ 735827 h 1898273"/>
                  <a:gd name="connsiteX23" fmla="*/ 368 w 1167505"/>
                  <a:gd name="connsiteY23" fmla="*/ 601286 h 1898273"/>
                  <a:gd name="connsiteX24" fmla="*/ 11480 w 1167505"/>
                  <a:gd name="connsiteY24" fmla="*/ 475873 h 1898273"/>
                  <a:gd name="connsiteX25" fmla="*/ 81330 w 1167505"/>
                  <a:gd name="connsiteY25" fmla="*/ 285373 h 1898273"/>
                  <a:gd name="connsiteX26" fmla="*/ 265480 w 1167505"/>
                  <a:gd name="connsiteY26" fmla="*/ 93285 h 1898273"/>
                  <a:gd name="connsiteX27" fmla="*/ 519480 w 1167505"/>
                  <a:gd name="connsiteY27" fmla="*/ 3990 h 1898273"/>
                  <a:gd name="connsiteX28" fmla="*/ 705218 w 1167505"/>
                  <a:gd name="connsiteY28" fmla="*/ 10736 h 1898273"/>
                  <a:gd name="connsiteX29" fmla="*/ 943343 w 1167505"/>
                  <a:gd name="connsiteY29" fmla="*/ 121861 h 1898273"/>
                  <a:gd name="connsiteX30" fmla="*/ 1100505 w 1167505"/>
                  <a:gd name="connsiteY30" fmla="*/ 310773 h 1898273"/>
                  <a:gd name="connsiteX31" fmla="*/ 1162418 w 1167505"/>
                  <a:gd name="connsiteY31" fmla="*/ 513973 h 1898273"/>
                  <a:gd name="connsiteX32" fmla="*/ 1159243 w 1167505"/>
                  <a:gd name="connsiteY32" fmla="*/ 683836 h 1898273"/>
                  <a:gd name="connsiteX33" fmla="*/ 1090980 w 1167505"/>
                  <a:gd name="connsiteY33" fmla="*/ 890211 h 1898273"/>
                  <a:gd name="connsiteX34" fmla="*/ 957630 w 1167505"/>
                  <a:gd name="connsiteY34" fmla="*/ 1058486 h 1898273"/>
                  <a:gd name="connsiteX35" fmla="*/ 914768 w 1167505"/>
                  <a:gd name="connsiteY35" fmla="*/ 1118811 h 1898273"/>
                  <a:gd name="connsiteX36" fmla="*/ 905243 w 1167505"/>
                  <a:gd name="connsiteY36" fmla="*/ 1175961 h 1898273"/>
                  <a:gd name="connsiteX37" fmla="*/ 905243 w 1167505"/>
                  <a:gd name="connsiteY37" fmla="*/ 1264861 h 1898273"/>
                  <a:gd name="connsiteX38" fmla="*/ 868730 w 1167505"/>
                  <a:gd name="connsiteY38" fmla="*/ 1301373 h 1898273"/>
                  <a:gd name="connsiteX39" fmla="*/ 641718 w 1167505"/>
                  <a:gd name="connsiteY39" fmla="*/ 1301373 h 1898273"/>
                  <a:gd name="connsiteX40" fmla="*/ 590918 w 1167505"/>
                  <a:gd name="connsiteY40" fmla="*/ 1279148 h 1898273"/>
                  <a:gd name="connsiteX41" fmla="*/ 590918 w 1167505"/>
                  <a:gd name="connsiteY41" fmla="*/ 1212473 h 1898273"/>
                  <a:gd name="connsiteX0" fmla="*/ 584568 w 1167505"/>
                  <a:gd name="connsiteY0" fmla="*/ 1898273 h 1898273"/>
                  <a:gd name="connsiteX1" fmla="*/ 581393 w 1167505"/>
                  <a:gd name="connsiteY1" fmla="*/ 1768098 h 1898273"/>
                  <a:gd name="connsiteX2" fmla="*/ 508368 w 1167505"/>
                  <a:gd name="connsiteY2" fmla="*/ 1723648 h 1898273"/>
                  <a:gd name="connsiteX3" fmla="*/ 475030 w 1167505"/>
                  <a:gd name="connsiteY3" fmla="*/ 1683961 h 1898273"/>
                  <a:gd name="connsiteX4" fmla="*/ 505193 w 1167505"/>
                  <a:gd name="connsiteY4" fmla="*/ 1644273 h 1898273"/>
                  <a:gd name="connsiteX5" fmla="*/ 717918 w 1167505"/>
                  <a:gd name="connsiteY5" fmla="*/ 1644273 h 1898273"/>
                  <a:gd name="connsiteX6" fmla="*/ 746493 w 1167505"/>
                  <a:gd name="connsiteY6" fmla="*/ 1596648 h 1898273"/>
                  <a:gd name="connsiteX7" fmla="*/ 716330 w 1167505"/>
                  <a:gd name="connsiteY7" fmla="*/ 1560136 h 1898273"/>
                  <a:gd name="connsiteX8" fmla="*/ 398830 w 1167505"/>
                  <a:gd name="connsiteY8" fmla="*/ 1560136 h 1898273"/>
                  <a:gd name="connsiteX9" fmla="*/ 360730 w 1167505"/>
                  <a:gd name="connsiteY9" fmla="*/ 1522036 h 1898273"/>
                  <a:gd name="connsiteX10" fmla="*/ 382955 w 1167505"/>
                  <a:gd name="connsiteY10" fmla="*/ 1474411 h 1898273"/>
                  <a:gd name="connsiteX11" fmla="*/ 797293 w 1167505"/>
                  <a:gd name="connsiteY11" fmla="*/ 1474411 h 1898273"/>
                  <a:gd name="connsiteX12" fmla="*/ 830630 w 1167505"/>
                  <a:gd name="connsiteY12" fmla="*/ 1426786 h 1898273"/>
                  <a:gd name="connsiteX13" fmla="*/ 795705 w 1167505"/>
                  <a:gd name="connsiteY13" fmla="*/ 1383923 h 1898273"/>
                  <a:gd name="connsiteX14" fmla="*/ 386130 w 1167505"/>
                  <a:gd name="connsiteY14" fmla="*/ 1383923 h 1898273"/>
                  <a:gd name="connsiteX15" fmla="*/ 322630 w 1167505"/>
                  <a:gd name="connsiteY15" fmla="*/ 1352173 h 1898273"/>
                  <a:gd name="connsiteX16" fmla="*/ 283340 w 1167505"/>
                  <a:gd name="connsiteY16" fmla="*/ 1300183 h 1898273"/>
                  <a:gd name="connsiteX17" fmla="*/ 271830 w 1167505"/>
                  <a:gd name="connsiteY17" fmla="*/ 1207711 h 1898273"/>
                  <a:gd name="connsiteX18" fmla="*/ 260718 w 1167505"/>
                  <a:gd name="connsiteY18" fmla="*/ 1128336 h 1898273"/>
                  <a:gd name="connsiteX19" fmla="*/ 205155 w 1167505"/>
                  <a:gd name="connsiteY19" fmla="*/ 1037848 h 1898273"/>
                  <a:gd name="connsiteX20" fmla="*/ 130543 w 1167505"/>
                  <a:gd name="connsiteY20" fmla="*/ 955298 h 1898273"/>
                  <a:gd name="connsiteX21" fmla="*/ 55137 w 1167505"/>
                  <a:gd name="connsiteY21" fmla="*/ 845364 h 1898273"/>
                  <a:gd name="connsiteX22" fmla="*/ 13861 w 1167505"/>
                  <a:gd name="connsiteY22" fmla="*/ 735827 h 1898273"/>
                  <a:gd name="connsiteX23" fmla="*/ 368 w 1167505"/>
                  <a:gd name="connsiteY23" fmla="*/ 601286 h 1898273"/>
                  <a:gd name="connsiteX24" fmla="*/ 11480 w 1167505"/>
                  <a:gd name="connsiteY24" fmla="*/ 475873 h 1898273"/>
                  <a:gd name="connsiteX25" fmla="*/ 81330 w 1167505"/>
                  <a:gd name="connsiteY25" fmla="*/ 285373 h 1898273"/>
                  <a:gd name="connsiteX26" fmla="*/ 265480 w 1167505"/>
                  <a:gd name="connsiteY26" fmla="*/ 93285 h 1898273"/>
                  <a:gd name="connsiteX27" fmla="*/ 519480 w 1167505"/>
                  <a:gd name="connsiteY27" fmla="*/ 3990 h 1898273"/>
                  <a:gd name="connsiteX28" fmla="*/ 705218 w 1167505"/>
                  <a:gd name="connsiteY28" fmla="*/ 10736 h 1898273"/>
                  <a:gd name="connsiteX29" fmla="*/ 943343 w 1167505"/>
                  <a:gd name="connsiteY29" fmla="*/ 121861 h 1898273"/>
                  <a:gd name="connsiteX30" fmla="*/ 1100505 w 1167505"/>
                  <a:gd name="connsiteY30" fmla="*/ 310773 h 1898273"/>
                  <a:gd name="connsiteX31" fmla="*/ 1162418 w 1167505"/>
                  <a:gd name="connsiteY31" fmla="*/ 513973 h 1898273"/>
                  <a:gd name="connsiteX32" fmla="*/ 1159243 w 1167505"/>
                  <a:gd name="connsiteY32" fmla="*/ 683836 h 1898273"/>
                  <a:gd name="connsiteX33" fmla="*/ 1090980 w 1167505"/>
                  <a:gd name="connsiteY33" fmla="*/ 890211 h 1898273"/>
                  <a:gd name="connsiteX34" fmla="*/ 957630 w 1167505"/>
                  <a:gd name="connsiteY34" fmla="*/ 1058486 h 1898273"/>
                  <a:gd name="connsiteX35" fmla="*/ 914768 w 1167505"/>
                  <a:gd name="connsiteY35" fmla="*/ 1118811 h 1898273"/>
                  <a:gd name="connsiteX36" fmla="*/ 905243 w 1167505"/>
                  <a:gd name="connsiteY36" fmla="*/ 1175961 h 1898273"/>
                  <a:gd name="connsiteX37" fmla="*/ 905243 w 1167505"/>
                  <a:gd name="connsiteY37" fmla="*/ 1264861 h 1898273"/>
                  <a:gd name="connsiteX38" fmla="*/ 868730 w 1167505"/>
                  <a:gd name="connsiteY38" fmla="*/ 1301373 h 1898273"/>
                  <a:gd name="connsiteX39" fmla="*/ 641718 w 1167505"/>
                  <a:gd name="connsiteY39" fmla="*/ 1301373 h 1898273"/>
                  <a:gd name="connsiteX40" fmla="*/ 590918 w 1167505"/>
                  <a:gd name="connsiteY40" fmla="*/ 1279148 h 1898273"/>
                  <a:gd name="connsiteX41" fmla="*/ 590918 w 1167505"/>
                  <a:gd name="connsiteY41" fmla="*/ 1212473 h 1898273"/>
                  <a:gd name="connsiteX0" fmla="*/ 584568 w 1167505"/>
                  <a:gd name="connsiteY0" fmla="*/ 1898273 h 1898273"/>
                  <a:gd name="connsiteX1" fmla="*/ 581393 w 1167505"/>
                  <a:gd name="connsiteY1" fmla="*/ 1768098 h 1898273"/>
                  <a:gd name="connsiteX2" fmla="*/ 508368 w 1167505"/>
                  <a:gd name="connsiteY2" fmla="*/ 1723648 h 1898273"/>
                  <a:gd name="connsiteX3" fmla="*/ 475030 w 1167505"/>
                  <a:gd name="connsiteY3" fmla="*/ 1683961 h 1898273"/>
                  <a:gd name="connsiteX4" fmla="*/ 505193 w 1167505"/>
                  <a:gd name="connsiteY4" fmla="*/ 1644273 h 1898273"/>
                  <a:gd name="connsiteX5" fmla="*/ 717918 w 1167505"/>
                  <a:gd name="connsiteY5" fmla="*/ 1644273 h 1898273"/>
                  <a:gd name="connsiteX6" fmla="*/ 746493 w 1167505"/>
                  <a:gd name="connsiteY6" fmla="*/ 1596648 h 1898273"/>
                  <a:gd name="connsiteX7" fmla="*/ 716330 w 1167505"/>
                  <a:gd name="connsiteY7" fmla="*/ 1560136 h 1898273"/>
                  <a:gd name="connsiteX8" fmla="*/ 398830 w 1167505"/>
                  <a:gd name="connsiteY8" fmla="*/ 1560136 h 1898273"/>
                  <a:gd name="connsiteX9" fmla="*/ 360730 w 1167505"/>
                  <a:gd name="connsiteY9" fmla="*/ 1522036 h 1898273"/>
                  <a:gd name="connsiteX10" fmla="*/ 382955 w 1167505"/>
                  <a:gd name="connsiteY10" fmla="*/ 1474411 h 1898273"/>
                  <a:gd name="connsiteX11" fmla="*/ 797293 w 1167505"/>
                  <a:gd name="connsiteY11" fmla="*/ 1474411 h 1898273"/>
                  <a:gd name="connsiteX12" fmla="*/ 830630 w 1167505"/>
                  <a:gd name="connsiteY12" fmla="*/ 1426786 h 1898273"/>
                  <a:gd name="connsiteX13" fmla="*/ 795705 w 1167505"/>
                  <a:gd name="connsiteY13" fmla="*/ 1383923 h 1898273"/>
                  <a:gd name="connsiteX14" fmla="*/ 386130 w 1167505"/>
                  <a:gd name="connsiteY14" fmla="*/ 1383923 h 1898273"/>
                  <a:gd name="connsiteX15" fmla="*/ 322630 w 1167505"/>
                  <a:gd name="connsiteY15" fmla="*/ 1352173 h 1898273"/>
                  <a:gd name="connsiteX16" fmla="*/ 283340 w 1167505"/>
                  <a:gd name="connsiteY16" fmla="*/ 1300183 h 1898273"/>
                  <a:gd name="connsiteX17" fmla="*/ 271830 w 1167505"/>
                  <a:gd name="connsiteY17" fmla="*/ 1207711 h 1898273"/>
                  <a:gd name="connsiteX18" fmla="*/ 260718 w 1167505"/>
                  <a:gd name="connsiteY18" fmla="*/ 1128336 h 1898273"/>
                  <a:gd name="connsiteX19" fmla="*/ 205155 w 1167505"/>
                  <a:gd name="connsiteY19" fmla="*/ 1037848 h 1898273"/>
                  <a:gd name="connsiteX20" fmla="*/ 130543 w 1167505"/>
                  <a:gd name="connsiteY20" fmla="*/ 955298 h 1898273"/>
                  <a:gd name="connsiteX21" fmla="*/ 55137 w 1167505"/>
                  <a:gd name="connsiteY21" fmla="*/ 845364 h 1898273"/>
                  <a:gd name="connsiteX22" fmla="*/ 13861 w 1167505"/>
                  <a:gd name="connsiteY22" fmla="*/ 735827 h 1898273"/>
                  <a:gd name="connsiteX23" fmla="*/ 368 w 1167505"/>
                  <a:gd name="connsiteY23" fmla="*/ 601286 h 1898273"/>
                  <a:gd name="connsiteX24" fmla="*/ 11480 w 1167505"/>
                  <a:gd name="connsiteY24" fmla="*/ 475873 h 1898273"/>
                  <a:gd name="connsiteX25" fmla="*/ 81330 w 1167505"/>
                  <a:gd name="connsiteY25" fmla="*/ 285373 h 1898273"/>
                  <a:gd name="connsiteX26" fmla="*/ 265480 w 1167505"/>
                  <a:gd name="connsiteY26" fmla="*/ 93285 h 1898273"/>
                  <a:gd name="connsiteX27" fmla="*/ 519480 w 1167505"/>
                  <a:gd name="connsiteY27" fmla="*/ 3990 h 1898273"/>
                  <a:gd name="connsiteX28" fmla="*/ 705218 w 1167505"/>
                  <a:gd name="connsiteY28" fmla="*/ 10736 h 1898273"/>
                  <a:gd name="connsiteX29" fmla="*/ 943343 w 1167505"/>
                  <a:gd name="connsiteY29" fmla="*/ 121861 h 1898273"/>
                  <a:gd name="connsiteX30" fmla="*/ 1100505 w 1167505"/>
                  <a:gd name="connsiteY30" fmla="*/ 310773 h 1898273"/>
                  <a:gd name="connsiteX31" fmla="*/ 1162418 w 1167505"/>
                  <a:gd name="connsiteY31" fmla="*/ 513973 h 1898273"/>
                  <a:gd name="connsiteX32" fmla="*/ 1159243 w 1167505"/>
                  <a:gd name="connsiteY32" fmla="*/ 683836 h 1898273"/>
                  <a:gd name="connsiteX33" fmla="*/ 1090980 w 1167505"/>
                  <a:gd name="connsiteY33" fmla="*/ 890211 h 1898273"/>
                  <a:gd name="connsiteX34" fmla="*/ 957630 w 1167505"/>
                  <a:gd name="connsiteY34" fmla="*/ 1058486 h 1898273"/>
                  <a:gd name="connsiteX35" fmla="*/ 914768 w 1167505"/>
                  <a:gd name="connsiteY35" fmla="*/ 1118811 h 1898273"/>
                  <a:gd name="connsiteX36" fmla="*/ 905243 w 1167505"/>
                  <a:gd name="connsiteY36" fmla="*/ 1175961 h 1898273"/>
                  <a:gd name="connsiteX37" fmla="*/ 905243 w 1167505"/>
                  <a:gd name="connsiteY37" fmla="*/ 1264861 h 1898273"/>
                  <a:gd name="connsiteX38" fmla="*/ 868730 w 1167505"/>
                  <a:gd name="connsiteY38" fmla="*/ 1301373 h 1898273"/>
                  <a:gd name="connsiteX39" fmla="*/ 641718 w 1167505"/>
                  <a:gd name="connsiteY39" fmla="*/ 1301373 h 1898273"/>
                  <a:gd name="connsiteX40" fmla="*/ 590918 w 1167505"/>
                  <a:gd name="connsiteY40" fmla="*/ 1279148 h 1898273"/>
                  <a:gd name="connsiteX41" fmla="*/ 590918 w 1167505"/>
                  <a:gd name="connsiteY41" fmla="*/ 1212473 h 1898273"/>
                  <a:gd name="connsiteX0" fmla="*/ 584568 w 1170104"/>
                  <a:gd name="connsiteY0" fmla="*/ 1898273 h 1898273"/>
                  <a:gd name="connsiteX1" fmla="*/ 581393 w 1170104"/>
                  <a:gd name="connsiteY1" fmla="*/ 1768098 h 1898273"/>
                  <a:gd name="connsiteX2" fmla="*/ 508368 w 1170104"/>
                  <a:gd name="connsiteY2" fmla="*/ 1723648 h 1898273"/>
                  <a:gd name="connsiteX3" fmla="*/ 475030 w 1170104"/>
                  <a:gd name="connsiteY3" fmla="*/ 1683961 h 1898273"/>
                  <a:gd name="connsiteX4" fmla="*/ 505193 w 1170104"/>
                  <a:gd name="connsiteY4" fmla="*/ 1644273 h 1898273"/>
                  <a:gd name="connsiteX5" fmla="*/ 717918 w 1170104"/>
                  <a:gd name="connsiteY5" fmla="*/ 1644273 h 1898273"/>
                  <a:gd name="connsiteX6" fmla="*/ 746493 w 1170104"/>
                  <a:gd name="connsiteY6" fmla="*/ 1596648 h 1898273"/>
                  <a:gd name="connsiteX7" fmla="*/ 716330 w 1170104"/>
                  <a:gd name="connsiteY7" fmla="*/ 1560136 h 1898273"/>
                  <a:gd name="connsiteX8" fmla="*/ 398830 w 1170104"/>
                  <a:gd name="connsiteY8" fmla="*/ 1560136 h 1898273"/>
                  <a:gd name="connsiteX9" fmla="*/ 360730 w 1170104"/>
                  <a:gd name="connsiteY9" fmla="*/ 1522036 h 1898273"/>
                  <a:gd name="connsiteX10" fmla="*/ 382955 w 1170104"/>
                  <a:gd name="connsiteY10" fmla="*/ 1474411 h 1898273"/>
                  <a:gd name="connsiteX11" fmla="*/ 797293 w 1170104"/>
                  <a:gd name="connsiteY11" fmla="*/ 1474411 h 1898273"/>
                  <a:gd name="connsiteX12" fmla="*/ 830630 w 1170104"/>
                  <a:gd name="connsiteY12" fmla="*/ 1426786 h 1898273"/>
                  <a:gd name="connsiteX13" fmla="*/ 795705 w 1170104"/>
                  <a:gd name="connsiteY13" fmla="*/ 1383923 h 1898273"/>
                  <a:gd name="connsiteX14" fmla="*/ 386130 w 1170104"/>
                  <a:gd name="connsiteY14" fmla="*/ 1383923 h 1898273"/>
                  <a:gd name="connsiteX15" fmla="*/ 322630 w 1170104"/>
                  <a:gd name="connsiteY15" fmla="*/ 1352173 h 1898273"/>
                  <a:gd name="connsiteX16" fmla="*/ 283340 w 1170104"/>
                  <a:gd name="connsiteY16" fmla="*/ 1300183 h 1898273"/>
                  <a:gd name="connsiteX17" fmla="*/ 271830 w 1170104"/>
                  <a:gd name="connsiteY17" fmla="*/ 1207711 h 1898273"/>
                  <a:gd name="connsiteX18" fmla="*/ 260718 w 1170104"/>
                  <a:gd name="connsiteY18" fmla="*/ 1128336 h 1898273"/>
                  <a:gd name="connsiteX19" fmla="*/ 205155 w 1170104"/>
                  <a:gd name="connsiteY19" fmla="*/ 1037848 h 1898273"/>
                  <a:gd name="connsiteX20" fmla="*/ 130543 w 1170104"/>
                  <a:gd name="connsiteY20" fmla="*/ 955298 h 1898273"/>
                  <a:gd name="connsiteX21" fmla="*/ 55137 w 1170104"/>
                  <a:gd name="connsiteY21" fmla="*/ 845364 h 1898273"/>
                  <a:gd name="connsiteX22" fmla="*/ 13861 w 1170104"/>
                  <a:gd name="connsiteY22" fmla="*/ 735827 h 1898273"/>
                  <a:gd name="connsiteX23" fmla="*/ 368 w 1170104"/>
                  <a:gd name="connsiteY23" fmla="*/ 601286 h 1898273"/>
                  <a:gd name="connsiteX24" fmla="*/ 11480 w 1170104"/>
                  <a:gd name="connsiteY24" fmla="*/ 475873 h 1898273"/>
                  <a:gd name="connsiteX25" fmla="*/ 81330 w 1170104"/>
                  <a:gd name="connsiteY25" fmla="*/ 285373 h 1898273"/>
                  <a:gd name="connsiteX26" fmla="*/ 265480 w 1170104"/>
                  <a:gd name="connsiteY26" fmla="*/ 93285 h 1898273"/>
                  <a:gd name="connsiteX27" fmla="*/ 519480 w 1170104"/>
                  <a:gd name="connsiteY27" fmla="*/ 3990 h 1898273"/>
                  <a:gd name="connsiteX28" fmla="*/ 705218 w 1170104"/>
                  <a:gd name="connsiteY28" fmla="*/ 10736 h 1898273"/>
                  <a:gd name="connsiteX29" fmla="*/ 943343 w 1170104"/>
                  <a:gd name="connsiteY29" fmla="*/ 121861 h 1898273"/>
                  <a:gd name="connsiteX30" fmla="*/ 1100505 w 1170104"/>
                  <a:gd name="connsiteY30" fmla="*/ 310773 h 1898273"/>
                  <a:gd name="connsiteX31" fmla="*/ 1162418 w 1170104"/>
                  <a:gd name="connsiteY31" fmla="*/ 513973 h 1898273"/>
                  <a:gd name="connsiteX32" fmla="*/ 1165196 w 1170104"/>
                  <a:gd name="connsiteY32" fmla="*/ 683836 h 1898273"/>
                  <a:gd name="connsiteX33" fmla="*/ 1090980 w 1170104"/>
                  <a:gd name="connsiteY33" fmla="*/ 890211 h 1898273"/>
                  <a:gd name="connsiteX34" fmla="*/ 957630 w 1170104"/>
                  <a:gd name="connsiteY34" fmla="*/ 1058486 h 1898273"/>
                  <a:gd name="connsiteX35" fmla="*/ 914768 w 1170104"/>
                  <a:gd name="connsiteY35" fmla="*/ 1118811 h 1898273"/>
                  <a:gd name="connsiteX36" fmla="*/ 905243 w 1170104"/>
                  <a:gd name="connsiteY36" fmla="*/ 1175961 h 1898273"/>
                  <a:gd name="connsiteX37" fmla="*/ 905243 w 1170104"/>
                  <a:gd name="connsiteY37" fmla="*/ 1264861 h 1898273"/>
                  <a:gd name="connsiteX38" fmla="*/ 868730 w 1170104"/>
                  <a:gd name="connsiteY38" fmla="*/ 1301373 h 1898273"/>
                  <a:gd name="connsiteX39" fmla="*/ 641718 w 1170104"/>
                  <a:gd name="connsiteY39" fmla="*/ 1301373 h 1898273"/>
                  <a:gd name="connsiteX40" fmla="*/ 590918 w 1170104"/>
                  <a:gd name="connsiteY40" fmla="*/ 1279148 h 1898273"/>
                  <a:gd name="connsiteX41" fmla="*/ 590918 w 1170104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90980 w 1167899"/>
                  <a:gd name="connsiteY33" fmla="*/ 890211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90980 w 1167899"/>
                  <a:gd name="connsiteY33" fmla="*/ 890211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90980 w 1167899"/>
                  <a:gd name="connsiteY33" fmla="*/ 890211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2862 w 1167899"/>
                  <a:gd name="connsiteY37" fmla="*/ 1261289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0033 w 1167899"/>
                  <a:gd name="connsiteY2" fmla="*/ 1728411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0033 w 1167899"/>
                  <a:gd name="connsiteY2" fmla="*/ 1728411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9527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58014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58014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0487 w 1167899"/>
                  <a:gd name="connsiteY34" fmla="*/ 1054914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58014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9166"/>
                  <a:gd name="connsiteY0" fmla="*/ 1898273 h 1898273"/>
                  <a:gd name="connsiteX1" fmla="*/ 581393 w 1169166"/>
                  <a:gd name="connsiteY1" fmla="*/ 1768098 h 1898273"/>
                  <a:gd name="connsiteX2" fmla="*/ 513130 w 1169166"/>
                  <a:gd name="connsiteY2" fmla="*/ 1726030 h 1898273"/>
                  <a:gd name="connsiteX3" fmla="*/ 470268 w 1169166"/>
                  <a:gd name="connsiteY3" fmla="*/ 1680389 h 1898273"/>
                  <a:gd name="connsiteX4" fmla="*/ 505193 w 1169166"/>
                  <a:gd name="connsiteY4" fmla="*/ 1644273 h 1898273"/>
                  <a:gd name="connsiteX5" fmla="*/ 717918 w 1169166"/>
                  <a:gd name="connsiteY5" fmla="*/ 1644273 h 1898273"/>
                  <a:gd name="connsiteX6" fmla="*/ 748874 w 1169166"/>
                  <a:gd name="connsiteY6" fmla="*/ 1603792 h 1898273"/>
                  <a:gd name="connsiteX7" fmla="*/ 716330 w 1169166"/>
                  <a:gd name="connsiteY7" fmla="*/ 1561327 h 1898273"/>
                  <a:gd name="connsiteX8" fmla="*/ 398830 w 1169166"/>
                  <a:gd name="connsiteY8" fmla="*/ 1560136 h 1898273"/>
                  <a:gd name="connsiteX9" fmla="*/ 360730 w 1169166"/>
                  <a:gd name="connsiteY9" fmla="*/ 1522036 h 1898273"/>
                  <a:gd name="connsiteX10" fmla="*/ 387717 w 1169166"/>
                  <a:gd name="connsiteY10" fmla="*/ 1476793 h 1898273"/>
                  <a:gd name="connsiteX11" fmla="*/ 797293 w 1169166"/>
                  <a:gd name="connsiteY11" fmla="*/ 1474411 h 1898273"/>
                  <a:gd name="connsiteX12" fmla="*/ 828249 w 1169166"/>
                  <a:gd name="connsiteY12" fmla="*/ 1425595 h 1898273"/>
                  <a:gd name="connsiteX13" fmla="*/ 795705 w 1169166"/>
                  <a:gd name="connsiteY13" fmla="*/ 1383923 h 1898273"/>
                  <a:gd name="connsiteX14" fmla="*/ 386130 w 1169166"/>
                  <a:gd name="connsiteY14" fmla="*/ 1383923 h 1898273"/>
                  <a:gd name="connsiteX15" fmla="*/ 322630 w 1169166"/>
                  <a:gd name="connsiteY15" fmla="*/ 1352173 h 1898273"/>
                  <a:gd name="connsiteX16" fmla="*/ 283340 w 1169166"/>
                  <a:gd name="connsiteY16" fmla="*/ 1300183 h 1898273"/>
                  <a:gd name="connsiteX17" fmla="*/ 271830 w 1169166"/>
                  <a:gd name="connsiteY17" fmla="*/ 1207711 h 1898273"/>
                  <a:gd name="connsiteX18" fmla="*/ 255955 w 1169166"/>
                  <a:gd name="connsiteY18" fmla="*/ 1128336 h 1898273"/>
                  <a:gd name="connsiteX19" fmla="*/ 205155 w 1169166"/>
                  <a:gd name="connsiteY19" fmla="*/ 1037848 h 1898273"/>
                  <a:gd name="connsiteX20" fmla="*/ 130543 w 1169166"/>
                  <a:gd name="connsiteY20" fmla="*/ 955298 h 1898273"/>
                  <a:gd name="connsiteX21" fmla="*/ 55137 w 1169166"/>
                  <a:gd name="connsiteY21" fmla="*/ 845364 h 1898273"/>
                  <a:gd name="connsiteX22" fmla="*/ 13861 w 1169166"/>
                  <a:gd name="connsiteY22" fmla="*/ 735827 h 1898273"/>
                  <a:gd name="connsiteX23" fmla="*/ 368 w 1169166"/>
                  <a:gd name="connsiteY23" fmla="*/ 601286 h 1898273"/>
                  <a:gd name="connsiteX24" fmla="*/ 11480 w 1169166"/>
                  <a:gd name="connsiteY24" fmla="*/ 475873 h 1898273"/>
                  <a:gd name="connsiteX25" fmla="*/ 81330 w 1169166"/>
                  <a:gd name="connsiteY25" fmla="*/ 285373 h 1898273"/>
                  <a:gd name="connsiteX26" fmla="*/ 265480 w 1169166"/>
                  <a:gd name="connsiteY26" fmla="*/ 93285 h 1898273"/>
                  <a:gd name="connsiteX27" fmla="*/ 519480 w 1169166"/>
                  <a:gd name="connsiteY27" fmla="*/ 3990 h 1898273"/>
                  <a:gd name="connsiteX28" fmla="*/ 705218 w 1169166"/>
                  <a:gd name="connsiteY28" fmla="*/ 10736 h 1898273"/>
                  <a:gd name="connsiteX29" fmla="*/ 943343 w 1169166"/>
                  <a:gd name="connsiteY29" fmla="*/ 121861 h 1898273"/>
                  <a:gd name="connsiteX30" fmla="*/ 1100505 w 1169166"/>
                  <a:gd name="connsiteY30" fmla="*/ 310773 h 1898273"/>
                  <a:gd name="connsiteX31" fmla="*/ 1162418 w 1169166"/>
                  <a:gd name="connsiteY31" fmla="*/ 513973 h 1898273"/>
                  <a:gd name="connsiteX32" fmla="*/ 1165196 w 1169166"/>
                  <a:gd name="connsiteY32" fmla="*/ 683836 h 1898273"/>
                  <a:gd name="connsiteX33" fmla="*/ 1085027 w 1169166"/>
                  <a:gd name="connsiteY33" fmla="*/ 889020 h 1898273"/>
                  <a:gd name="connsiteX34" fmla="*/ 950487 w 1169166"/>
                  <a:gd name="connsiteY34" fmla="*/ 1054914 h 1898273"/>
                  <a:gd name="connsiteX35" fmla="*/ 914768 w 1169166"/>
                  <a:gd name="connsiteY35" fmla="*/ 1118811 h 1898273"/>
                  <a:gd name="connsiteX36" fmla="*/ 900480 w 1169166"/>
                  <a:gd name="connsiteY36" fmla="*/ 1177152 h 1898273"/>
                  <a:gd name="connsiteX37" fmla="*/ 898100 w 1169166"/>
                  <a:gd name="connsiteY37" fmla="*/ 1258908 h 1898273"/>
                  <a:gd name="connsiteX38" fmla="*/ 858014 w 1169166"/>
                  <a:gd name="connsiteY38" fmla="*/ 1301373 h 1898273"/>
                  <a:gd name="connsiteX39" fmla="*/ 641718 w 1169166"/>
                  <a:gd name="connsiteY39" fmla="*/ 1301373 h 1898273"/>
                  <a:gd name="connsiteX40" fmla="*/ 590918 w 1169166"/>
                  <a:gd name="connsiteY40" fmla="*/ 1279148 h 1898273"/>
                  <a:gd name="connsiteX41" fmla="*/ 590918 w 1169166"/>
                  <a:gd name="connsiteY41" fmla="*/ 1212473 h 1898273"/>
                  <a:gd name="connsiteX0" fmla="*/ 584568 w 1169166"/>
                  <a:gd name="connsiteY0" fmla="*/ 1898273 h 1898273"/>
                  <a:gd name="connsiteX1" fmla="*/ 581393 w 1169166"/>
                  <a:gd name="connsiteY1" fmla="*/ 1768098 h 1898273"/>
                  <a:gd name="connsiteX2" fmla="*/ 513130 w 1169166"/>
                  <a:gd name="connsiteY2" fmla="*/ 1726030 h 1898273"/>
                  <a:gd name="connsiteX3" fmla="*/ 470268 w 1169166"/>
                  <a:gd name="connsiteY3" fmla="*/ 1680389 h 1898273"/>
                  <a:gd name="connsiteX4" fmla="*/ 505193 w 1169166"/>
                  <a:gd name="connsiteY4" fmla="*/ 1644273 h 1898273"/>
                  <a:gd name="connsiteX5" fmla="*/ 717918 w 1169166"/>
                  <a:gd name="connsiteY5" fmla="*/ 1644273 h 1898273"/>
                  <a:gd name="connsiteX6" fmla="*/ 748874 w 1169166"/>
                  <a:gd name="connsiteY6" fmla="*/ 1603792 h 1898273"/>
                  <a:gd name="connsiteX7" fmla="*/ 716330 w 1169166"/>
                  <a:gd name="connsiteY7" fmla="*/ 1561327 h 1898273"/>
                  <a:gd name="connsiteX8" fmla="*/ 398830 w 1169166"/>
                  <a:gd name="connsiteY8" fmla="*/ 1560136 h 1898273"/>
                  <a:gd name="connsiteX9" fmla="*/ 360730 w 1169166"/>
                  <a:gd name="connsiteY9" fmla="*/ 1522036 h 1898273"/>
                  <a:gd name="connsiteX10" fmla="*/ 387717 w 1169166"/>
                  <a:gd name="connsiteY10" fmla="*/ 1476793 h 1898273"/>
                  <a:gd name="connsiteX11" fmla="*/ 797293 w 1169166"/>
                  <a:gd name="connsiteY11" fmla="*/ 1474411 h 1898273"/>
                  <a:gd name="connsiteX12" fmla="*/ 828249 w 1169166"/>
                  <a:gd name="connsiteY12" fmla="*/ 1425595 h 1898273"/>
                  <a:gd name="connsiteX13" fmla="*/ 795705 w 1169166"/>
                  <a:gd name="connsiteY13" fmla="*/ 1383923 h 1898273"/>
                  <a:gd name="connsiteX14" fmla="*/ 386130 w 1169166"/>
                  <a:gd name="connsiteY14" fmla="*/ 1383923 h 1898273"/>
                  <a:gd name="connsiteX15" fmla="*/ 322630 w 1169166"/>
                  <a:gd name="connsiteY15" fmla="*/ 1352173 h 1898273"/>
                  <a:gd name="connsiteX16" fmla="*/ 283340 w 1169166"/>
                  <a:gd name="connsiteY16" fmla="*/ 1300183 h 1898273"/>
                  <a:gd name="connsiteX17" fmla="*/ 271830 w 1169166"/>
                  <a:gd name="connsiteY17" fmla="*/ 1207711 h 1898273"/>
                  <a:gd name="connsiteX18" fmla="*/ 255955 w 1169166"/>
                  <a:gd name="connsiteY18" fmla="*/ 1128336 h 1898273"/>
                  <a:gd name="connsiteX19" fmla="*/ 205155 w 1169166"/>
                  <a:gd name="connsiteY19" fmla="*/ 1037848 h 1898273"/>
                  <a:gd name="connsiteX20" fmla="*/ 130543 w 1169166"/>
                  <a:gd name="connsiteY20" fmla="*/ 955298 h 1898273"/>
                  <a:gd name="connsiteX21" fmla="*/ 55137 w 1169166"/>
                  <a:gd name="connsiteY21" fmla="*/ 845364 h 1898273"/>
                  <a:gd name="connsiteX22" fmla="*/ 13861 w 1169166"/>
                  <a:gd name="connsiteY22" fmla="*/ 735827 h 1898273"/>
                  <a:gd name="connsiteX23" fmla="*/ 368 w 1169166"/>
                  <a:gd name="connsiteY23" fmla="*/ 601286 h 1898273"/>
                  <a:gd name="connsiteX24" fmla="*/ 11480 w 1169166"/>
                  <a:gd name="connsiteY24" fmla="*/ 475873 h 1898273"/>
                  <a:gd name="connsiteX25" fmla="*/ 81330 w 1169166"/>
                  <a:gd name="connsiteY25" fmla="*/ 285373 h 1898273"/>
                  <a:gd name="connsiteX26" fmla="*/ 265480 w 1169166"/>
                  <a:gd name="connsiteY26" fmla="*/ 93285 h 1898273"/>
                  <a:gd name="connsiteX27" fmla="*/ 519480 w 1169166"/>
                  <a:gd name="connsiteY27" fmla="*/ 3990 h 1898273"/>
                  <a:gd name="connsiteX28" fmla="*/ 705218 w 1169166"/>
                  <a:gd name="connsiteY28" fmla="*/ 10736 h 1898273"/>
                  <a:gd name="connsiteX29" fmla="*/ 943343 w 1169166"/>
                  <a:gd name="connsiteY29" fmla="*/ 121861 h 1898273"/>
                  <a:gd name="connsiteX30" fmla="*/ 1100505 w 1169166"/>
                  <a:gd name="connsiteY30" fmla="*/ 310773 h 1898273"/>
                  <a:gd name="connsiteX31" fmla="*/ 1162418 w 1169166"/>
                  <a:gd name="connsiteY31" fmla="*/ 513973 h 1898273"/>
                  <a:gd name="connsiteX32" fmla="*/ 1165196 w 1169166"/>
                  <a:gd name="connsiteY32" fmla="*/ 683836 h 1898273"/>
                  <a:gd name="connsiteX33" fmla="*/ 1085027 w 1169166"/>
                  <a:gd name="connsiteY33" fmla="*/ 889020 h 1898273"/>
                  <a:gd name="connsiteX34" fmla="*/ 950487 w 1169166"/>
                  <a:gd name="connsiteY34" fmla="*/ 1054914 h 1898273"/>
                  <a:gd name="connsiteX35" fmla="*/ 914768 w 1169166"/>
                  <a:gd name="connsiteY35" fmla="*/ 1118811 h 1898273"/>
                  <a:gd name="connsiteX36" fmla="*/ 900480 w 1169166"/>
                  <a:gd name="connsiteY36" fmla="*/ 1177152 h 1898273"/>
                  <a:gd name="connsiteX37" fmla="*/ 898100 w 1169166"/>
                  <a:gd name="connsiteY37" fmla="*/ 1258908 h 1898273"/>
                  <a:gd name="connsiteX38" fmla="*/ 858014 w 1169166"/>
                  <a:gd name="connsiteY38" fmla="*/ 1301373 h 1898273"/>
                  <a:gd name="connsiteX39" fmla="*/ 641718 w 1169166"/>
                  <a:gd name="connsiteY39" fmla="*/ 1301373 h 1898273"/>
                  <a:gd name="connsiteX40" fmla="*/ 590918 w 1169166"/>
                  <a:gd name="connsiteY40" fmla="*/ 1279148 h 1898273"/>
                  <a:gd name="connsiteX41" fmla="*/ 590918 w 1169166"/>
                  <a:gd name="connsiteY41" fmla="*/ 1212473 h 1898273"/>
                  <a:gd name="connsiteX0" fmla="*/ 584568 w 1170467"/>
                  <a:gd name="connsiteY0" fmla="*/ 1898273 h 1898273"/>
                  <a:gd name="connsiteX1" fmla="*/ 581393 w 1170467"/>
                  <a:gd name="connsiteY1" fmla="*/ 1768098 h 1898273"/>
                  <a:gd name="connsiteX2" fmla="*/ 513130 w 1170467"/>
                  <a:gd name="connsiteY2" fmla="*/ 1726030 h 1898273"/>
                  <a:gd name="connsiteX3" fmla="*/ 470268 w 1170467"/>
                  <a:gd name="connsiteY3" fmla="*/ 1680389 h 1898273"/>
                  <a:gd name="connsiteX4" fmla="*/ 505193 w 1170467"/>
                  <a:gd name="connsiteY4" fmla="*/ 1644273 h 1898273"/>
                  <a:gd name="connsiteX5" fmla="*/ 717918 w 1170467"/>
                  <a:gd name="connsiteY5" fmla="*/ 1644273 h 1898273"/>
                  <a:gd name="connsiteX6" fmla="*/ 748874 w 1170467"/>
                  <a:gd name="connsiteY6" fmla="*/ 1603792 h 1898273"/>
                  <a:gd name="connsiteX7" fmla="*/ 716330 w 1170467"/>
                  <a:gd name="connsiteY7" fmla="*/ 1561327 h 1898273"/>
                  <a:gd name="connsiteX8" fmla="*/ 398830 w 1170467"/>
                  <a:gd name="connsiteY8" fmla="*/ 1560136 h 1898273"/>
                  <a:gd name="connsiteX9" fmla="*/ 360730 w 1170467"/>
                  <a:gd name="connsiteY9" fmla="*/ 1522036 h 1898273"/>
                  <a:gd name="connsiteX10" fmla="*/ 387717 w 1170467"/>
                  <a:gd name="connsiteY10" fmla="*/ 1476793 h 1898273"/>
                  <a:gd name="connsiteX11" fmla="*/ 797293 w 1170467"/>
                  <a:gd name="connsiteY11" fmla="*/ 1474411 h 1898273"/>
                  <a:gd name="connsiteX12" fmla="*/ 828249 w 1170467"/>
                  <a:gd name="connsiteY12" fmla="*/ 1425595 h 1898273"/>
                  <a:gd name="connsiteX13" fmla="*/ 795705 w 1170467"/>
                  <a:gd name="connsiteY13" fmla="*/ 1383923 h 1898273"/>
                  <a:gd name="connsiteX14" fmla="*/ 386130 w 1170467"/>
                  <a:gd name="connsiteY14" fmla="*/ 1383923 h 1898273"/>
                  <a:gd name="connsiteX15" fmla="*/ 322630 w 1170467"/>
                  <a:gd name="connsiteY15" fmla="*/ 1352173 h 1898273"/>
                  <a:gd name="connsiteX16" fmla="*/ 283340 w 1170467"/>
                  <a:gd name="connsiteY16" fmla="*/ 1300183 h 1898273"/>
                  <a:gd name="connsiteX17" fmla="*/ 271830 w 1170467"/>
                  <a:gd name="connsiteY17" fmla="*/ 1207711 h 1898273"/>
                  <a:gd name="connsiteX18" fmla="*/ 255955 w 1170467"/>
                  <a:gd name="connsiteY18" fmla="*/ 1128336 h 1898273"/>
                  <a:gd name="connsiteX19" fmla="*/ 205155 w 1170467"/>
                  <a:gd name="connsiteY19" fmla="*/ 1037848 h 1898273"/>
                  <a:gd name="connsiteX20" fmla="*/ 130543 w 1170467"/>
                  <a:gd name="connsiteY20" fmla="*/ 955298 h 1898273"/>
                  <a:gd name="connsiteX21" fmla="*/ 55137 w 1170467"/>
                  <a:gd name="connsiteY21" fmla="*/ 845364 h 1898273"/>
                  <a:gd name="connsiteX22" fmla="*/ 13861 w 1170467"/>
                  <a:gd name="connsiteY22" fmla="*/ 735827 h 1898273"/>
                  <a:gd name="connsiteX23" fmla="*/ 368 w 1170467"/>
                  <a:gd name="connsiteY23" fmla="*/ 601286 h 1898273"/>
                  <a:gd name="connsiteX24" fmla="*/ 11480 w 1170467"/>
                  <a:gd name="connsiteY24" fmla="*/ 475873 h 1898273"/>
                  <a:gd name="connsiteX25" fmla="*/ 81330 w 1170467"/>
                  <a:gd name="connsiteY25" fmla="*/ 285373 h 1898273"/>
                  <a:gd name="connsiteX26" fmla="*/ 265480 w 1170467"/>
                  <a:gd name="connsiteY26" fmla="*/ 93285 h 1898273"/>
                  <a:gd name="connsiteX27" fmla="*/ 519480 w 1170467"/>
                  <a:gd name="connsiteY27" fmla="*/ 3990 h 1898273"/>
                  <a:gd name="connsiteX28" fmla="*/ 705218 w 1170467"/>
                  <a:gd name="connsiteY28" fmla="*/ 10736 h 1898273"/>
                  <a:gd name="connsiteX29" fmla="*/ 943343 w 1170467"/>
                  <a:gd name="connsiteY29" fmla="*/ 121861 h 1898273"/>
                  <a:gd name="connsiteX30" fmla="*/ 1100505 w 1170467"/>
                  <a:gd name="connsiteY30" fmla="*/ 310773 h 1898273"/>
                  <a:gd name="connsiteX31" fmla="*/ 1164799 w 1170467"/>
                  <a:gd name="connsiteY31" fmla="*/ 512783 h 1898273"/>
                  <a:gd name="connsiteX32" fmla="*/ 1165196 w 1170467"/>
                  <a:gd name="connsiteY32" fmla="*/ 683836 h 1898273"/>
                  <a:gd name="connsiteX33" fmla="*/ 1085027 w 1170467"/>
                  <a:gd name="connsiteY33" fmla="*/ 889020 h 1898273"/>
                  <a:gd name="connsiteX34" fmla="*/ 950487 w 1170467"/>
                  <a:gd name="connsiteY34" fmla="*/ 1054914 h 1898273"/>
                  <a:gd name="connsiteX35" fmla="*/ 914768 w 1170467"/>
                  <a:gd name="connsiteY35" fmla="*/ 1118811 h 1898273"/>
                  <a:gd name="connsiteX36" fmla="*/ 900480 w 1170467"/>
                  <a:gd name="connsiteY36" fmla="*/ 1177152 h 1898273"/>
                  <a:gd name="connsiteX37" fmla="*/ 898100 w 1170467"/>
                  <a:gd name="connsiteY37" fmla="*/ 1258908 h 1898273"/>
                  <a:gd name="connsiteX38" fmla="*/ 858014 w 1170467"/>
                  <a:gd name="connsiteY38" fmla="*/ 1301373 h 1898273"/>
                  <a:gd name="connsiteX39" fmla="*/ 641718 w 1170467"/>
                  <a:gd name="connsiteY39" fmla="*/ 1301373 h 1898273"/>
                  <a:gd name="connsiteX40" fmla="*/ 590918 w 1170467"/>
                  <a:gd name="connsiteY40" fmla="*/ 1279148 h 1898273"/>
                  <a:gd name="connsiteX41" fmla="*/ 590918 w 1170467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88142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170892" h="1898273">
                    <a:moveTo>
                      <a:pt x="584993" y="1898273"/>
                    </a:moveTo>
                    <a:cubicBezTo>
                      <a:pt x="583935" y="1854881"/>
                      <a:pt x="582876" y="1811490"/>
                      <a:pt x="581818" y="1768098"/>
                    </a:cubicBezTo>
                    <a:cubicBezTo>
                      <a:pt x="573352" y="1746931"/>
                      <a:pt x="562503" y="1729338"/>
                      <a:pt x="513555" y="1726030"/>
                    </a:cubicBezTo>
                    <a:cubicBezTo>
                      <a:pt x="487759" y="1721135"/>
                      <a:pt x="471487" y="1707906"/>
                      <a:pt x="470693" y="1680389"/>
                    </a:cubicBezTo>
                    <a:cubicBezTo>
                      <a:pt x="474793" y="1662398"/>
                      <a:pt x="478895" y="1650358"/>
                      <a:pt x="505618" y="1644273"/>
                    </a:cubicBezTo>
                    <a:lnTo>
                      <a:pt x="718343" y="1644273"/>
                    </a:lnTo>
                    <a:cubicBezTo>
                      <a:pt x="736202" y="1631970"/>
                      <a:pt x="744536" y="1626810"/>
                      <a:pt x="749299" y="1603792"/>
                    </a:cubicBezTo>
                    <a:cubicBezTo>
                      <a:pt x="745198" y="1586858"/>
                      <a:pt x="741097" y="1572308"/>
                      <a:pt x="716755" y="1561327"/>
                    </a:cubicBezTo>
                    <a:lnTo>
                      <a:pt x="399255" y="1560136"/>
                    </a:lnTo>
                    <a:cubicBezTo>
                      <a:pt x="375839" y="1555770"/>
                      <a:pt x="367902" y="1546642"/>
                      <a:pt x="361155" y="1522036"/>
                    </a:cubicBezTo>
                    <a:cubicBezTo>
                      <a:pt x="362610" y="1506161"/>
                      <a:pt x="365255" y="1491478"/>
                      <a:pt x="394095" y="1476793"/>
                    </a:cubicBezTo>
                    <a:lnTo>
                      <a:pt x="797718" y="1474411"/>
                    </a:lnTo>
                    <a:cubicBezTo>
                      <a:pt x="819546" y="1463299"/>
                      <a:pt x="827088" y="1449805"/>
                      <a:pt x="828674" y="1425595"/>
                    </a:cubicBezTo>
                    <a:cubicBezTo>
                      <a:pt x="824177" y="1402972"/>
                      <a:pt x="825632" y="1399402"/>
                      <a:pt x="796130" y="1383923"/>
                    </a:cubicBezTo>
                    <a:lnTo>
                      <a:pt x="386555" y="1383923"/>
                    </a:lnTo>
                    <a:cubicBezTo>
                      <a:pt x="360625" y="1374530"/>
                      <a:pt x="343031" y="1368709"/>
                      <a:pt x="323055" y="1352173"/>
                    </a:cubicBezTo>
                    <a:cubicBezTo>
                      <a:pt x="314721" y="1341193"/>
                      <a:pt x="295670" y="1327832"/>
                      <a:pt x="283765" y="1300183"/>
                    </a:cubicBezTo>
                    <a:cubicBezTo>
                      <a:pt x="275166" y="1267772"/>
                      <a:pt x="274901" y="1238932"/>
                      <a:pt x="272255" y="1207711"/>
                    </a:cubicBezTo>
                    <a:lnTo>
                      <a:pt x="256380" y="1128336"/>
                    </a:lnTo>
                    <a:cubicBezTo>
                      <a:pt x="240241" y="1093410"/>
                      <a:pt x="227673" y="1070392"/>
                      <a:pt x="205580" y="1037848"/>
                    </a:cubicBezTo>
                    <a:cubicBezTo>
                      <a:pt x="184281" y="1006760"/>
                      <a:pt x="162982" y="981625"/>
                      <a:pt x="130968" y="955298"/>
                    </a:cubicBezTo>
                    <a:cubicBezTo>
                      <a:pt x="101071" y="924606"/>
                      <a:pt x="77125" y="886771"/>
                      <a:pt x="55562" y="845364"/>
                    </a:cubicBezTo>
                    <a:cubicBezTo>
                      <a:pt x="23150" y="783054"/>
                      <a:pt x="26457" y="770752"/>
                      <a:pt x="14286" y="735827"/>
                    </a:cubicBezTo>
                    <a:cubicBezTo>
                      <a:pt x="6217" y="686615"/>
                      <a:pt x="1322" y="648911"/>
                      <a:pt x="793" y="601286"/>
                    </a:cubicBezTo>
                    <a:cubicBezTo>
                      <a:pt x="-265" y="557894"/>
                      <a:pt x="-2118" y="514502"/>
                      <a:pt x="9524" y="475873"/>
                    </a:cubicBezTo>
                    <a:cubicBezTo>
                      <a:pt x="20107" y="409198"/>
                      <a:pt x="44184" y="347286"/>
                      <a:pt x="81755" y="285373"/>
                    </a:cubicBezTo>
                    <a:cubicBezTo>
                      <a:pt x="130438" y="213406"/>
                      <a:pt x="185472" y="143027"/>
                      <a:pt x="265905" y="93285"/>
                    </a:cubicBezTo>
                    <a:cubicBezTo>
                      <a:pt x="333638" y="48306"/>
                      <a:pt x="420819" y="15632"/>
                      <a:pt x="519905" y="3990"/>
                    </a:cubicBezTo>
                    <a:cubicBezTo>
                      <a:pt x="584200" y="-2095"/>
                      <a:pt x="644921" y="-2228"/>
                      <a:pt x="705643" y="10736"/>
                    </a:cubicBezTo>
                    <a:cubicBezTo>
                      <a:pt x="805259" y="37062"/>
                      <a:pt x="872727" y="72912"/>
                      <a:pt x="943768" y="121861"/>
                    </a:cubicBezTo>
                    <a:cubicBezTo>
                      <a:pt x="1009252" y="178879"/>
                      <a:pt x="1058067" y="229942"/>
                      <a:pt x="1100930" y="310773"/>
                    </a:cubicBezTo>
                    <a:cubicBezTo>
                      <a:pt x="1137046" y="378506"/>
                      <a:pt x="1160063" y="439096"/>
                      <a:pt x="1165224" y="512783"/>
                    </a:cubicBezTo>
                    <a:cubicBezTo>
                      <a:pt x="1174881" y="568213"/>
                      <a:pt x="1170250" y="629597"/>
                      <a:pt x="1165621" y="683836"/>
                    </a:cubicBezTo>
                    <a:cubicBezTo>
                      <a:pt x="1151202" y="755009"/>
                      <a:pt x="1129637" y="822609"/>
                      <a:pt x="1085452" y="889020"/>
                    </a:cubicBezTo>
                    <a:cubicBezTo>
                      <a:pt x="1047749" y="946699"/>
                      <a:pt x="994569" y="992472"/>
                      <a:pt x="950912" y="1054914"/>
                    </a:cubicBezTo>
                    <a:cubicBezTo>
                      <a:pt x="937021" y="1078197"/>
                      <a:pt x="923130" y="1091956"/>
                      <a:pt x="915193" y="1118811"/>
                    </a:cubicBezTo>
                    <a:cubicBezTo>
                      <a:pt x="906065" y="1147386"/>
                      <a:pt x="904080" y="1158102"/>
                      <a:pt x="900905" y="1177152"/>
                    </a:cubicBezTo>
                    <a:cubicBezTo>
                      <a:pt x="898920" y="1217501"/>
                      <a:pt x="899319" y="1230465"/>
                      <a:pt x="898525" y="1258908"/>
                    </a:cubicBezTo>
                    <a:cubicBezTo>
                      <a:pt x="898260" y="1276635"/>
                      <a:pt x="886089" y="1291981"/>
                      <a:pt x="858439" y="1301373"/>
                    </a:cubicBezTo>
                    <a:lnTo>
                      <a:pt x="642143" y="1301373"/>
                    </a:lnTo>
                    <a:cubicBezTo>
                      <a:pt x="604968" y="1298728"/>
                      <a:pt x="601133" y="1297271"/>
                      <a:pt x="591343" y="1279148"/>
                    </a:cubicBezTo>
                    <a:lnTo>
                      <a:pt x="591343" y="1212473"/>
                    </a:lnTo>
                  </a:path>
                </a:pathLst>
              </a:custGeom>
              <a:noFill/>
              <a:ln w="25400" algn="ctr">
                <a:solidFill>
                  <a:schemeClr val="accent1"/>
                </a:solidFill>
                <a:miter lim="800000"/>
                <a:headEnd type="none" w="sm" len="sm"/>
                <a:tailEnd type="oval" w="sm" len="sm"/>
              </a:ln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3" name="Round Same Side Corner Rectangle 37">
                <a:extLst>
                  <a:ext uri="{FF2B5EF4-FFF2-40B4-BE49-F238E27FC236}">
                    <a16:creationId xmlns:a16="http://schemas.microsoft.com/office/drawing/2014/main" id="{7C79CCB0-6C8E-2F6A-3820-4BAA3E2D4ACD}"/>
                  </a:ext>
                </a:extLst>
              </p:cNvPr>
              <p:cNvSpPr/>
              <p:nvPr/>
            </p:nvSpPr>
            <p:spPr bwMode="gray">
              <a:xfrm>
                <a:off x="1289779" y="3495046"/>
                <a:ext cx="116350" cy="108039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3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4" name="Round Same Side Corner Rectangle 38">
                <a:extLst>
                  <a:ext uri="{FF2B5EF4-FFF2-40B4-BE49-F238E27FC236}">
                    <a16:creationId xmlns:a16="http://schemas.microsoft.com/office/drawing/2014/main" id="{0CDEB5A2-FC2D-2E74-EA4C-CF429C0B6EFE}"/>
                  </a:ext>
                </a:extLst>
              </p:cNvPr>
              <p:cNvSpPr/>
              <p:nvPr/>
            </p:nvSpPr>
            <p:spPr bwMode="gray">
              <a:xfrm flipV="1">
                <a:off x="1312850" y="3603085"/>
                <a:ext cx="21108" cy="45231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3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5" name="Round Same Side Corner Rectangle 39">
                <a:extLst>
                  <a:ext uri="{FF2B5EF4-FFF2-40B4-BE49-F238E27FC236}">
                    <a16:creationId xmlns:a16="http://schemas.microsoft.com/office/drawing/2014/main" id="{D64D665E-813B-20D7-10E3-B4C5ED06A745}"/>
                  </a:ext>
                </a:extLst>
              </p:cNvPr>
              <p:cNvSpPr/>
              <p:nvPr/>
            </p:nvSpPr>
            <p:spPr bwMode="gray">
              <a:xfrm flipV="1">
                <a:off x="1362714" y="3603085"/>
                <a:ext cx="21108" cy="45231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3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A262419-C779-E201-4B84-072EEFB8BA71}"/>
                  </a:ext>
                </a:extLst>
              </p:cNvPr>
              <p:cNvSpPr/>
              <p:nvPr/>
            </p:nvSpPr>
            <p:spPr bwMode="gray">
              <a:xfrm>
                <a:off x="1329954" y="3531065"/>
                <a:ext cx="36000" cy="36000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0C2D5C8-B641-9EDF-74D9-942AE21E1455}"/>
                </a:ext>
              </a:extLst>
            </p:cNvPr>
            <p:cNvGrpSpPr/>
            <p:nvPr/>
          </p:nvGrpSpPr>
          <p:grpSpPr>
            <a:xfrm>
              <a:off x="9317886" y="1475202"/>
              <a:ext cx="850454" cy="1406308"/>
              <a:chOff x="757805" y="1635343"/>
              <a:chExt cx="1185062" cy="2012973"/>
            </a:xfrm>
          </p:grpSpPr>
          <p:sp>
            <p:nvSpPr>
              <p:cNvPr id="30" name="Freeform 36">
                <a:extLst>
                  <a:ext uri="{FF2B5EF4-FFF2-40B4-BE49-F238E27FC236}">
                    <a16:creationId xmlns:a16="http://schemas.microsoft.com/office/drawing/2014/main" id="{444950EF-37A4-AC77-A2EA-E473899B4E48}"/>
                  </a:ext>
                </a:extLst>
              </p:cNvPr>
              <p:cNvSpPr/>
              <p:nvPr/>
            </p:nvSpPr>
            <p:spPr bwMode="gray">
              <a:xfrm>
                <a:off x="757805" y="1635343"/>
                <a:ext cx="1185062" cy="1921248"/>
              </a:xfrm>
              <a:custGeom>
                <a:avLst/>
                <a:gdLst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73050 w 1162050"/>
                  <a:gd name="connsiteY26" fmla="*/ 87312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73050 w 1162050"/>
                  <a:gd name="connsiteY26" fmla="*/ 87312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73050 w 1162050"/>
                  <a:gd name="connsiteY26" fmla="*/ 87312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200 w 1162050"/>
                  <a:gd name="connsiteY0" fmla="*/ 1890712 h 1890712"/>
                  <a:gd name="connsiteX1" fmla="*/ 581025 w 1162050"/>
                  <a:gd name="connsiteY1" fmla="*/ 1760537 h 1890712"/>
                  <a:gd name="connsiteX2" fmla="*/ 508000 w 1162050"/>
                  <a:gd name="connsiteY2" fmla="*/ 1716087 h 1890712"/>
                  <a:gd name="connsiteX3" fmla="*/ 474662 w 1162050"/>
                  <a:gd name="connsiteY3" fmla="*/ 1676400 h 1890712"/>
                  <a:gd name="connsiteX4" fmla="*/ 504825 w 1162050"/>
                  <a:gd name="connsiteY4" fmla="*/ 1636712 h 1890712"/>
                  <a:gd name="connsiteX5" fmla="*/ 717550 w 1162050"/>
                  <a:gd name="connsiteY5" fmla="*/ 1636712 h 1890712"/>
                  <a:gd name="connsiteX6" fmla="*/ 746125 w 1162050"/>
                  <a:gd name="connsiteY6" fmla="*/ 1589087 h 1890712"/>
                  <a:gd name="connsiteX7" fmla="*/ 715962 w 1162050"/>
                  <a:gd name="connsiteY7" fmla="*/ 1552575 h 1890712"/>
                  <a:gd name="connsiteX8" fmla="*/ 398462 w 1162050"/>
                  <a:gd name="connsiteY8" fmla="*/ 1552575 h 1890712"/>
                  <a:gd name="connsiteX9" fmla="*/ 360362 w 1162050"/>
                  <a:gd name="connsiteY9" fmla="*/ 1514475 h 1890712"/>
                  <a:gd name="connsiteX10" fmla="*/ 382587 w 1162050"/>
                  <a:gd name="connsiteY10" fmla="*/ 1466850 h 1890712"/>
                  <a:gd name="connsiteX11" fmla="*/ 796925 w 1162050"/>
                  <a:gd name="connsiteY11" fmla="*/ 1466850 h 1890712"/>
                  <a:gd name="connsiteX12" fmla="*/ 830262 w 1162050"/>
                  <a:gd name="connsiteY12" fmla="*/ 1419225 h 1890712"/>
                  <a:gd name="connsiteX13" fmla="*/ 795337 w 1162050"/>
                  <a:gd name="connsiteY13" fmla="*/ 1376362 h 1890712"/>
                  <a:gd name="connsiteX14" fmla="*/ 385762 w 1162050"/>
                  <a:gd name="connsiteY14" fmla="*/ 1376362 h 1890712"/>
                  <a:gd name="connsiteX15" fmla="*/ 322262 w 1162050"/>
                  <a:gd name="connsiteY15" fmla="*/ 1344612 h 1890712"/>
                  <a:gd name="connsiteX16" fmla="*/ 279400 w 1162050"/>
                  <a:gd name="connsiteY16" fmla="*/ 1293812 h 1890712"/>
                  <a:gd name="connsiteX17" fmla="*/ 271462 w 1162050"/>
                  <a:gd name="connsiteY17" fmla="*/ 1200150 h 1890712"/>
                  <a:gd name="connsiteX18" fmla="*/ 260350 w 1162050"/>
                  <a:gd name="connsiteY18" fmla="*/ 1120775 h 1890712"/>
                  <a:gd name="connsiteX19" fmla="*/ 204787 w 1162050"/>
                  <a:gd name="connsiteY19" fmla="*/ 1030287 h 1890712"/>
                  <a:gd name="connsiteX20" fmla="*/ 130175 w 1162050"/>
                  <a:gd name="connsiteY20" fmla="*/ 947737 h 1890712"/>
                  <a:gd name="connsiteX21" fmla="*/ 57150 w 1162050"/>
                  <a:gd name="connsiteY21" fmla="*/ 831850 h 1890712"/>
                  <a:gd name="connsiteX22" fmla="*/ 20637 w 1162050"/>
                  <a:gd name="connsiteY22" fmla="*/ 727075 h 1890712"/>
                  <a:gd name="connsiteX23" fmla="*/ 0 w 1162050"/>
                  <a:gd name="connsiteY23" fmla="*/ 593725 h 1890712"/>
                  <a:gd name="connsiteX24" fmla="*/ 11112 w 1162050"/>
                  <a:gd name="connsiteY24" fmla="*/ 468312 h 1890712"/>
                  <a:gd name="connsiteX25" fmla="*/ 80962 w 1162050"/>
                  <a:gd name="connsiteY25" fmla="*/ 277812 h 1890712"/>
                  <a:gd name="connsiteX26" fmla="*/ 265112 w 1162050"/>
                  <a:gd name="connsiteY26" fmla="*/ 85724 h 1890712"/>
                  <a:gd name="connsiteX27" fmla="*/ 519112 w 1162050"/>
                  <a:gd name="connsiteY27" fmla="*/ 0 h 1890712"/>
                  <a:gd name="connsiteX28" fmla="*/ 704850 w 1162050"/>
                  <a:gd name="connsiteY28" fmla="*/ 3175 h 1890712"/>
                  <a:gd name="connsiteX29" fmla="*/ 942975 w 1162050"/>
                  <a:gd name="connsiteY29" fmla="*/ 114300 h 1890712"/>
                  <a:gd name="connsiteX30" fmla="*/ 1100137 w 1162050"/>
                  <a:gd name="connsiteY30" fmla="*/ 303212 h 1890712"/>
                  <a:gd name="connsiteX31" fmla="*/ 1162050 w 1162050"/>
                  <a:gd name="connsiteY31" fmla="*/ 506412 h 1890712"/>
                  <a:gd name="connsiteX32" fmla="*/ 1158875 w 1162050"/>
                  <a:gd name="connsiteY32" fmla="*/ 676275 h 1890712"/>
                  <a:gd name="connsiteX33" fmla="*/ 1090612 w 1162050"/>
                  <a:gd name="connsiteY33" fmla="*/ 882650 h 1890712"/>
                  <a:gd name="connsiteX34" fmla="*/ 957262 w 1162050"/>
                  <a:gd name="connsiteY34" fmla="*/ 1050925 h 1890712"/>
                  <a:gd name="connsiteX35" fmla="*/ 914400 w 1162050"/>
                  <a:gd name="connsiteY35" fmla="*/ 1111250 h 1890712"/>
                  <a:gd name="connsiteX36" fmla="*/ 904875 w 1162050"/>
                  <a:gd name="connsiteY36" fmla="*/ 1168400 h 1890712"/>
                  <a:gd name="connsiteX37" fmla="*/ 904875 w 1162050"/>
                  <a:gd name="connsiteY37" fmla="*/ 1257300 h 1890712"/>
                  <a:gd name="connsiteX38" fmla="*/ 868362 w 1162050"/>
                  <a:gd name="connsiteY38" fmla="*/ 1293812 h 1890712"/>
                  <a:gd name="connsiteX39" fmla="*/ 641350 w 1162050"/>
                  <a:gd name="connsiteY39" fmla="*/ 1293812 h 1890712"/>
                  <a:gd name="connsiteX40" fmla="*/ 590550 w 1162050"/>
                  <a:gd name="connsiteY40" fmla="*/ 1271587 h 1890712"/>
                  <a:gd name="connsiteX41" fmla="*/ 590550 w 1162050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21005 w 1162418"/>
                  <a:gd name="connsiteY22" fmla="*/ 727075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7518 w 1162418"/>
                  <a:gd name="connsiteY21" fmla="*/ 831850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79768 w 1162418"/>
                  <a:gd name="connsiteY16" fmla="*/ 129381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0712 h 1890712"/>
                  <a:gd name="connsiteX1" fmla="*/ 581393 w 1162418"/>
                  <a:gd name="connsiteY1" fmla="*/ 1760537 h 1890712"/>
                  <a:gd name="connsiteX2" fmla="*/ 508368 w 1162418"/>
                  <a:gd name="connsiteY2" fmla="*/ 1716087 h 1890712"/>
                  <a:gd name="connsiteX3" fmla="*/ 475030 w 1162418"/>
                  <a:gd name="connsiteY3" fmla="*/ 1676400 h 1890712"/>
                  <a:gd name="connsiteX4" fmla="*/ 505193 w 1162418"/>
                  <a:gd name="connsiteY4" fmla="*/ 1636712 h 1890712"/>
                  <a:gd name="connsiteX5" fmla="*/ 717918 w 1162418"/>
                  <a:gd name="connsiteY5" fmla="*/ 1636712 h 1890712"/>
                  <a:gd name="connsiteX6" fmla="*/ 746493 w 1162418"/>
                  <a:gd name="connsiteY6" fmla="*/ 1589087 h 1890712"/>
                  <a:gd name="connsiteX7" fmla="*/ 716330 w 1162418"/>
                  <a:gd name="connsiteY7" fmla="*/ 1552575 h 1890712"/>
                  <a:gd name="connsiteX8" fmla="*/ 398830 w 1162418"/>
                  <a:gd name="connsiteY8" fmla="*/ 1552575 h 1890712"/>
                  <a:gd name="connsiteX9" fmla="*/ 360730 w 1162418"/>
                  <a:gd name="connsiteY9" fmla="*/ 1514475 h 1890712"/>
                  <a:gd name="connsiteX10" fmla="*/ 382955 w 1162418"/>
                  <a:gd name="connsiteY10" fmla="*/ 1466850 h 1890712"/>
                  <a:gd name="connsiteX11" fmla="*/ 797293 w 1162418"/>
                  <a:gd name="connsiteY11" fmla="*/ 1466850 h 1890712"/>
                  <a:gd name="connsiteX12" fmla="*/ 830630 w 1162418"/>
                  <a:gd name="connsiteY12" fmla="*/ 1419225 h 1890712"/>
                  <a:gd name="connsiteX13" fmla="*/ 795705 w 1162418"/>
                  <a:gd name="connsiteY13" fmla="*/ 1376362 h 1890712"/>
                  <a:gd name="connsiteX14" fmla="*/ 386130 w 1162418"/>
                  <a:gd name="connsiteY14" fmla="*/ 1376362 h 1890712"/>
                  <a:gd name="connsiteX15" fmla="*/ 322630 w 1162418"/>
                  <a:gd name="connsiteY15" fmla="*/ 1344612 h 1890712"/>
                  <a:gd name="connsiteX16" fmla="*/ 283340 w 1162418"/>
                  <a:gd name="connsiteY16" fmla="*/ 1292622 h 1890712"/>
                  <a:gd name="connsiteX17" fmla="*/ 271830 w 1162418"/>
                  <a:gd name="connsiteY17" fmla="*/ 1200150 h 1890712"/>
                  <a:gd name="connsiteX18" fmla="*/ 260718 w 1162418"/>
                  <a:gd name="connsiteY18" fmla="*/ 1120775 h 1890712"/>
                  <a:gd name="connsiteX19" fmla="*/ 205155 w 1162418"/>
                  <a:gd name="connsiteY19" fmla="*/ 1030287 h 1890712"/>
                  <a:gd name="connsiteX20" fmla="*/ 130543 w 1162418"/>
                  <a:gd name="connsiteY20" fmla="*/ 947737 h 1890712"/>
                  <a:gd name="connsiteX21" fmla="*/ 55137 w 1162418"/>
                  <a:gd name="connsiteY21" fmla="*/ 837803 h 1890712"/>
                  <a:gd name="connsiteX22" fmla="*/ 13861 w 1162418"/>
                  <a:gd name="connsiteY22" fmla="*/ 728266 h 1890712"/>
                  <a:gd name="connsiteX23" fmla="*/ 368 w 1162418"/>
                  <a:gd name="connsiteY23" fmla="*/ 593725 h 1890712"/>
                  <a:gd name="connsiteX24" fmla="*/ 11480 w 1162418"/>
                  <a:gd name="connsiteY24" fmla="*/ 468312 h 1890712"/>
                  <a:gd name="connsiteX25" fmla="*/ 81330 w 1162418"/>
                  <a:gd name="connsiteY25" fmla="*/ 277812 h 1890712"/>
                  <a:gd name="connsiteX26" fmla="*/ 265480 w 1162418"/>
                  <a:gd name="connsiteY26" fmla="*/ 85724 h 1890712"/>
                  <a:gd name="connsiteX27" fmla="*/ 519480 w 1162418"/>
                  <a:gd name="connsiteY27" fmla="*/ 0 h 1890712"/>
                  <a:gd name="connsiteX28" fmla="*/ 705218 w 1162418"/>
                  <a:gd name="connsiteY28" fmla="*/ 3175 h 1890712"/>
                  <a:gd name="connsiteX29" fmla="*/ 943343 w 1162418"/>
                  <a:gd name="connsiteY29" fmla="*/ 114300 h 1890712"/>
                  <a:gd name="connsiteX30" fmla="*/ 1100505 w 1162418"/>
                  <a:gd name="connsiteY30" fmla="*/ 303212 h 1890712"/>
                  <a:gd name="connsiteX31" fmla="*/ 1162418 w 1162418"/>
                  <a:gd name="connsiteY31" fmla="*/ 506412 h 1890712"/>
                  <a:gd name="connsiteX32" fmla="*/ 1159243 w 1162418"/>
                  <a:gd name="connsiteY32" fmla="*/ 676275 h 1890712"/>
                  <a:gd name="connsiteX33" fmla="*/ 1090980 w 1162418"/>
                  <a:gd name="connsiteY33" fmla="*/ 882650 h 1890712"/>
                  <a:gd name="connsiteX34" fmla="*/ 957630 w 1162418"/>
                  <a:gd name="connsiteY34" fmla="*/ 1050925 h 1890712"/>
                  <a:gd name="connsiteX35" fmla="*/ 914768 w 1162418"/>
                  <a:gd name="connsiteY35" fmla="*/ 1111250 h 1890712"/>
                  <a:gd name="connsiteX36" fmla="*/ 905243 w 1162418"/>
                  <a:gd name="connsiteY36" fmla="*/ 1168400 h 1890712"/>
                  <a:gd name="connsiteX37" fmla="*/ 905243 w 1162418"/>
                  <a:gd name="connsiteY37" fmla="*/ 1257300 h 1890712"/>
                  <a:gd name="connsiteX38" fmla="*/ 868730 w 1162418"/>
                  <a:gd name="connsiteY38" fmla="*/ 1293812 h 1890712"/>
                  <a:gd name="connsiteX39" fmla="*/ 641718 w 1162418"/>
                  <a:gd name="connsiteY39" fmla="*/ 1293812 h 1890712"/>
                  <a:gd name="connsiteX40" fmla="*/ 590918 w 1162418"/>
                  <a:gd name="connsiteY40" fmla="*/ 1271587 h 1890712"/>
                  <a:gd name="connsiteX41" fmla="*/ 590918 w 1162418"/>
                  <a:gd name="connsiteY41" fmla="*/ 1204912 h 1890712"/>
                  <a:gd name="connsiteX0" fmla="*/ 584568 w 1162418"/>
                  <a:gd name="connsiteY0" fmla="*/ 1892938 h 1892938"/>
                  <a:gd name="connsiteX1" fmla="*/ 581393 w 1162418"/>
                  <a:gd name="connsiteY1" fmla="*/ 1762763 h 1892938"/>
                  <a:gd name="connsiteX2" fmla="*/ 508368 w 1162418"/>
                  <a:gd name="connsiteY2" fmla="*/ 1718313 h 1892938"/>
                  <a:gd name="connsiteX3" fmla="*/ 475030 w 1162418"/>
                  <a:gd name="connsiteY3" fmla="*/ 1678626 h 1892938"/>
                  <a:gd name="connsiteX4" fmla="*/ 505193 w 1162418"/>
                  <a:gd name="connsiteY4" fmla="*/ 1638938 h 1892938"/>
                  <a:gd name="connsiteX5" fmla="*/ 717918 w 1162418"/>
                  <a:gd name="connsiteY5" fmla="*/ 1638938 h 1892938"/>
                  <a:gd name="connsiteX6" fmla="*/ 746493 w 1162418"/>
                  <a:gd name="connsiteY6" fmla="*/ 1591313 h 1892938"/>
                  <a:gd name="connsiteX7" fmla="*/ 716330 w 1162418"/>
                  <a:gd name="connsiteY7" fmla="*/ 1554801 h 1892938"/>
                  <a:gd name="connsiteX8" fmla="*/ 398830 w 1162418"/>
                  <a:gd name="connsiteY8" fmla="*/ 1554801 h 1892938"/>
                  <a:gd name="connsiteX9" fmla="*/ 360730 w 1162418"/>
                  <a:gd name="connsiteY9" fmla="*/ 1516701 h 1892938"/>
                  <a:gd name="connsiteX10" fmla="*/ 382955 w 1162418"/>
                  <a:gd name="connsiteY10" fmla="*/ 1469076 h 1892938"/>
                  <a:gd name="connsiteX11" fmla="*/ 797293 w 1162418"/>
                  <a:gd name="connsiteY11" fmla="*/ 1469076 h 1892938"/>
                  <a:gd name="connsiteX12" fmla="*/ 830630 w 1162418"/>
                  <a:gd name="connsiteY12" fmla="*/ 1421451 h 1892938"/>
                  <a:gd name="connsiteX13" fmla="*/ 795705 w 1162418"/>
                  <a:gd name="connsiteY13" fmla="*/ 1378588 h 1892938"/>
                  <a:gd name="connsiteX14" fmla="*/ 386130 w 1162418"/>
                  <a:gd name="connsiteY14" fmla="*/ 1378588 h 1892938"/>
                  <a:gd name="connsiteX15" fmla="*/ 322630 w 1162418"/>
                  <a:gd name="connsiteY15" fmla="*/ 1346838 h 1892938"/>
                  <a:gd name="connsiteX16" fmla="*/ 283340 w 1162418"/>
                  <a:gd name="connsiteY16" fmla="*/ 1294848 h 1892938"/>
                  <a:gd name="connsiteX17" fmla="*/ 271830 w 1162418"/>
                  <a:gd name="connsiteY17" fmla="*/ 1202376 h 1892938"/>
                  <a:gd name="connsiteX18" fmla="*/ 260718 w 1162418"/>
                  <a:gd name="connsiteY18" fmla="*/ 1123001 h 1892938"/>
                  <a:gd name="connsiteX19" fmla="*/ 205155 w 1162418"/>
                  <a:gd name="connsiteY19" fmla="*/ 1032513 h 1892938"/>
                  <a:gd name="connsiteX20" fmla="*/ 130543 w 1162418"/>
                  <a:gd name="connsiteY20" fmla="*/ 949963 h 1892938"/>
                  <a:gd name="connsiteX21" fmla="*/ 55137 w 1162418"/>
                  <a:gd name="connsiteY21" fmla="*/ 840029 h 1892938"/>
                  <a:gd name="connsiteX22" fmla="*/ 13861 w 1162418"/>
                  <a:gd name="connsiteY22" fmla="*/ 730492 h 1892938"/>
                  <a:gd name="connsiteX23" fmla="*/ 368 w 1162418"/>
                  <a:gd name="connsiteY23" fmla="*/ 595951 h 1892938"/>
                  <a:gd name="connsiteX24" fmla="*/ 11480 w 1162418"/>
                  <a:gd name="connsiteY24" fmla="*/ 470538 h 1892938"/>
                  <a:gd name="connsiteX25" fmla="*/ 81330 w 1162418"/>
                  <a:gd name="connsiteY25" fmla="*/ 280038 h 1892938"/>
                  <a:gd name="connsiteX26" fmla="*/ 265480 w 1162418"/>
                  <a:gd name="connsiteY26" fmla="*/ 87950 h 1892938"/>
                  <a:gd name="connsiteX27" fmla="*/ 519480 w 1162418"/>
                  <a:gd name="connsiteY27" fmla="*/ 2226 h 1892938"/>
                  <a:gd name="connsiteX28" fmla="*/ 705218 w 1162418"/>
                  <a:gd name="connsiteY28" fmla="*/ 5401 h 1892938"/>
                  <a:gd name="connsiteX29" fmla="*/ 943343 w 1162418"/>
                  <a:gd name="connsiteY29" fmla="*/ 116526 h 1892938"/>
                  <a:gd name="connsiteX30" fmla="*/ 1100505 w 1162418"/>
                  <a:gd name="connsiteY30" fmla="*/ 305438 h 1892938"/>
                  <a:gd name="connsiteX31" fmla="*/ 1162418 w 1162418"/>
                  <a:gd name="connsiteY31" fmla="*/ 508638 h 1892938"/>
                  <a:gd name="connsiteX32" fmla="*/ 1159243 w 1162418"/>
                  <a:gd name="connsiteY32" fmla="*/ 678501 h 1892938"/>
                  <a:gd name="connsiteX33" fmla="*/ 1090980 w 1162418"/>
                  <a:gd name="connsiteY33" fmla="*/ 884876 h 1892938"/>
                  <a:gd name="connsiteX34" fmla="*/ 957630 w 1162418"/>
                  <a:gd name="connsiteY34" fmla="*/ 1053151 h 1892938"/>
                  <a:gd name="connsiteX35" fmla="*/ 914768 w 1162418"/>
                  <a:gd name="connsiteY35" fmla="*/ 1113476 h 1892938"/>
                  <a:gd name="connsiteX36" fmla="*/ 905243 w 1162418"/>
                  <a:gd name="connsiteY36" fmla="*/ 1170626 h 1892938"/>
                  <a:gd name="connsiteX37" fmla="*/ 905243 w 1162418"/>
                  <a:gd name="connsiteY37" fmla="*/ 1259526 h 1892938"/>
                  <a:gd name="connsiteX38" fmla="*/ 868730 w 1162418"/>
                  <a:gd name="connsiteY38" fmla="*/ 1296038 h 1892938"/>
                  <a:gd name="connsiteX39" fmla="*/ 641718 w 1162418"/>
                  <a:gd name="connsiteY39" fmla="*/ 1296038 h 1892938"/>
                  <a:gd name="connsiteX40" fmla="*/ 590918 w 1162418"/>
                  <a:gd name="connsiteY40" fmla="*/ 1273813 h 1892938"/>
                  <a:gd name="connsiteX41" fmla="*/ 590918 w 1162418"/>
                  <a:gd name="connsiteY41" fmla="*/ 1207138 h 1892938"/>
                  <a:gd name="connsiteX0" fmla="*/ 584568 w 1162418"/>
                  <a:gd name="connsiteY0" fmla="*/ 1895823 h 1895823"/>
                  <a:gd name="connsiteX1" fmla="*/ 581393 w 1162418"/>
                  <a:gd name="connsiteY1" fmla="*/ 1765648 h 1895823"/>
                  <a:gd name="connsiteX2" fmla="*/ 508368 w 1162418"/>
                  <a:gd name="connsiteY2" fmla="*/ 1721198 h 1895823"/>
                  <a:gd name="connsiteX3" fmla="*/ 475030 w 1162418"/>
                  <a:gd name="connsiteY3" fmla="*/ 1681511 h 1895823"/>
                  <a:gd name="connsiteX4" fmla="*/ 505193 w 1162418"/>
                  <a:gd name="connsiteY4" fmla="*/ 1641823 h 1895823"/>
                  <a:gd name="connsiteX5" fmla="*/ 717918 w 1162418"/>
                  <a:gd name="connsiteY5" fmla="*/ 1641823 h 1895823"/>
                  <a:gd name="connsiteX6" fmla="*/ 746493 w 1162418"/>
                  <a:gd name="connsiteY6" fmla="*/ 1594198 h 1895823"/>
                  <a:gd name="connsiteX7" fmla="*/ 716330 w 1162418"/>
                  <a:gd name="connsiteY7" fmla="*/ 1557686 h 1895823"/>
                  <a:gd name="connsiteX8" fmla="*/ 398830 w 1162418"/>
                  <a:gd name="connsiteY8" fmla="*/ 1557686 h 1895823"/>
                  <a:gd name="connsiteX9" fmla="*/ 360730 w 1162418"/>
                  <a:gd name="connsiteY9" fmla="*/ 1519586 h 1895823"/>
                  <a:gd name="connsiteX10" fmla="*/ 382955 w 1162418"/>
                  <a:gd name="connsiteY10" fmla="*/ 1471961 h 1895823"/>
                  <a:gd name="connsiteX11" fmla="*/ 797293 w 1162418"/>
                  <a:gd name="connsiteY11" fmla="*/ 1471961 h 1895823"/>
                  <a:gd name="connsiteX12" fmla="*/ 830630 w 1162418"/>
                  <a:gd name="connsiteY12" fmla="*/ 1424336 h 1895823"/>
                  <a:gd name="connsiteX13" fmla="*/ 795705 w 1162418"/>
                  <a:gd name="connsiteY13" fmla="*/ 1381473 h 1895823"/>
                  <a:gd name="connsiteX14" fmla="*/ 386130 w 1162418"/>
                  <a:gd name="connsiteY14" fmla="*/ 1381473 h 1895823"/>
                  <a:gd name="connsiteX15" fmla="*/ 322630 w 1162418"/>
                  <a:gd name="connsiteY15" fmla="*/ 1349723 h 1895823"/>
                  <a:gd name="connsiteX16" fmla="*/ 283340 w 1162418"/>
                  <a:gd name="connsiteY16" fmla="*/ 1297733 h 1895823"/>
                  <a:gd name="connsiteX17" fmla="*/ 271830 w 1162418"/>
                  <a:gd name="connsiteY17" fmla="*/ 1205261 h 1895823"/>
                  <a:gd name="connsiteX18" fmla="*/ 260718 w 1162418"/>
                  <a:gd name="connsiteY18" fmla="*/ 1125886 h 1895823"/>
                  <a:gd name="connsiteX19" fmla="*/ 205155 w 1162418"/>
                  <a:gd name="connsiteY19" fmla="*/ 1035398 h 1895823"/>
                  <a:gd name="connsiteX20" fmla="*/ 130543 w 1162418"/>
                  <a:gd name="connsiteY20" fmla="*/ 952848 h 1895823"/>
                  <a:gd name="connsiteX21" fmla="*/ 55137 w 1162418"/>
                  <a:gd name="connsiteY21" fmla="*/ 842914 h 1895823"/>
                  <a:gd name="connsiteX22" fmla="*/ 13861 w 1162418"/>
                  <a:gd name="connsiteY22" fmla="*/ 733377 h 1895823"/>
                  <a:gd name="connsiteX23" fmla="*/ 368 w 1162418"/>
                  <a:gd name="connsiteY23" fmla="*/ 598836 h 1895823"/>
                  <a:gd name="connsiteX24" fmla="*/ 11480 w 1162418"/>
                  <a:gd name="connsiteY24" fmla="*/ 473423 h 1895823"/>
                  <a:gd name="connsiteX25" fmla="*/ 81330 w 1162418"/>
                  <a:gd name="connsiteY25" fmla="*/ 282923 h 1895823"/>
                  <a:gd name="connsiteX26" fmla="*/ 265480 w 1162418"/>
                  <a:gd name="connsiteY26" fmla="*/ 90835 h 1895823"/>
                  <a:gd name="connsiteX27" fmla="*/ 519480 w 1162418"/>
                  <a:gd name="connsiteY27" fmla="*/ 5111 h 1895823"/>
                  <a:gd name="connsiteX28" fmla="*/ 705218 w 1162418"/>
                  <a:gd name="connsiteY28" fmla="*/ 8286 h 1895823"/>
                  <a:gd name="connsiteX29" fmla="*/ 943343 w 1162418"/>
                  <a:gd name="connsiteY29" fmla="*/ 119411 h 1895823"/>
                  <a:gd name="connsiteX30" fmla="*/ 1100505 w 1162418"/>
                  <a:gd name="connsiteY30" fmla="*/ 308323 h 1895823"/>
                  <a:gd name="connsiteX31" fmla="*/ 1162418 w 1162418"/>
                  <a:gd name="connsiteY31" fmla="*/ 511523 h 1895823"/>
                  <a:gd name="connsiteX32" fmla="*/ 1159243 w 1162418"/>
                  <a:gd name="connsiteY32" fmla="*/ 681386 h 1895823"/>
                  <a:gd name="connsiteX33" fmla="*/ 1090980 w 1162418"/>
                  <a:gd name="connsiteY33" fmla="*/ 887761 h 1895823"/>
                  <a:gd name="connsiteX34" fmla="*/ 957630 w 1162418"/>
                  <a:gd name="connsiteY34" fmla="*/ 1056036 h 1895823"/>
                  <a:gd name="connsiteX35" fmla="*/ 914768 w 1162418"/>
                  <a:gd name="connsiteY35" fmla="*/ 1116361 h 1895823"/>
                  <a:gd name="connsiteX36" fmla="*/ 905243 w 1162418"/>
                  <a:gd name="connsiteY36" fmla="*/ 1173511 h 1895823"/>
                  <a:gd name="connsiteX37" fmla="*/ 905243 w 1162418"/>
                  <a:gd name="connsiteY37" fmla="*/ 1262411 h 1895823"/>
                  <a:gd name="connsiteX38" fmla="*/ 868730 w 1162418"/>
                  <a:gd name="connsiteY38" fmla="*/ 1298923 h 1895823"/>
                  <a:gd name="connsiteX39" fmla="*/ 641718 w 1162418"/>
                  <a:gd name="connsiteY39" fmla="*/ 1298923 h 1895823"/>
                  <a:gd name="connsiteX40" fmla="*/ 590918 w 1162418"/>
                  <a:gd name="connsiteY40" fmla="*/ 1276698 h 1895823"/>
                  <a:gd name="connsiteX41" fmla="*/ 590918 w 1162418"/>
                  <a:gd name="connsiteY41" fmla="*/ 1210023 h 1895823"/>
                  <a:gd name="connsiteX0" fmla="*/ 584568 w 1162418"/>
                  <a:gd name="connsiteY0" fmla="*/ 1897931 h 1897931"/>
                  <a:gd name="connsiteX1" fmla="*/ 581393 w 1162418"/>
                  <a:gd name="connsiteY1" fmla="*/ 1767756 h 1897931"/>
                  <a:gd name="connsiteX2" fmla="*/ 508368 w 1162418"/>
                  <a:gd name="connsiteY2" fmla="*/ 1723306 h 1897931"/>
                  <a:gd name="connsiteX3" fmla="*/ 475030 w 1162418"/>
                  <a:gd name="connsiteY3" fmla="*/ 1683619 h 1897931"/>
                  <a:gd name="connsiteX4" fmla="*/ 505193 w 1162418"/>
                  <a:gd name="connsiteY4" fmla="*/ 1643931 h 1897931"/>
                  <a:gd name="connsiteX5" fmla="*/ 717918 w 1162418"/>
                  <a:gd name="connsiteY5" fmla="*/ 1643931 h 1897931"/>
                  <a:gd name="connsiteX6" fmla="*/ 746493 w 1162418"/>
                  <a:gd name="connsiteY6" fmla="*/ 1596306 h 1897931"/>
                  <a:gd name="connsiteX7" fmla="*/ 716330 w 1162418"/>
                  <a:gd name="connsiteY7" fmla="*/ 1559794 h 1897931"/>
                  <a:gd name="connsiteX8" fmla="*/ 398830 w 1162418"/>
                  <a:gd name="connsiteY8" fmla="*/ 1559794 h 1897931"/>
                  <a:gd name="connsiteX9" fmla="*/ 360730 w 1162418"/>
                  <a:gd name="connsiteY9" fmla="*/ 1521694 h 1897931"/>
                  <a:gd name="connsiteX10" fmla="*/ 382955 w 1162418"/>
                  <a:gd name="connsiteY10" fmla="*/ 1474069 h 1897931"/>
                  <a:gd name="connsiteX11" fmla="*/ 797293 w 1162418"/>
                  <a:gd name="connsiteY11" fmla="*/ 1474069 h 1897931"/>
                  <a:gd name="connsiteX12" fmla="*/ 830630 w 1162418"/>
                  <a:gd name="connsiteY12" fmla="*/ 1426444 h 1897931"/>
                  <a:gd name="connsiteX13" fmla="*/ 795705 w 1162418"/>
                  <a:gd name="connsiteY13" fmla="*/ 1383581 h 1897931"/>
                  <a:gd name="connsiteX14" fmla="*/ 386130 w 1162418"/>
                  <a:gd name="connsiteY14" fmla="*/ 1383581 h 1897931"/>
                  <a:gd name="connsiteX15" fmla="*/ 322630 w 1162418"/>
                  <a:gd name="connsiteY15" fmla="*/ 1351831 h 1897931"/>
                  <a:gd name="connsiteX16" fmla="*/ 283340 w 1162418"/>
                  <a:gd name="connsiteY16" fmla="*/ 1299841 h 1897931"/>
                  <a:gd name="connsiteX17" fmla="*/ 271830 w 1162418"/>
                  <a:gd name="connsiteY17" fmla="*/ 1207369 h 1897931"/>
                  <a:gd name="connsiteX18" fmla="*/ 260718 w 1162418"/>
                  <a:gd name="connsiteY18" fmla="*/ 1127994 h 1897931"/>
                  <a:gd name="connsiteX19" fmla="*/ 205155 w 1162418"/>
                  <a:gd name="connsiteY19" fmla="*/ 1037506 h 1897931"/>
                  <a:gd name="connsiteX20" fmla="*/ 130543 w 1162418"/>
                  <a:gd name="connsiteY20" fmla="*/ 954956 h 1897931"/>
                  <a:gd name="connsiteX21" fmla="*/ 55137 w 1162418"/>
                  <a:gd name="connsiteY21" fmla="*/ 845022 h 1897931"/>
                  <a:gd name="connsiteX22" fmla="*/ 13861 w 1162418"/>
                  <a:gd name="connsiteY22" fmla="*/ 735485 h 1897931"/>
                  <a:gd name="connsiteX23" fmla="*/ 368 w 1162418"/>
                  <a:gd name="connsiteY23" fmla="*/ 600944 h 1897931"/>
                  <a:gd name="connsiteX24" fmla="*/ 11480 w 1162418"/>
                  <a:gd name="connsiteY24" fmla="*/ 475531 h 1897931"/>
                  <a:gd name="connsiteX25" fmla="*/ 81330 w 1162418"/>
                  <a:gd name="connsiteY25" fmla="*/ 285031 h 1897931"/>
                  <a:gd name="connsiteX26" fmla="*/ 265480 w 1162418"/>
                  <a:gd name="connsiteY26" fmla="*/ 92943 h 1897931"/>
                  <a:gd name="connsiteX27" fmla="*/ 519480 w 1162418"/>
                  <a:gd name="connsiteY27" fmla="*/ 3648 h 1897931"/>
                  <a:gd name="connsiteX28" fmla="*/ 705218 w 1162418"/>
                  <a:gd name="connsiteY28" fmla="*/ 10394 h 1897931"/>
                  <a:gd name="connsiteX29" fmla="*/ 943343 w 1162418"/>
                  <a:gd name="connsiteY29" fmla="*/ 121519 h 1897931"/>
                  <a:gd name="connsiteX30" fmla="*/ 1100505 w 1162418"/>
                  <a:gd name="connsiteY30" fmla="*/ 310431 h 1897931"/>
                  <a:gd name="connsiteX31" fmla="*/ 1162418 w 1162418"/>
                  <a:gd name="connsiteY31" fmla="*/ 513631 h 1897931"/>
                  <a:gd name="connsiteX32" fmla="*/ 1159243 w 1162418"/>
                  <a:gd name="connsiteY32" fmla="*/ 683494 h 1897931"/>
                  <a:gd name="connsiteX33" fmla="*/ 1090980 w 1162418"/>
                  <a:gd name="connsiteY33" fmla="*/ 889869 h 1897931"/>
                  <a:gd name="connsiteX34" fmla="*/ 957630 w 1162418"/>
                  <a:gd name="connsiteY34" fmla="*/ 1058144 h 1897931"/>
                  <a:gd name="connsiteX35" fmla="*/ 914768 w 1162418"/>
                  <a:gd name="connsiteY35" fmla="*/ 1118469 h 1897931"/>
                  <a:gd name="connsiteX36" fmla="*/ 905243 w 1162418"/>
                  <a:gd name="connsiteY36" fmla="*/ 1175619 h 1897931"/>
                  <a:gd name="connsiteX37" fmla="*/ 905243 w 1162418"/>
                  <a:gd name="connsiteY37" fmla="*/ 1264519 h 1897931"/>
                  <a:gd name="connsiteX38" fmla="*/ 868730 w 1162418"/>
                  <a:gd name="connsiteY38" fmla="*/ 1301031 h 1897931"/>
                  <a:gd name="connsiteX39" fmla="*/ 641718 w 1162418"/>
                  <a:gd name="connsiteY39" fmla="*/ 1301031 h 1897931"/>
                  <a:gd name="connsiteX40" fmla="*/ 590918 w 1162418"/>
                  <a:gd name="connsiteY40" fmla="*/ 1278806 h 1897931"/>
                  <a:gd name="connsiteX41" fmla="*/ 590918 w 1162418"/>
                  <a:gd name="connsiteY41" fmla="*/ 1212131 h 1897931"/>
                  <a:gd name="connsiteX0" fmla="*/ 584568 w 1162418"/>
                  <a:gd name="connsiteY0" fmla="*/ 1897931 h 1897931"/>
                  <a:gd name="connsiteX1" fmla="*/ 581393 w 1162418"/>
                  <a:gd name="connsiteY1" fmla="*/ 1767756 h 1897931"/>
                  <a:gd name="connsiteX2" fmla="*/ 508368 w 1162418"/>
                  <a:gd name="connsiteY2" fmla="*/ 1723306 h 1897931"/>
                  <a:gd name="connsiteX3" fmla="*/ 475030 w 1162418"/>
                  <a:gd name="connsiteY3" fmla="*/ 1683619 h 1897931"/>
                  <a:gd name="connsiteX4" fmla="*/ 505193 w 1162418"/>
                  <a:gd name="connsiteY4" fmla="*/ 1643931 h 1897931"/>
                  <a:gd name="connsiteX5" fmla="*/ 717918 w 1162418"/>
                  <a:gd name="connsiteY5" fmla="*/ 1643931 h 1897931"/>
                  <a:gd name="connsiteX6" fmla="*/ 746493 w 1162418"/>
                  <a:gd name="connsiteY6" fmla="*/ 1596306 h 1897931"/>
                  <a:gd name="connsiteX7" fmla="*/ 716330 w 1162418"/>
                  <a:gd name="connsiteY7" fmla="*/ 1559794 h 1897931"/>
                  <a:gd name="connsiteX8" fmla="*/ 398830 w 1162418"/>
                  <a:gd name="connsiteY8" fmla="*/ 1559794 h 1897931"/>
                  <a:gd name="connsiteX9" fmla="*/ 360730 w 1162418"/>
                  <a:gd name="connsiteY9" fmla="*/ 1521694 h 1897931"/>
                  <a:gd name="connsiteX10" fmla="*/ 382955 w 1162418"/>
                  <a:gd name="connsiteY10" fmla="*/ 1474069 h 1897931"/>
                  <a:gd name="connsiteX11" fmla="*/ 797293 w 1162418"/>
                  <a:gd name="connsiteY11" fmla="*/ 1474069 h 1897931"/>
                  <a:gd name="connsiteX12" fmla="*/ 830630 w 1162418"/>
                  <a:gd name="connsiteY12" fmla="*/ 1426444 h 1897931"/>
                  <a:gd name="connsiteX13" fmla="*/ 795705 w 1162418"/>
                  <a:gd name="connsiteY13" fmla="*/ 1383581 h 1897931"/>
                  <a:gd name="connsiteX14" fmla="*/ 386130 w 1162418"/>
                  <a:gd name="connsiteY14" fmla="*/ 1383581 h 1897931"/>
                  <a:gd name="connsiteX15" fmla="*/ 322630 w 1162418"/>
                  <a:gd name="connsiteY15" fmla="*/ 1351831 h 1897931"/>
                  <a:gd name="connsiteX16" fmla="*/ 283340 w 1162418"/>
                  <a:gd name="connsiteY16" fmla="*/ 1299841 h 1897931"/>
                  <a:gd name="connsiteX17" fmla="*/ 271830 w 1162418"/>
                  <a:gd name="connsiteY17" fmla="*/ 1207369 h 1897931"/>
                  <a:gd name="connsiteX18" fmla="*/ 260718 w 1162418"/>
                  <a:gd name="connsiteY18" fmla="*/ 1127994 h 1897931"/>
                  <a:gd name="connsiteX19" fmla="*/ 205155 w 1162418"/>
                  <a:gd name="connsiteY19" fmla="*/ 1037506 h 1897931"/>
                  <a:gd name="connsiteX20" fmla="*/ 130543 w 1162418"/>
                  <a:gd name="connsiteY20" fmla="*/ 954956 h 1897931"/>
                  <a:gd name="connsiteX21" fmla="*/ 55137 w 1162418"/>
                  <a:gd name="connsiteY21" fmla="*/ 845022 h 1897931"/>
                  <a:gd name="connsiteX22" fmla="*/ 13861 w 1162418"/>
                  <a:gd name="connsiteY22" fmla="*/ 735485 h 1897931"/>
                  <a:gd name="connsiteX23" fmla="*/ 368 w 1162418"/>
                  <a:gd name="connsiteY23" fmla="*/ 600944 h 1897931"/>
                  <a:gd name="connsiteX24" fmla="*/ 11480 w 1162418"/>
                  <a:gd name="connsiteY24" fmla="*/ 475531 h 1897931"/>
                  <a:gd name="connsiteX25" fmla="*/ 81330 w 1162418"/>
                  <a:gd name="connsiteY25" fmla="*/ 285031 h 1897931"/>
                  <a:gd name="connsiteX26" fmla="*/ 265480 w 1162418"/>
                  <a:gd name="connsiteY26" fmla="*/ 92943 h 1897931"/>
                  <a:gd name="connsiteX27" fmla="*/ 519480 w 1162418"/>
                  <a:gd name="connsiteY27" fmla="*/ 3648 h 1897931"/>
                  <a:gd name="connsiteX28" fmla="*/ 705218 w 1162418"/>
                  <a:gd name="connsiteY28" fmla="*/ 10394 h 1897931"/>
                  <a:gd name="connsiteX29" fmla="*/ 943343 w 1162418"/>
                  <a:gd name="connsiteY29" fmla="*/ 121519 h 1897931"/>
                  <a:gd name="connsiteX30" fmla="*/ 1100505 w 1162418"/>
                  <a:gd name="connsiteY30" fmla="*/ 310431 h 1897931"/>
                  <a:gd name="connsiteX31" fmla="*/ 1162418 w 1162418"/>
                  <a:gd name="connsiteY31" fmla="*/ 513631 h 1897931"/>
                  <a:gd name="connsiteX32" fmla="*/ 1159243 w 1162418"/>
                  <a:gd name="connsiteY32" fmla="*/ 683494 h 1897931"/>
                  <a:gd name="connsiteX33" fmla="*/ 1090980 w 1162418"/>
                  <a:gd name="connsiteY33" fmla="*/ 889869 h 1897931"/>
                  <a:gd name="connsiteX34" fmla="*/ 957630 w 1162418"/>
                  <a:gd name="connsiteY34" fmla="*/ 1058144 h 1897931"/>
                  <a:gd name="connsiteX35" fmla="*/ 914768 w 1162418"/>
                  <a:gd name="connsiteY35" fmla="*/ 1118469 h 1897931"/>
                  <a:gd name="connsiteX36" fmla="*/ 905243 w 1162418"/>
                  <a:gd name="connsiteY36" fmla="*/ 1175619 h 1897931"/>
                  <a:gd name="connsiteX37" fmla="*/ 905243 w 1162418"/>
                  <a:gd name="connsiteY37" fmla="*/ 1264519 h 1897931"/>
                  <a:gd name="connsiteX38" fmla="*/ 868730 w 1162418"/>
                  <a:gd name="connsiteY38" fmla="*/ 1301031 h 1897931"/>
                  <a:gd name="connsiteX39" fmla="*/ 641718 w 1162418"/>
                  <a:gd name="connsiteY39" fmla="*/ 1301031 h 1897931"/>
                  <a:gd name="connsiteX40" fmla="*/ 590918 w 1162418"/>
                  <a:gd name="connsiteY40" fmla="*/ 1278806 h 1897931"/>
                  <a:gd name="connsiteX41" fmla="*/ 590918 w 1162418"/>
                  <a:gd name="connsiteY41" fmla="*/ 1212131 h 1897931"/>
                  <a:gd name="connsiteX0" fmla="*/ 584568 w 1162418"/>
                  <a:gd name="connsiteY0" fmla="*/ 1894283 h 1894283"/>
                  <a:gd name="connsiteX1" fmla="*/ 581393 w 1162418"/>
                  <a:gd name="connsiteY1" fmla="*/ 1764108 h 1894283"/>
                  <a:gd name="connsiteX2" fmla="*/ 508368 w 1162418"/>
                  <a:gd name="connsiteY2" fmla="*/ 1719658 h 1894283"/>
                  <a:gd name="connsiteX3" fmla="*/ 475030 w 1162418"/>
                  <a:gd name="connsiteY3" fmla="*/ 1679971 h 1894283"/>
                  <a:gd name="connsiteX4" fmla="*/ 505193 w 1162418"/>
                  <a:gd name="connsiteY4" fmla="*/ 1640283 h 1894283"/>
                  <a:gd name="connsiteX5" fmla="*/ 717918 w 1162418"/>
                  <a:gd name="connsiteY5" fmla="*/ 1640283 h 1894283"/>
                  <a:gd name="connsiteX6" fmla="*/ 746493 w 1162418"/>
                  <a:gd name="connsiteY6" fmla="*/ 1592658 h 1894283"/>
                  <a:gd name="connsiteX7" fmla="*/ 716330 w 1162418"/>
                  <a:gd name="connsiteY7" fmla="*/ 1556146 h 1894283"/>
                  <a:gd name="connsiteX8" fmla="*/ 398830 w 1162418"/>
                  <a:gd name="connsiteY8" fmla="*/ 1556146 h 1894283"/>
                  <a:gd name="connsiteX9" fmla="*/ 360730 w 1162418"/>
                  <a:gd name="connsiteY9" fmla="*/ 1518046 h 1894283"/>
                  <a:gd name="connsiteX10" fmla="*/ 382955 w 1162418"/>
                  <a:gd name="connsiteY10" fmla="*/ 1470421 h 1894283"/>
                  <a:gd name="connsiteX11" fmla="*/ 797293 w 1162418"/>
                  <a:gd name="connsiteY11" fmla="*/ 1470421 h 1894283"/>
                  <a:gd name="connsiteX12" fmla="*/ 830630 w 1162418"/>
                  <a:gd name="connsiteY12" fmla="*/ 1422796 h 1894283"/>
                  <a:gd name="connsiteX13" fmla="*/ 795705 w 1162418"/>
                  <a:gd name="connsiteY13" fmla="*/ 1379933 h 1894283"/>
                  <a:gd name="connsiteX14" fmla="*/ 386130 w 1162418"/>
                  <a:gd name="connsiteY14" fmla="*/ 1379933 h 1894283"/>
                  <a:gd name="connsiteX15" fmla="*/ 322630 w 1162418"/>
                  <a:gd name="connsiteY15" fmla="*/ 1348183 h 1894283"/>
                  <a:gd name="connsiteX16" fmla="*/ 283340 w 1162418"/>
                  <a:gd name="connsiteY16" fmla="*/ 1296193 h 1894283"/>
                  <a:gd name="connsiteX17" fmla="*/ 271830 w 1162418"/>
                  <a:gd name="connsiteY17" fmla="*/ 1203721 h 1894283"/>
                  <a:gd name="connsiteX18" fmla="*/ 260718 w 1162418"/>
                  <a:gd name="connsiteY18" fmla="*/ 1124346 h 1894283"/>
                  <a:gd name="connsiteX19" fmla="*/ 205155 w 1162418"/>
                  <a:gd name="connsiteY19" fmla="*/ 1033858 h 1894283"/>
                  <a:gd name="connsiteX20" fmla="*/ 130543 w 1162418"/>
                  <a:gd name="connsiteY20" fmla="*/ 951308 h 1894283"/>
                  <a:gd name="connsiteX21" fmla="*/ 55137 w 1162418"/>
                  <a:gd name="connsiteY21" fmla="*/ 841374 h 1894283"/>
                  <a:gd name="connsiteX22" fmla="*/ 13861 w 1162418"/>
                  <a:gd name="connsiteY22" fmla="*/ 731837 h 1894283"/>
                  <a:gd name="connsiteX23" fmla="*/ 368 w 1162418"/>
                  <a:gd name="connsiteY23" fmla="*/ 597296 h 1894283"/>
                  <a:gd name="connsiteX24" fmla="*/ 11480 w 1162418"/>
                  <a:gd name="connsiteY24" fmla="*/ 471883 h 1894283"/>
                  <a:gd name="connsiteX25" fmla="*/ 81330 w 1162418"/>
                  <a:gd name="connsiteY25" fmla="*/ 281383 h 1894283"/>
                  <a:gd name="connsiteX26" fmla="*/ 265480 w 1162418"/>
                  <a:gd name="connsiteY26" fmla="*/ 89295 h 1894283"/>
                  <a:gd name="connsiteX27" fmla="*/ 519480 w 1162418"/>
                  <a:gd name="connsiteY27" fmla="*/ 0 h 1894283"/>
                  <a:gd name="connsiteX28" fmla="*/ 705218 w 1162418"/>
                  <a:gd name="connsiteY28" fmla="*/ 6746 h 1894283"/>
                  <a:gd name="connsiteX29" fmla="*/ 943343 w 1162418"/>
                  <a:gd name="connsiteY29" fmla="*/ 117871 h 1894283"/>
                  <a:gd name="connsiteX30" fmla="*/ 1100505 w 1162418"/>
                  <a:gd name="connsiteY30" fmla="*/ 306783 h 1894283"/>
                  <a:gd name="connsiteX31" fmla="*/ 1162418 w 1162418"/>
                  <a:gd name="connsiteY31" fmla="*/ 509983 h 1894283"/>
                  <a:gd name="connsiteX32" fmla="*/ 1159243 w 1162418"/>
                  <a:gd name="connsiteY32" fmla="*/ 679846 h 1894283"/>
                  <a:gd name="connsiteX33" fmla="*/ 1090980 w 1162418"/>
                  <a:gd name="connsiteY33" fmla="*/ 886221 h 1894283"/>
                  <a:gd name="connsiteX34" fmla="*/ 957630 w 1162418"/>
                  <a:gd name="connsiteY34" fmla="*/ 1054496 h 1894283"/>
                  <a:gd name="connsiteX35" fmla="*/ 914768 w 1162418"/>
                  <a:gd name="connsiteY35" fmla="*/ 1114821 h 1894283"/>
                  <a:gd name="connsiteX36" fmla="*/ 905243 w 1162418"/>
                  <a:gd name="connsiteY36" fmla="*/ 1171971 h 1894283"/>
                  <a:gd name="connsiteX37" fmla="*/ 905243 w 1162418"/>
                  <a:gd name="connsiteY37" fmla="*/ 1260871 h 1894283"/>
                  <a:gd name="connsiteX38" fmla="*/ 868730 w 1162418"/>
                  <a:gd name="connsiteY38" fmla="*/ 1297383 h 1894283"/>
                  <a:gd name="connsiteX39" fmla="*/ 641718 w 1162418"/>
                  <a:gd name="connsiteY39" fmla="*/ 1297383 h 1894283"/>
                  <a:gd name="connsiteX40" fmla="*/ 590918 w 1162418"/>
                  <a:gd name="connsiteY40" fmla="*/ 1275158 h 1894283"/>
                  <a:gd name="connsiteX41" fmla="*/ 590918 w 1162418"/>
                  <a:gd name="connsiteY41" fmla="*/ 1208483 h 1894283"/>
                  <a:gd name="connsiteX0" fmla="*/ 584568 w 1162418"/>
                  <a:gd name="connsiteY0" fmla="*/ 1896145 h 1896145"/>
                  <a:gd name="connsiteX1" fmla="*/ 581393 w 1162418"/>
                  <a:gd name="connsiteY1" fmla="*/ 1765970 h 1896145"/>
                  <a:gd name="connsiteX2" fmla="*/ 508368 w 1162418"/>
                  <a:gd name="connsiteY2" fmla="*/ 1721520 h 1896145"/>
                  <a:gd name="connsiteX3" fmla="*/ 475030 w 1162418"/>
                  <a:gd name="connsiteY3" fmla="*/ 1681833 h 1896145"/>
                  <a:gd name="connsiteX4" fmla="*/ 505193 w 1162418"/>
                  <a:gd name="connsiteY4" fmla="*/ 1642145 h 1896145"/>
                  <a:gd name="connsiteX5" fmla="*/ 717918 w 1162418"/>
                  <a:gd name="connsiteY5" fmla="*/ 1642145 h 1896145"/>
                  <a:gd name="connsiteX6" fmla="*/ 746493 w 1162418"/>
                  <a:gd name="connsiteY6" fmla="*/ 1594520 h 1896145"/>
                  <a:gd name="connsiteX7" fmla="*/ 716330 w 1162418"/>
                  <a:gd name="connsiteY7" fmla="*/ 1558008 h 1896145"/>
                  <a:gd name="connsiteX8" fmla="*/ 398830 w 1162418"/>
                  <a:gd name="connsiteY8" fmla="*/ 1558008 h 1896145"/>
                  <a:gd name="connsiteX9" fmla="*/ 360730 w 1162418"/>
                  <a:gd name="connsiteY9" fmla="*/ 1519908 h 1896145"/>
                  <a:gd name="connsiteX10" fmla="*/ 382955 w 1162418"/>
                  <a:gd name="connsiteY10" fmla="*/ 1472283 h 1896145"/>
                  <a:gd name="connsiteX11" fmla="*/ 797293 w 1162418"/>
                  <a:gd name="connsiteY11" fmla="*/ 1472283 h 1896145"/>
                  <a:gd name="connsiteX12" fmla="*/ 830630 w 1162418"/>
                  <a:gd name="connsiteY12" fmla="*/ 1424658 h 1896145"/>
                  <a:gd name="connsiteX13" fmla="*/ 795705 w 1162418"/>
                  <a:gd name="connsiteY13" fmla="*/ 1381795 h 1896145"/>
                  <a:gd name="connsiteX14" fmla="*/ 386130 w 1162418"/>
                  <a:gd name="connsiteY14" fmla="*/ 1381795 h 1896145"/>
                  <a:gd name="connsiteX15" fmla="*/ 322630 w 1162418"/>
                  <a:gd name="connsiteY15" fmla="*/ 1350045 h 1896145"/>
                  <a:gd name="connsiteX16" fmla="*/ 283340 w 1162418"/>
                  <a:gd name="connsiteY16" fmla="*/ 1298055 h 1896145"/>
                  <a:gd name="connsiteX17" fmla="*/ 271830 w 1162418"/>
                  <a:gd name="connsiteY17" fmla="*/ 1205583 h 1896145"/>
                  <a:gd name="connsiteX18" fmla="*/ 260718 w 1162418"/>
                  <a:gd name="connsiteY18" fmla="*/ 1126208 h 1896145"/>
                  <a:gd name="connsiteX19" fmla="*/ 205155 w 1162418"/>
                  <a:gd name="connsiteY19" fmla="*/ 1035720 h 1896145"/>
                  <a:gd name="connsiteX20" fmla="*/ 130543 w 1162418"/>
                  <a:gd name="connsiteY20" fmla="*/ 953170 h 1896145"/>
                  <a:gd name="connsiteX21" fmla="*/ 55137 w 1162418"/>
                  <a:gd name="connsiteY21" fmla="*/ 843236 h 1896145"/>
                  <a:gd name="connsiteX22" fmla="*/ 13861 w 1162418"/>
                  <a:gd name="connsiteY22" fmla="*/ 733699 h 1896145"/>
                  <a:gd name="connsiteX23" fmla="*/ 368 w 1162418"/>
                  <a:gd name="connsiteY23" fmla="*/ 599158 h 1896145"/>
                  <a:gd name="connsiteX24" fmla="*/ 11480 w 1162418"/>
                  <a:gd name="connsiteY24" fmla="*/ 473745 h 1896145"/>
                  <a:gd name="connsiteX25" fmla="*/ 81330 w 1162418"/>
                  <a:gd name="connsiteY25" fmla="*/ 283245 h 1896145"/>
                  <a:gd name="connsiteX26" fmla="*/ 265480 w 1162418"/>
                  <a:gd name="connsiteY26" fmla="*/ 91157 h 1896145"/>
                  <a:gd name="connsiteX27" fmla="*/ 519480 w 1162418"/>
                  <a:gd name="connsiteY27" fmla="*/ 1862 h 1896145"/>
                  <a:gd name="connsiteX28" fmla="*/ 705218 w 1162418"/>
                  <a:gd name="connsiteY28" fmla="*/ 8608 h 1896145"/>
                  <a:gd name="connsiteX29" fmla="*/ 943343 w 1162418"/>
                  <a:gd name="connsiteY29" fmla="*/ 119733 h 1896145"/>
                  <a:gd name="connsiteX30" fmla="*/ 1100505 w 1162418"/>
                  <a:gd name="connsiteY30" fmla="*/ 308645 h 1896145"/>
                  <a:gd name="connsiteX31" fmla="*/ 1162418 w 1162418"/>
                  <a:gd name="connsiteY31" fmla="*/ 511845 h 1896145"/>
                  <a:gd name="connsiteX32" fmla="*/ 1159243 w 1162418"/>
                  <a:gd name="connsiteY32" fmla="*/ 681708 h 1896145"/>
                  <a:gd name="connsiteX33" fmla="*/ 1090980 w 1162418"/>
                  <a:gd name="connsiteY33" fmla="*/ 888083 h 1896145"/>
                  <a:gd name="connsiteX34" fmla="*/ 957630 w 1162418"/>
                  <a:gd name="connsiteY34" fmla="*/ 1056358 h 1896145"/>
                  <a:gd name="connsiteX35" fmla="*/ 914768 w 1162418"/>
                  <a:gd name="connsiteY35" fmla="*/ 1116683 h 1896145"/>
                  <a:gd name="connsiteX36" fmla="*/ 905243 w 1162418"/>
                  <a:gd name="connsiteY36" fmla="*/ 1173833 h 1896145"/>
                  <a:gd name="connsiteX37" fmla="*/ 905243 w 1162418"/>
                  <a:gd name="connsiteY37" fmla="*/ 1262733 h 1896145"/>
                  <a:gd name="connsiteX38" fmla="*/ 868730 w 1162418"/>
                  <a:gd name="connsiteY38" fmla="*/ 1299245 h 1896145"/>
                  <a:gd name="connsiteX39" fmla="*/ 641718 w 1162418"/>
                  <a:gd name="connsiteY39" fmla="*/ 1299245 h 1896145"/>
                  <a:gd name="connsiteX40" fmla="*/ 590918 w 1162418"/>
                  <a:gd name="connsiteY40" fmla="*/ 1277020 h 1896145"/>
                  <a:gd name="connsiteX41" fmla="*/ 590918 w 1162418"/>
                  <a:gd name="connsiteY41" fmla="*/ 1210345 h 1896145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2418"/>
                  <a:gd name="connsiteY0" fmla="*/ 1898273 h 1898273"/>
                  <a:gd name="connsiteX1" fmla="*/ 581393 w 1162418"/>
                  <a:gd name="connsiteY1" fmla="*/ 1768098 h 1898273"/>
                  <a:gd name="connsiteX2" fmla="*/ 508368 w 1162418"/>
                  <a:gd name="connsiteY2" fmla="*/ 1723648 h 1898273"/>
                  <a:gd name="connsiteX3" fmla="*/ 475030 w 1162418"/>
                  <a:gd name="connsiteY3" fmla="*/ 1683961 h 1898273"/>
                  <a:gd name="connsiteX4" fmla="*/ 505193 w 1162418"/>
                  <a:gd name="connsiteY4" fmla="*/ 1644273 h 1898273"/>
                  <a:gd name="connsiteX5" fmla="*/ 717918 w 1162418"/>
                  <a:gd name="connsiteY5" fmla="*/ 1644273 h 1898273"/>
                  <a:gd name="connsiteX6" fmla="*/ 746493 w 1162418"/>
                  <a:gd name="connsiteY6" fmla="*/ 1596648 h 1898273"/>
                  <a:gd name="connsiteX7" fmla="*/ 716330 w 1162418"/>
                  <a:gd name="connsiteY7" fmla="*/ 1560136 h 1898273"/>
                  <a:gd name="connsiteX8" fmla="*/ 398830 w 1162418"/>
                  <a:gd name="connsiteY8" fmla="*/ 1560136 h 1898273"/>
                  <a:gd name="connsiteX9" fmla="*/ 360730 w 1162418"/>
                  <a:gd name="connsiteY9" fmla="*/ 1522036 h 1898273"/>
                  <a:gd name="connsiteX10" fmla="*/ 382955 w 1162418"/>
                  <a:gd name="connsiteY10" fmla="*/ 1474411 h 1898273"/>
                  <a:gd name="connsiteX11" fmla="*/ 797293 w 1162418"/>
                  <a:gd name="connsiteY11" fmla="*/ 1474411 h 1898273"/>
                  <a:gd name="connsiteX12" fmla="*/ 830630 w 1162418"/>
                  <a:gd name="connsiteY12" fmla="*/ 1426786 h 1898273"/>
                  <a:gd name="connsiteX13" fmla="*/ 795705 w 1162418"/>
                  <a:gd name="connsiteY13" fmla="*/ 1383923 h 1898273"/>
                  <a:gd name="connsiteX14" fmla="*/ 386130 w 1162418"/>
                  <a:gd name="connsiteY14" fmla="*/ 1383923 h 1898273"/>
                  <a:gd name="connsiteX15" fmla="*/ 322630 w 1162418"/>
                  <a:gd name="connsiteY15" fmla="*/ 1352173 h 1898273"/>
                  <a:gd name="connsiteX16" fmla="*/ 283340 w 1162418"/>
                  <a:gd name="connsiteY16" fmla="*/ 1300183 h 1898273"/>
                  <a:gd name="connsiteX17" fmla="*/ 271830 w 1162418"/>
                  <a:gd name="connsiteY17" fmla="*/ 1207711 h 1898273"/>
                  <a:gd name="connsiteX18" fmla="*/ 260718 w 1162418"/>
                  <a:gd name="connsiteY18" fmla="*/ 1128336 h 1898273"/>
                  <a:gd name="connsiteX19" fmla="*/ 205155 w 1162418"/>
                  <a:gd name="connsiteY19" fmla="*/ 1037848 h 1898273"/>
                  <a:gd name="connsiteX20" fmla="*/ 130543 w 1162418"/>
                  <a:gd name="connsiteY20" fmla="*/ 955298 h 1898273"/>
                  <a:gd name="connsiteX21" fmla="*/ 55137 w 1162418"/>
                  <a:gd name="connsiteY21" fmla="*/ 845364 h 1898273"/>
                  <a:gd name="connsiteX22" fmla="*/ 13861 w 1162418"/>
                  <a:gd name="connsiteY22" fmla="*/ 735827 h 1898273"/>
                  <a:gd name="connsiteX23" fmla="*/ 368 w 1162418"/>
                  <a:gd name="connsiteY23" fmla="*/ 601286 h 1898273"/>
                  <a:gd name="connsiteX24" fmla="*/ 11480 w 1162418"/>
                  <a:gd name="connsiteY24" fmla="*/ 475873 h 1898273"/>
                  <a:gd name="connsiteX25" fmla="*/ 81330 w 1162418"/>
                  <a:gd name="connsiteY25" fmla="*/ 285373 h 1898273"/>
                  <a:gd name="connsiteX26" fmla="*/ 265480 w 1162418"/>
                  <a:gd name="connsiteY26" fmla="*/ 93285 h 1898273"/>
                  <a:gd name="connsiteX27" fmla="*/ 519480 w 1162418"/>
                  <a:gd name="connsiteY27" fmla="*/ 3990 h 1898273"/>
                  <a:gd name="connsiteX28" fmla="*/ 705218 w 1162418"/>
                  <a:gd name="connsiteY28" fmla="*/ 10736 h 1898273"/>
                  <a:gd name="connsiteX29" fmla="*/ 943343 w 1162418"/>
                  <a:gd name="connsiteY29" fmla="*/ 121861 h 1898273"/>
                  <a:gd name="connsiteX30" fmla="*/ 1100505 w 1162418"/>
                  <a:gd name="connsiteY30" fmla="*/ 310773 h 1898273"/>
                  <a:gd name="connsiteX31" fmla="*/ 1162418 w 1162418"/>
                  <a:gd name="connsiteY31" fmla="*/ 513973 h 1898273"/>
                  <a:gd name="connsiteX32" fmla="*/ 1159243 w 1162418"/>
                  <a:gd name="connsiteY32" fmla="*/ 683836 h 1898273"/>
                  <a:gd name="connsiteX33" fmla="*/ 1090980 w 1162418"/>
                  <a:gd name="connsiteY33" fmla="*/ 890211 h 1898273"/>
                  <a:gd name="connsiteX34" fmla="*/ 957630 w 1162418"/>
                  <a:gd name="connsiteY34" fmla="*/ 1058486 h 1898273"/>
                  <a:gd name="connsiteX35" fmla="*/ 914768 w 1162418"/>
                  <a:gd name="connsiteY35" fmla="*/ 1118811 h 1898273"/>
                  <a:gd name="connsiteX36" fmla="*/ 905243 w 1162418"/>
                  <a:gd name="connsiteY36" fmla="*/ 1175961 h 1898273"/>
                  <a:gd name="connsiteX37" fmla="*/ 905243 w 1162418"/>
                  <a:gd name="connsiteY37" fmla="*/ 1264861 h 1898273"/>
                  <a:gd name="connsiteX38" fmla="*/ 868730 w 1162418"/>
                  <a:gd name="connsiteY38" fmla="*/ 1301373 h 1898273"/>
                  <a:gd name="connsiteX39" fmla="*/ 641718 w 1162418"/>
                  <a:gd name="connsiteY39" fmla="*/ 1301373 h 1898273"/>
                  <a:gd name="connsiteX40" fmla="*/ 590918 w 1162418"/>
                  <a:gd name="connsiteY40" fmla="*/ 1279148 h 1898273"/>
                  <a:gd name="connsiteX41" fmla="*/ 590918 w 1162418"/>
                  <a:gd name="connsiteY41" fmla="*/ 1212473 h 1898273"/>
                  <a:gd name="connsiteX0" fmla="*/ 584568 w 1166196"/>
                  <a:gd name="connsiteY0" fmla="*/ 1898273 h 1898273"/>
                  <a:gd name="connsiteX1" fmla="*/ 581393 w 1166196"/>
                  <a:gd name="connsiteY1" fmla="*/ 1768098 h 1898273"/>
                  <a:gd name="connsiteX2" fmla="*/ 508368 w 1166196"/>
                  <a:gd name="connsiteY2" fmla="*/ 1723648 h 1898273"/>
                  <a:gd name="connsiteX3" fmla="*/ 475030 w 1166196"/>
                  <a:gd name="connsiteY3" fmla="*/ 1683961 h 1898273"/>
                  <a:gd name="connsiteX4" fmla="*/ 505193 w 1166196"/>
                  <a:gd name="connsiteY4" fmla="*/ 1644273 h 1898273"/>
                  <a:gd name="connsiteX5" fmla="*/ 717918 w 1166196"/>
                  <a:gd name="connsiteY5" fmla="*/ 1644273 h 1898273"/>
                  <a:gd name="connsiteX6" fmla="*/ 746493 w 1166196"/>
                  <a:gd name="connsiteY6" fmla="*/ 1596648 h 1898273"/>
                  <a:gd name="connsiteX7" fmla="*/ 716330 w 1166196"/>
                  <a:gd name="connsiteY7" fmla="*/ 1560136 h 1898273"/>
                  <a:gd name="connsiteX8" fmla="*/ 398830 w 1166196"/>
                  <a:gd name="connsiteY8" fmla="*/ 1560136 h 1898273"/>
                  <a:gd name="connsiteX9" fmla="*/ 360730 w 1166196"/>
                  <a:gd name="connsiteY9" fmla="*/ 1522036 h 1898273"/>
                  <a:gd name="connsiteX10" fmla="*/ 382955 w 1166196"/>
                  <a:gd name="connsiteY10" fmla="*/ 1474411 h 1898273"/>
                  <a:gd name="connsiteX11" fmla="*/ 797293 w 1166196"/>
                  <a:gd name="connsiteY11" fmla="*/ 1474411 h 1898273"/>
                  <a:gd name="connsiteX12" fmla="*/ 830630 w 1166196"/>
                  <a:gd name="connsiteY12" fmla="*/ 1426786 h 1898273"/>
                  <a:gd name="connsiteX13" fmla="*/ 795705 w 1166196"/>
                  <a:gd name="connsiteY13" fmla="*/ 1383923 h 1898273"/>
                  <a:gd name="connsiteX14" fmla="*/ 386130 w 1166196"/>
                  <a:gd name="connsiteY14" fmla="*/ 1383923 h 1898273"/>
                  <a:gd name="connsiteX15" fmla="*/ 322630 w 1166196"/>
                  <a:gd name="connsiteY15" fmla="*/ 1352173 h 1898273"/>
                  <a:gd name="connsiteX16" fmla="*/ 283340 w 1166196"/>
                  <a:gd name="connsiteY16" fmla="*/ 1300183 h 1898273"/>
                  <a:gd name="connsiteX17" fmla="*/ 271830 w 1166196"/>
                  <a:gd name="connsiteY17" fmla="*/ 1207711 h 1898273"/>
                  <a:gd name="connsiteX18" fmla="*/ 260718 w 1166196"/>
                  <a:gd name="connsiteY18" fmla="*/ 1128336 h 1898273"/>
                  <a:gd name="connsiteX19" fmla="*/ 205155 w 1166196"/>
                  <a:gd name="connsiteY19" fmla="*/ 1037848 h 1898273"/>
                  <a:gd name="connsiteX20" fmla="*/ 130543 w 1166196"/>
                  <a:gd name="connsiteY20" fmla="*/ 955298 h 1898273"/>
                  <a:gd name="connsiteX21" fmla="*/ 55137 w 1166196"/>
                  <a:gd name="connsiteY21" fmla="*/ 845364 h 1898273"/>
                  <a:gd name="connsiteX22" fmla="*/ 13861 w 1166196"/>
                  <a:gd name="connsiteY22" fmla="*/ 735827 h 1898273"/>
                  <a:gd name="connsiteX23" fmla="*/ 368 w 1166196"/>
                  <a:gd name="connsiteY23" fmla="*/ 601286 h 1898273"/>
                  <a:gd name="connsiteX24" fmla="*/ 11480 w 1166196"/>
                  <a:gd name="connsiteY24" fmla="*/ 475873 h 1898273"/>
                  <a:gd name="connsiteX25" fmla="*/ 81330 w 1166196"/>
                  <a:gd name="connsiteY25" fmla="*/ 285373 h 1898273"/>
                  <a:gd name="connsiteX26" fmla="*/ 265480 w 1166196"/>
                  <a:gd name="connsiteY26" fmla="*/ 93285 h 1898273"/>
                  <a:gd name="connsiteX27" fmla="*/ 519480 w 1166196"/>
                  <a:gd name="connsiteY27" fmla="*/ 3990 h 1898273"/>
                  <a:gd name="connsiteX28" fmla="*/ 705218 w 1166196"/>
                  <a:gd name="connsiteY28" fmla="*/ 10736 h 1898273"/>
                  <a:gd name="connsiteX29" fmla="*/ 943343 w 1166196"/>
                  <a:gd name="connsiteY29" fmla="*/ 121861 h 1898273"/>
                  <a:gd name="connsiteX30" fmla="*/ 1100505 w 1166196"/>
                  <a:gd name="connsiteY30" fmla="*/ 310773 h 1898273"/>
                  <a:gd name="connsiteX31" fmla="*/ 1162418 w 1166196"/>
                  <a:gd name="connsiteY31" fmla="*/ 513973 h 1898273"/>
                  <a:gd name="connsiteX32" fmla="*/ 1159243 w 1166196"/>
                  <a:gd name="connsiteY32" fmla="*/ 683836 h 1898273"/>
                  <a:gd name="connsiteX33" fmla="*/ 1090980 w 1166196"/>
                  <a:gd name="connsiteY33" fmla="*/ 890211 h 1898273"/>
                  <a:gd name="connsiteX34" fmla="*/ 957630 w 1166196"/>
                  <a:gd name="connsiteY34" fmla="*/ 1058486 h 1898273"/>
                  <a:gd name="connsiteX35" fmla="*/ 914768 w 1166196"/>
                  <a:gd name="connsiteY35" fmla="*/ 1118811 h 1898273"/>
                  <a:gd name="connsiteX36" fmla="*/ 905243 w 1166196"/>
                  <a:gd name="connsiteY36" fmla="*/ 1175961 h 1898273"/>
                  <a:gd name="connsiteX37" fmla="*/ 905243 w 1166196"/>
                  <a:gd name="connsiteY37" fmla="*/ 1264861 h 1898273"/>
                  <a:gd name="connsiteX38" fmla="*/ 868730 w 1166196"/>
                  <a:gd name="connsiteY38" fmla="*/ 1301373 h 1898273"/>
                  <a:gd name="connsiteX39" fmla="*/ 641718 w 1166196"/>
                  <a:gd name="connsiteY39" fmla="*/ 1301373 h 1898273"/>
                  <a:gd name="connsiteX40" fmla="*/ 590918 w 1166196"/>
                  <a:gd name="connsiteY40" fmla="*/ 1279148 h 1898273"/>
                  <a:gd name="connsiteX41" fmla="*/ 590918 w 1166196"/>
                  <a:gd name="connsiteY41" fmla="*/ 1212473 h 1898273"/>
                  <a:gd name="connsiteX0" fmla="*/ 584568 w 1170207"/>
                  <a:gd name="connsiteY0" fmla="*/ 1898273 h 1898273"/>
                  <a:gd name="connsiteX1" fmla="*/ 581393 w 1170207"/>
                  <a:gd name="connsiteY1" fmla="*/ 1768098 h 1898273"/>
                  <a:gd name="connsiteX2" fmla="*/ 508368 w 1170207"/>
                  <a:gd name="connsiteY2" fmla="*/ 1723648 h 1898273"/>
                  <a:gd name="connsiteX3" fmla="*/ 475030 w 1170207"/>
                  <a:gd name="connsiteY3" fmla="*/ 1683961 h 1898273"/>
                  <a:gd name="connsiteX4" fmla="*/ 505193 w 1170207"/>
                  <a:gd name="connsiteY4" fmla="*/ 1644273 h 1898273"/>
                  <a:gd name="connsiteX5" fmla="*/ 717918 w 1170207"/>
                  <a:gd name="connsiteY5" fmla="*/ 1644273 h 1898273"/>
                  <a:gd name="connsiteX6" fmla="*/ 746493 w 1170207"/>
                  <a:gd name="connsiteY6" fmla="*/ 1596648 h 1898273"/>
                  <a:gd name="connsiteX7" fmla="*/ 716330 w 1170207"/>
                  <a:gd name="connsiteY7" fmla="*/ 1560136 h 1898273"/>
                  <a:gd name="connsiteX8" fmla="*/ 398830 w 1170207"/>
                  <a:gd name="connsiteY8" fmla="*/ 1560136 h 1898273"/>
                  <a:gd name="connsiteX9" fmla="*/ 360730 w 1170207"/>
                  <a:gd name="connsiteY9" fmla="*/ 1522036 h 1898273"/>
                  <a:gd name="connsiteX10" fmla="*/ 382955 w 1170207"/>
                  <a:gd name="connsiteY10" fmla="*/ 1474411 h 1898273"/>
                  <a:gd name="connsiteX11" fmla="*/ 797293 w 1170207"/>
                  <a:gd name="connsiteY11" fmla="*/ 1474411 h 1898273"/>
                  <a:gd name="connsiteX12" fmla="*/ 830630 w 1170207"/>
                  <a:gd name="connsiteY12" fmla="*/ 1426786 h 1898273"/>
                  <a:gd name="connsiteX13" fmla="*/ 795705 w 1170207"/>
                  <a:gd name="connsiteY13" fmla="*/ 1383923 h 1898273"/>
                  <a:gd name="connsiteX14" fmla="*/ 386130 w 1170207"/>
                  <a:gd name="connsiteY14" fmla="*/ 1383923 h 1898273"/>
                  <a:gd name="connsiteX15" fmla="*/ 322630 w 1170207"/>
                  <a:gd name="connsiteY15" fmla="*/ 1352173 h 1898273"/>
                  <a:gd name="connsiteX16" fmla="*/ 283340 w 1170207"/>
                  <a:gd name="connsiteY16" fmla="*/ 1300183 h 1898273"/>
                  <a:gd name="connsiteX17" fmla="*/ 271830 w 1170207"/>
                  <a:gd name="connsiteY17" fmla="*/ 1207711 h 1898273"/>
                  <a:gd name="connsiteX18" fmla="*/ 260718 w 1170207"/>
                  <a:gd name="connsiteY18" fmla="*/ 1128336 h 1898273"/>
                  <a:gd name="connsiteX19" fmla="*/ 205155 w 1170207"/>
                  <a:gd name="connsiteY19" fmla="*/ 1037848 h 1898273"/>
                  <a:gd name="connsiteX20" fmla="*/ 130543 w 1170207"/>
                  <a:gd name="connsiteY20" fmla="*/ 955298 h 1898273"/>
                  <a:gd name="connsiteX21" fmla="*/ 55137 w 1170207"/>
                  <a:gd name="connsiteY21" fmla="*/ 845364 h 1898273"/>
                  <a:gd name="connsiteX22" fmla="*/ 13861 w 1170207"/>
                  <a:gd name="connsiteY22" fmla="*/ 735827 h 1898273"/>
                  <a:gd name="connsiteX23" fmla="*/ 368 w 1170207"/>
                  <a:gd name="connsiteY23" fmla="*/ 601286 h 1898273"/>
                  <a:gd name="connsiteX24" fmla="*/ 11480 w 1170207"/>
                  <a:gd name="connsiteY24" fmla="*/ 475873 h 1898273"/>
                  <a:gd name="connsiteX25" fmla="*/ 81330 w 1170207"/>
                  <a:gd name="connsiteY25" fmla="*/ 285373 h 1898273"/>
                  <a:gd name="connsiteX26" fmla="*/ 265480 w 1170207"/>
                  <a:gd name="connsiteY26" fmla="*/ 93285 h 1898273"/>
                  <a:gd name="connsiteX27" fmla="*/ 519480 w 1170207"/>
                  <a:gd name="connsiteY27" fmla="*/ 3990 h 1898273"/>
                  <a:gd name="connsiteX28" fmla="*/ 705218 w 1170207"/>
                  <a:gd name="connsiteY28" fmla="*/ 10736 h 1898273"/>
                  <a:gd name="connsiteX29" fmla="*/ 943343 w 1170207"/>
                  <a:gd name="connsiteY29" fmla="*/ 121861 h 1898273"/>
                  <a:gd name="connsiteX30" fmla="*/ 1100505 w 1170207"/>
                  <a:gd name="connsiteY30" fmla="*/ 310773 h 1898273"/>
                  <a:gd name="connsiteX31" fmla="*/ 1162418 w 1170207"/>
                  <a:gd name="connsiteY31" fmla="*/ 513973 h 1898273"/>
                  <a:gd name="connsiteX32" fmla="*/ 1159243 w 1170207"/>
                  <a:gd name="connsiteY32" fmla="*/ 683836 h 1898273"/>
                  <a:gd name="connsiteX33" fmla="*/ 1090980 w 1170207"/>
                  <a:gd name="connsiteY33" fmla="*/ 890211 h 1898273"/>
                  <a:gd name="connsiteX34" fmla="*/ 957630 w 1170207"/>
                  <a:gd name="connsiteY34" fmla="*/ 1058486 h 1898273"/>
                  <a:gd name="connsiteX35" fmla="*/ 914768 w 1170207"/>
                  <a:gd name="connsiteY35" fmla="*/ 1118811 h 1898273"/>
                  <a:gd name="connsiteX36" fmla="*/ 905243 w 1170207"/>
                  <a:gd name="connsiteY36" fmla="*/ 1175961 h 1898273"/>
                  <a:gd name="connsiteX37" fmla="*/ 905243 w 1170207"/>
                  <a:gd name="connsiteY37" fmla="*/ 1264861 h 1898273"/>
                  <a:gd name="connsiteX38" fmla="*/ 868730 w 1170207"/>
                  <a:gd name="connsiteY38" fmla="*/ 1301373 h 1898273"/>
                  <a:gd name="connsiteX39" fmla="*/ 641718 w 1170207"/>
                  <a:gd name="connsiteY39" fmla="*/ 1301373 h 1898273"/>
                  <a:gd name="connsiteX40" fmla="*/ 590918 w 1170207"/>
                  <a:gd name="connsiteY40" fmla="*/ 1279148 h 1898273"/>
                  <a:gd name="connsiteX41" fmla="*/ 590918 w 1170207"/>
                  <a:gd name="connsiteY41" fmla="*/ 1212473 h 1898273"/>
                  <a:gd name="connsiteX0" fmla="*/ 584568 w 1167505"/>
                  <a:gd name="connsiteY0" fmla="*/ 1898273 h 1898273"/>
                  <a:gd name="connsiteX1" fmla="*/ 581393 w 1167505"/>
                  <a:gd name="connsiteY1" fmla="*/ 1768098 h 1898273"/>
                  <a:gd name="connsiteX2" fmla="*/ 508368 w 1167505"/>
                  <a:gd name="connsiteY2" fmla="*/ 1723648 h 1898273"/>
                  <a:gd name="connsiteX3" fmla="*/ 475030 w 1167505"/>
                  <a:gd name="connsiteY3" fmla="*/ 1683961 h 1898273"/>
                  <a:gd name="connsiteX4" fmla="*/ 505193 w 1167505"/>
                  <a:gd name="connsiteY4" fmla="*/ 1644273 h 1898273"/>
                  <a:gd name="connsiteX5" fmla="*/ 717918 w 1167505"/>
                  <a:gd name="connsiteY5" fmla="*/ 1644273 h 1898273"/>
                  <a:gd name="connsiteX6" fmla="*/ 746493 w 1167505"/>
                  <a:gd name="connsiteY6" fmla="*/ 1596648 h 1898273"/>
                  <a:gd name="connsiteX7" fmla="*/ 716330 w 1167505"/>
                  <a:gd name="connsiteY7" fmla="*/ 1560136 h 1898273"/>
                  <a:gd name="connsiteX8" fmla="*/ 398830 w 1167505"/>
                  <a:gd name="connsiteY8" fmla="*/ 1560136 h 1898273"/>
                  <a:gd name="connsiteX9" fmla="*/ 360730 w 1167505"/>
                  <a:gd name="connsiteY9" fmla="*/ 1522036 h 1898273"/>
                  <a:gd name="connsiteX10" fmla="*/ 382955 w 1167505"/>
                  <a:gd name="connsiteY10" fmla="*/ 1474411 h 1898273"/>
                  <a:gd name="connsiteX11" fmla="*/ 797293 w 1167505"/>
                  <a:gd name="connsiteY11" fmla="*/ 1474411 h 1898273"/>
                  <a:gd name="connsiteX12" fmla="*/ 830630 w 1167505"/>
                  <a:gd name="connsiteY12" fmla="*/ 1426786 h 1898273"/>
                  <a:gd name="connsiteX13" fmla="*/ 795705 w 1167505"/>
                  <a:gd name="connsiteY13" fmla="*/ 1383923 h 1898273"/>
                  <a:gd name="connsiteX14" fmla="*/ 386130 w 1167505"/>
                  <a:gd name="connsiteY14" fmla="*/ 1383923 h 1898273"/>
                  <a:gd name="connsiteX15" fmla="*/ 322630 w 1167505"/>
                  <a:gd name="connsiteY15" fmla="*/ 1352173 h 1898273"/>
                  <a:gd name="connsiteX16" fmla="*/ 283340 w 1167505"/>
                  <a:gd name="connsiteY16" fmla="*/ 1300183 h 1898273"/>
                  <a:gd name="connsiteX17" fmla="*/ 271830 w 1167505"/>
                  <a:gd name="connsiteY17" fmla="*/ 1207711 h 1898273"/>
                  <a:gd name="connsiteX18" fmla="*/ 260718 w 1167505"/>
                  <a:gd name="connsiteY18" fmla="*/ 1128336 h 1898273"/>
                  <a:gd name="connsiteX19" fmla="*/ 205155 w 1167505"/>
                  <a:gd name="connsiteY19" fmla="*/ 1037848 h 1898273"/>
                  <a:gd name="connsiteX20" fmla="*/ 130543 w 1167505"/>
                  <a:gd name="connsiteY20" fmla="*/ 955298 h 1898273"/>
                  <a:gd name="connsiteX21" fmla="*/ 55137 w 1167505"/>
                  <a:gd name="connsiteY21" fmla="*/ 845364 h 1898273"/>
                  <a:gd name="connsiteX22" fmla="*/ 13861 w 1167505"/>
                  <a:gd name="connsiteY22" fmla="*/ 735827 h 1898273"/>
                  <a:gd name="connsiteX23" fmla="*/ 368 w 1167505"/>
                  <a:gd name="connsiteY23" fmla="*/ 601286 h 1898273"/>
                  <a:gd name="connsiteX24" fmla="*/ 11480 w 1167505"/>
                  <a:gd name="connsiteY24" fmla="*/ 475873 h 1898273"/>
                  <a:gd name="connsiteX25" fmla="*/ 81330 w 1167505"/>
                  <a:gd name="connsiteY25" fmla="*/ 285373 h 1898273"/>
                  <a:gd name="connsiteX26" fmla="*/ 265480 w 1167505"/>
                  <a:gd name="connsiteY26" fmla="*/ 93285 h 1898273"/>
                  <a:gd name="connsiteX27" fmla="*/ 519480 w 1167505"/>
                  <a:gd name="connsiteY27" fmla="*/ 3990 h 1898273"/>
                  <a:gd name="connsiteX28" fmla="*/ 705218 w 1167505"/>
                  <a:gd name="connsiteY28" fmla="*/ 10736 h 1898273"/>
                  <a:gd name="connsiteX29" fmla="*/ 943343 w 1167505"/>
                  <a:gd name="connsiteY29" fmla="*/ 121861 h 1898273"/>
                  <a:gd name="connsiteX30" fmla="*/ 1100505 w 1167505"/>
                  <a:gd name="connsiteY30" fmla="*/ 310773 h 1898273"/>
                  <a:gd name="connsiteX31" fmla="*/ 1162418 w 1167505"/>
                  <a:gd name="connsiteY31" fmla="*/ 513973 h 1898273"/>
                  <a:gd name="connsiteX32" fmla="*/ 1159243 w 1167505"/>
                  <a:gd name="connsiteY32" fmla="*/ 683836 h 1898273"/>
                  <a:gd name="connsiteX33" fmla="*/ 1090980 w 1167505"/>
                  <a:gd name="connsiteY33" fmla="*/ 890211 h 1898273"/>
                  <a:gd name="connsiteX34" fmla="*/ 957630 w 1167505"/>
                  <a:gd name="connsiteY34" fmla="*/ 1058486 h 1898273"/>
                  <a:gd name="connsiteX35" fmla="*/ 914768 w 1167505"/>
                  <a:gd name="connsiteY35" fmla="*/ 1118811 h 1898273"/>
                  <a:gd name="connsiteX36" fmla="*/ 905243 w 1167505"/>
                  <a:gd name="connsiteY36" fmla="*/ 1175961 h 1898273"/>
                  <a:gd name="connsiteX37" fmla="*/ 905243 w 1167505"/>
                  <a:gd name="connsiteY37" fmla="*/ 1264861 h 1898273"/>
                  <a:gd name="connsiteX38" fmla="*/ 868730 w 1167505"/>
                  <a:gd name="connsiteY38" fmla="*/ 1301373 h 1898273"/>
                  <a:gd name="connsiteX39" fmla="*/ 641718 w 1167505"/>
                  <a:gd name="connsiteY39" fmla="*/ 1301373 h 1898273"/>
                  <a:gd name="connsiteX40" fmla="*/ 590918 w 1167505"/>
                  <a:gd name="connsiteY40" fmla="*/ 1279148 h 1898273"/>
                  <a:gd name="connsiteX41" fmla="*/ 590918 w 1167505"/>
                  <a:gd name="connsiteY41" fmla="*/ 1212473 h 1898273"/>
                  <a:gd name="connsiteX0" fmla="*/ 584568 w 1167505"/>
                  <a:gd name="connsiteY0" fmla="*/ 1898273 h 1898273"/>
                  <a:gd name="connsiteX1" fmla="*/ 581393 w 1167505"/>
                  <a:gd name="connsiteY1" fmla="*/ 1768098 h 1898273"/>
                  <a:gd name="connsiteX2" fmla="*/ 508368 w 1167505"/>
                  <a:gd name="connsiteY2" fmla="*/ 1723648 h 1898273"/>
                  <a:gd name="connsiteX3" fmla="*/ 475030 w 1167505"/>
                  <a:gd name="connsiteY3" fmla="*/ 1683961 h 1898273"/>
                  <a:gd name="connsiteX4" fmla="*/ 505193 w 1167505"/>
                  <a:gd name="connsiteY4" fmla="*/ 1644273 h 1898273"/>
                  <a:gd name="connsiteX5" fmla="*/ 717918 w 1167505"/>
                  <a:gd name="connsiteY5" fmla="*/ 1644273 h 1898273"/>
                  <a:gd name="connsiteX6" fmla="*/ 746493 w 1167505"/>
                  <a:gd name="connsiteY6" fmla="*/ 1596648 h 1898273"/>
                  <a:gd name="connsiteX7" fmla="*/ 716330 w 1167505"/>
                  <a:gd name="connsiteY7" fmla="*/ 1560136 h 1898273"/>
                  <a:gd name="connsiteX8" fmla="*/ 398830 w 1167505"/>
                  <a:gd name="connsiteY8" fmla="*/ 1560136 h 1898273"/>
                  <a:gd name="connsiteX9" fmla="*/ 360730 w 1167505"/>
                  <a:gd name="connsiteY9" fmla="*/ 1522036 h 1898273"/>
                  <a:gd name="connsiteX10" fmla="*/ 382955 w 1167505"/>
                  <a:gd name="connsiteY10" fmla="*/ 1474411 h 1898273"/>
                  <a:gd name="connsiteX11" fmla="*/ 797293 w 1167505"/>
                  <a:gd name="connsiteY11" fmla="*/ 1474411 h 1898273"/>
                  <a:gd name="connsiteX12" fmla="*/ 830630 w 1167505"/>
                  <a:gd name="connsiteY12" fmla="*/ 1426786 h 1898273"/>
                  <a:gd name="connsiteX13" fmla="*/ 795705 w 1167505"/>
                  <a:gd name="connsiteY13" fmla="*/ 1383923 h 1898273"/>
                  <a:gd name="connsiteX14" fmla="*/ 386130 w 1167505"/>
                  <a:gd name="connsiteY14" fmla="*/ 1383923 h 1898273"/>
                  <a:gd name="connsiteX15" fmla="*/ 322630 w 1167505"/>
                  <a:gd name="connsiteY15" fmla="*/ 1352173 h 1898273"/>
                  <a:gd name="connsiteX16" fmla="*/ 283340 w 1167505"/>
                  <a:gd name="connsiteY16" fmla="*/ 1300183 h 1898273"/>
                  <a:gd name="connsiteX17" fmla="*/ 271830 w 1167505"/>
                  <a:gd name="connsiteY17" fmla="*/ 1207711 h 1898273"/>
                  <a:gd name="connsiteX18" fmla="*/ 260718 w 1167505"/>
                  <a:gd name="connsiteY18" fmla="*/ 1128336 h 1898273"/>
                  <a:gd name="connsiteX19" fmla="*/ 205155 w 1167505"/>
                  <a:gd name="connsiteY19" fmla="*/ 1037848 h 1898273"/>
                  <a:gd name="connsiteX20" fmla="*/ 130543 w 1167505"/>
                  <a:gd name="connsiteY20" fmla="*/ 955298 h 1898273"/>
                  <a:gd name="connsiteX21" fmla="*/ 55137 w 1167505"/>
                  <a:gd name="connsiteY21" fmla="*/ 845364 h 1898273"/>
                  <a:gd name="connsiteX22" fmla="*/ 13861 w 1167505"/>
                  <a:gd name="connsiteY22" fmla="*/ 735827 h 1898273"/>
                  <a:gd name="connsiteX23" fmla="*/ 368 w 1167505"/>
                  <a:gd name="connsiteY23" fmla="*/ 601286 h 1898273"/>
                  <a:gd name="connsiteX24" fmla="*/ 11480 w 1167505"/>
                  <a:gd name="connsiteY24" fmla="*/ 475873 h 1898273"/>
                  <a:gd name="connsiteX25" fmla="*/ 81330 w 1167505"/>
                  <a:gd name="connsiteY25" fmla="*/ 285373 h 1898273"/>
                  <a:gd name="connsiteX26" fmla="*/ 265480 w 1167505"/>
                  <a:gd name="connsiteY26" fmla="*/ 93285 h 1898273"/>
                  <a:gd name="connsiteX27" fmla="*/ 519480 w 1167505"/>
                  <a:gd name="connsiteY27" fmla="*/ 3990 h 1898273"/>
                  <a:gd name="connsiteX28" fmla="*/ 705218 w 1167505"/>
                  <a:gd name="connsiteY28" fmla="*/ 10736 h 1898273"/>
                  <a:gd name="connsiteX29" fmla="*/ 943343 w 1167505"/>
                  <a:gd name="connsiteY29" fmla="*/ 121861 h 1898273"/>
                  <a:gd name="connsiteX30" fmla="*/ 1100505 w 1167505"/>
                  <a:gd name="connsiteY30" fmla="*/ 310773 h 1898273"/>
                  <a:gd name="connsiteX31" fmla="*/ 1162418 w 1167505"/>
                  <a:gd name="connsiteY31" fmla="*/ 513973 h 1898273"/>
                  <a:gd name="connsiteX32" fmla="*/ 1159243 w 1167505"/>
                  <a:gd name="connsiteY32" fmla="*/ 683836 h 1898273"/>
                  <a:gd name="connsiteX33" fmla="*/ 1090980 w 1167505"/>
                  <a:gd name="connsiteY33" fmla="*/ 890211 h 1898273"/>
                  <a:gd name="connsiteX34" fmla="*/ 957630 w 1167505"/>
                  <a:gd name="connsiteY34" fmla="*/ 1058486 h 1898273"/>
                  <a:gd name="connsiteX35" fmla="*/ 914768 w 1167505"/>
                  <a:gd name="connsiteY35" fmla="*/ 1118811 h 1898273"/>
                  <a:gd name="connsiteX36" fmla="*/ 905243 w 1167505"/>
                  <a:gd name="connsiteY36" fmla="*/ 1175961 h 1898273"/>
                  <a:gd name="connsiteX37" fmla="*/ 905243 w 1167505"/>
                  <a:gd name="connsiteY37" fmla="*/ 1264861 h 1898273"/>
                  <a:gd name="connsiteX38" fmla="*/ 868730 w 1167505"/>
                  <a:gd name="connsiteY38" fmla="*/ 1301373 h 1898273"/>
                  <a:gd name="connsiteX39" fmla="*/ 641718 w 1167505"/>
                  <a:gd name="connsiteY39" fmla="*/ 1301373 h 1898273"/>
                  <a:gd name="connsiteX40" fmla="*/ 590918 w 1167505"/>
                  <a:gd name="connsiteY40" fmla="*/ 1279148 h 1898273"/>
                  <a:gd name="connsiteX41" fmla="*/ 590918 w 1167505"/>
                  <a:gd name="connsiteY41" fmla="*/ 1212473 h 1898273"/>
                  <a:gd name="connsiteX0" fmla="*/ 584568 w 1167505"/>
                  <a:gd name="connsiteY0" fmla="*/ 1898273 h 1898273"/>
                  <a:gd name="connsiteX1" fmla="*/ 581393 w 1167505"/>
                  <a:gd name="connsiteY1" fmla="*/ 1768098 h 1898273"/>
                  <a:gd name="connsiteX2" fmla="*/ 508368 w 1167505"/>
                  <a:gd name="connsiteY2" fmla="*/ 1723648 h 1898273"/>
                  <a:gd name="connsiteX3" fmla="*/ 475030 w 1167505"/>
                  <a:gd name="connsiteY3" fmla="*/ 1683961 h 1898273"/>
                  <a:gd name="connsiteX4" fmla="*/ 505193 w 1167505"/>
                  <a:gd name="connsiteY4" fmla="*/ 1644273 h 1898273"/>
                  <a:gd name="connsiteX5" fmla="*/ 717918 w 1167505"/>
                  <a:gd name="connsiteY5" fmla="*/ 1644273 h 1898273"/>
                  <a:gd name="connsiteX6" fmla="*/ 746493 w 1167505"/>
                  <a:gd name="connsiteY6" fmla="*/ 1596648 h 1898273"/>
                  <a:gd name="connsiteX7" fmla="*/ 716330 w 1167505"/>
                  <a:gd name="connsiteY7" fmla="*/ 1560136 h 1898273"/>
                  <a:gd name="connsiteX8" fmla="*/ 398830 w 1167505"/>
                  <a:gd name="connsiteY8" fmla="*/ 1560136 h 1898273"/>
                  <a:gd name="connsiteX9" fmla="*/ 360730 w 1167505"/>
                  <a:gd name="connsiteY9" fmla="*/ 1522036 h 1898273"/>
                  <a:gd name="connsiteX10" fmla="*/ 382955 w 1167505"/>
                  <a:gd name="connsiteY10" fmla="*/ 1474411 h 1898273"/>
                  <a:gd name="connsiteX11" fmla="*/ 797293 w 1167505"/>
                  <a:gd name="connsiteY11" fmla="*/ 1474411 h 1898273"/>
                  <a:gd name="connsiteX12" fmla="*/ 830630 w 1167505"/>
                  <a:gd name="connsiteY12" fmla="*/ 1426786 h 1898273"/>
                  <a:gd name="connsiteX13" fmla="*/ 795705 w 1167505"/>
                  <a:gd name="connsiteY13" fmla="*/ 1383923 h 1898273"/>
                  <a:gd name="connsiteX14" fmla="*/ 386130 w 1167505"/>
                  <a:gd name="connsiteY14" fmla="*/ 1383923 h 1898273"/>
                  <a:gd name="connsiteX15" fmla="*/ 322630 w 1167505"/>
                  <a:gd name="connsiteY15" fmla="*/ 1352173 h 1898273"/>
                  <a:gd name="connsiteX16" fmla="*/ 283340 w 1167505"/>
                  <a:gd name="connsiteY16" fmla="*/ 1300183 h 1898273"/>
                  <a:gd name="connsiteX17" fmla="*/ 271830 w 1167505"/>
                  <a:gd name="connsiteY17" fmla="*/ 1207711 h 1898273"/>
                  <a:gd name="connsiteX18" fmla="*/ 260718 w 1167505"/>
                  <a:gd name="connsiteY18" fmla="*/ 1128336 h 1898273"/>
                  <a:gd name="connsiteX19" fmla="*/ 205155 w 1167505"/>
                  <a:gd name="connsiteY19" fmla="*/ 1037848 h 1898273"/>
                  <a:gd name="connsiteX20" fmla="*/ 130543 w 1167505"/>
                  <a:gd name="connsiteY20" fmla="*/ 955298 h 1898273"/>
                  <a:gd name="connsiteX21" fmla="*/ 55137 w 1167505"/>
                  <a:gd name="connsiteY21" fmla="*/ 845364 h 1898273"/>
                  <a:gd name="connsiteX22" fmla="*/ 13861 w 1167505"/>
                  <a:gd name="connsiteY22" fmla="*/ 735827 h 1898273"/>
                  <a:gd name="connsiteX23" fmla="*/ 368 w 1167505"/>
                  <a:gd name="connsiteY23" fmla="*/ 601286 h 1898273"/>
                  <a:gd name="connsiteX24" fmla="*/ 11480 w 1167505"/>
                  <a:gd name="connsiteY24" fmla="*/ 475873 h 1898273"/>
                  <a:gd name="connsiteX25" fmla="*/ 81330 w 1167505"/>
                  <a:gd name="connsiteY25" fmla="*/ 285373 h 1898273"/>
                  <a:gd name="connsiteX26" fmla="*/ 265480 w 1167505"/>
                  <a:gd name="connsiteY26" fmla="*/ 93285 h 1898273"/>
                  <a:gd name="connsiteX27" fmla="*/ 519480 w 1167505"/>
                  <a:gd name="connsiteY27" fmla="*/ 3990 h 1898273"/>
                  <a:gd name="connsiteX28" fmla="*/ 705218 w 1167505"/>
                  <a:gd name="connsiteY28" fmla="*/ 10736 h 1898273"/>
                  <a:gd name="connsiteX29" fmla="*/ 943343 w 1167505"/>
                  <a:gd name="connsiteY29" fmla="*/ 121861 h 1898273"/>
                  <a:gd name="connsiteX30" fmla="*/ 1100505 w 1167505"/>
                  <a:gd name="connsiteY30" fmla="*/ 310773 h 1898273"/>
                  <a:gd name="connsiteX31" fmla="*/ 1162418 w 1167505"/>
                  <a:gd name="connsiteY31" fmla="*/ 513973 h 1898273"/>
                  <a:gd name="connsiteX32" fmla="*/ 1159243 w 1167505"/>
                  <a:gd name="connsiteY32" fmla="*/ 683836 h 1898273"/>
                  <a:gd name="connsiteX33" fmla="*/ 1090980 w 1167505"/>
                  <a:gd name="connsiteY33" fmla="*/ 890211 h 1898273"/>
                  <a:gd name="connsiteX34" fmla="*/ 957630 w 1167505"/>
                  <a:gd name="connsiteY34" fmla="*/ 1058486 h 1898273"/>
                  <a:gd name="connsiteX35" fmla="*/ 914768 w 1167505"/>
                  <a:gd name="connsiteY35" fmla="*/ 1118811 h 1898273"/>
                  <a:gd name="connsiteX36" fmla="*/ 905243 w 1167505"/>
                  <a:gd name="connsiteY36" fmla="*/ 1175961 h 1898273"/>
                  <a:gd name="connsiteX37" fmla="*/ 905243 w 1167505"/>
                  <a:gd name="connsiteY37" fmla="*/ 1264861 h 1898273"/>
                  <a:gd name="connsiteX38" fmla="*/ 868730 w 1167505"/>
                  <a:gd name="connsiteY38" fmla="*/ 1301373 h 1898273"/>
                  <a:gd name="connsiteX39" fmla="*/ 641718 w 1167505"/>
                  <a:gd name="connsiteY39" fmla="*/ 1301373 h 1898273"/>
                  <a:gd name="connsiteX40" fmla="*/ 590918 w 1167505"/>
                  <a:gd name="connsiteY40" fmla="*/ 1279148 h 1898273"/>
                  <a:gd name="connsiteX41" fmla="*/ 590918 w 1167505"/>
                  <a:gd name="connsiteY41" fmla="*/ 1212473 h 1898273"/>
                  <a:gd name="connsiteX0" fmla="*/ 584568 w 1170104"/>
                  <a:gd name="connsiteY0" fmla="*/ 1898273 h 1898273"/>
                  <a:gd name="connsiteX1" fmla="*/ 581393 w 1170104"/>
                  <a:gd name="connsiteY1" fmla="*/ 1768098 h 1898273"/>
                  <a:gd name="connsiteX2" fmla="*/ 508368 w 1170104"/>
                  <a:gd name="connsiteY2" fmla="*/ 1723648 h 1898273"/>
                  <a:gd name="connsiteX3" fmla="*/ 475030 w 1170104"/>
                  <a:gd name="connsiteY3" fmla="*/ 1683961 h 1898273"/>
                  <a:gd name="connsiteX4" fmla="*/ 505193 w 1170104"/>
                  <a:gd name="connsiteY4" fmla="*/ 1644273 h 1898273"/>
                  <a:gd name="connsiteX5" fmla="*/ 717918 w 1170104"/>
                  <a:gd name="connsiteY5" fmla="*/ 1644273 h 1898273"/>
                  <a:gd name="connsiteX6" fmla="*/ 746493 w 1170104"/>
                  <a:gd name="connsiteY6" fmla="*/ 1596648 h 1898273"/>
                  <a:gd name="connsiteX7" fmla="*/ 716330 w 1170104"/>
                  <a:gd name="connsiteY7" fmla="*/ 1560136 h 1898273"/>
                  <a:gd name="connsiteX8" fmla="*/ 398830 w 1170104"/>
                  <a:gd name="connsiteY8" fmla="*/ 1560136 h 1898273"/>
                  <a:gd name="connsiteX9" fmla="*/ 360730 w 1170104"/>
                  <a:gd name="connsiteY9" fmla="*/ 1522036 h 1898273"/>
                  <a:gd name="connsiteX10" fmla="*/ 382955 w 1170104"/>
                  <a:gd name="connsiteY10" fmla="*/ 1474411 h 1898273"/>
                  <a:gd name="connsiteX11" fmla="*/ 797293 w 1170104"/>
                  <a:gd name="connsiteY11" fmla="*/ 1474411 h 1898273"/>
                  <a:gd name="connsiteX12" fmla="*/ 830630 w 1170104"/>
                  <a:gd name="connsiteY12" fmla="*/ 1426786 h 1898273"/>
                  <a:gd name="connsiteX13" fmla="*/ 795705 w 1170104"/>
                  <a:gd name="connsiteY13" fmla="*/ 1383923 h 1898273"/>
                  <a:gd name="connsiteX14" fmla="*/ 386130 w 1170104"/>
                  <a:gd name="connsiteY14" fmla="*/ 1383923 h 1898273"/>
                  <a:gd name="connsiteX15" fmla="*/ 322630 w 1170104"/>
                  <a:gd name="connsiteY15" fmla="*/ 1352173 h 1898273"/>
                  <a:gd name="connsiteX16" fmla="*/ 283340 w 1170104"/>
                  <a:gd name="connsiteY16" fmla="*/ 1300183 h 1898273"/>
                  <a:gd name="connsiteX17" fmla="*/ 271830 w 1170104"/>
                  <a:gd name="connsiteY17" fmla="*/ 1207711 h 1898273"/>
                  <a:gd name="connsiteX18" fmla="*/ 260718 w 1170104"/>
                  <a:gd name="connsiteY18" fmla="*/ 1128336 h 1898273"/>
                  <a:gd name="connsiteX19" fmla="*/ 205155 w 1170104"/>
                  <a:gd name="connsiteY19" fmla="*/ 1037848 h 1898273"/>
                  <a:gd name="connsiteX20" fmla="*/ 130543 w 1170104"/>
                  <a:gd name="connsiteY20" fmla="*/ 955298 h 1898273"/>
                  <a:gd name="connsiteX21" fmla="*/ 55137 w 1170104"/>
                  <a:gd name="connsiteY21" fmla="*/ 845364 h 1898273"/>
                  <a:gd name="connsiteX22" fmla="*/ 13861 w 1170104"/>
                  <a:gd name="connsiteY22" fmla="*/ 735827 h 1898273"/>
                  <a:gd name="connsiteX23" fmla="*/ 368 w 1170104"/>
                  <a:gd name="connsiteY23" fmla="*/ 601286 h 1898273"/>
                  <a:gd name="connsiteX24" fmla="*/ 11480 w 1170104"/>
                  <a:gd name="connsiteY24" fmla="*/ 475873 h 1898273"/>
                  <a:gd name="connsiteX25" fmla="*/ 81330 w 1170104"/>
                  <a:gd name="connsiteY25" fmla="*/ 285373 h 1898273"/>
                  <a:gd name="connsiteX26" fmla="*/ 265480 w 1170104"/>
                  <a:gd name="connsiteY26" fmla="*/ 93285 h 1898273"/>
                  <a:gd name="connsiteX27" fmla="*/ 519480 w 1170104"/>
                  <a:gd name="connsiteY27" fmla="*/ 3990 h 1898273"/>
                  <a:gd name="connsiteX28" fmla="*/ 705218 w 1170104"/>
                  <a:gd name="connsiteY28" fmla="*/ 10736 h 1898273"/>
                  <a:gd name="connsiteX29" fmla="*/ 943343 w 1170104"/>
                  <a:gd name="connsiteY29" fmla="*/ 121861 h 1898273"/>
                  <a:gd name="connsiteX30" fmla="*/ 1100505 w 1170104"/>
                  <a:gd name="connsiteY30" fmla="*/ 310773 h 1898273"/>
                  <a:gd name="connsiteX31" fmla="*/ 1162418 w 1170104"/>
                  <a:gd name="connsiteY31" fmla="*/ 513973 h 1898273"/>
                  <a:gd name="connsiteX32" fmla="*/ 1165196 w 1170104"/>
                  <a:gd name="connsiteY32" fmla="*/ 683836 h 1898273"/>
                  <a:gd name="connsiteX33" fmla="*/ 1090980 w 1170104"/>
                  <a:gd name="connsiteY33" fmla="*/ 890211 h 1898273"/>
                  <a:gd name="connsiteX34" fmla="*/ 957630 w 1170104"/>
                  <a:gd name="connsiteY34" fmla="*/ 1058486 h 1898273"/>
                  <a:gd name="connsiteX35" fmla="*/ 914768 w 1170104"/>
                  <a:gd name="connsiteY35" fmla="*/ 1118811 h 1898273"/>
                  <a:gd name="connsiteX36" fmla="*/ 905243 w 1170104"/>
                  <a:gd name="connsiteY36" fmla="*/ 1175961 h 1898273"/>
                  <a:gd name="connsiteX37" fmla="*/ 905243 w 1170104"/>
                  <a:gd name="connsiteY37" fmla="*/ 1264861 h 1898273"/>
                  <a:gd name="connsiteX38" fmla="*/ 868730 w 1170104"/>
                  <a:gd name="connsiteY38" fmla="*/ 1301373 h 1898273"/>
                  <a:gd name="connsiteX39" fmla="*/ 641718 w 1170104"/>
                  <a:gd name="connsiteY39" fmla="*/ 1301373 h 1898273"/>
                  <a:gd name="connsiteX40" fmla="*/ 590918 w 1170104"/>
                  <a:gd name="connsiteY40" fmla="*/ 1279148 h 1898273"/>
                  <a:gd name="connsiteX41" fmla="*/ 590918 w 1170104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90980 w 1167899"/>
                  <a:gd name="connsiteY33" fmla="*/ 890211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90980 w 1167899"/>
                  <a:gd name="connsiteY33" fmla="*/ 890211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90980 w 1167899"/>
                  <a:gd name="connsiteY33" fmla="*/ 890211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7630 w 1167899"/>
                  <a:gd name="connsiteY34" fmla="*/ 1058486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5243 w 1167899"/>
                  <a:gd name="connsiteY37" fmla="*/ 1264861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902862 w 1167899"/>
                  <a:gd name="connsiteY37" fmla="*/ 1261289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5243 w 1167899"/>
                  <a:gd name="connsiteY36" fmla="*/ 1175961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2955 w 1167899"/>
                  <a:gd name="connsiteY10" fmla="*/ 1474411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5030 w 1167899"/>
                  <a:gd name="connsiteY3" fmla="*/ 1683961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8368 w 1167899"/>
                  <a:gd name="connsiteY2" fmla="*/ 1723648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0033 w 1167899"/>
                  <a:gd name="connsiteY2" fmla="*/ 1728411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00033 w 1167899"/>
                  <a:gd name="connsiteY2" fmla="*/ 1728411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6493 w 1167899"/>
                  <a:gd name="connsiteY6" fmla="*/ 1596648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60718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9527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30630 w 1167899"/>
                  <a:gd name="connsiteY12" fmla="*/ 1426786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0136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68730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58014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2868 w 1167899"/>
                  <a:gd name="connsiteY34" fmla="*/ 1056105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58014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7899"/>
                  <a:gd name="connsiteY0" fmla="*/ 1898273 h 1898273"/>
                  <a:gd name="connsiteX1" fmla="*/ 581393 w 1167899"/>
                  <a:gd name="connsiteY1" fmla="*/ 1768098 h 1898273"/>
                  <a:gd name="connsiteX2" fmla="*/ 513130 w 1167899"/>
                  <a:gd name="connsiteY2" fmla="*/ 1726030 h 1898273"/>
                  <a:gd name="connsiteX3" fmla="*/ 470268 w 1167899"/>
                  <a:gd name="connsiteY3" fmla="*/ 1680389 h 1898273"/>
                  <a:gd name="connsiteX4" fmla="*/ 505193 w 1167899"/>
                  <a:gd name="connsiteY4" fmla="*/ 1644273 h 1898273"/>
                  <a:gd name="connsiteX5" fmla="*/ 717918 w 1167899"/>
                  <a:gd name="connsiteY5" fmla="*/ 1644273 h 1898273"/>
                  <a:gd name="connsiteX6" fmla="*/ 748874 w 1167899"/>
                  <a:gd name="connsiteY6" fmla="*/ 1603792 h 1898273"/>
                  <a:gd name="connsiteX7" fmla="*/ 716330 w 1167899"/>
                  <a:gd name="connsiteY7" fmla="*/ 1561327 h 1898273"/>
                  <a:gd name="connsiteX8" fmla="*/ 398830 w 1167899"/>
                  <a:gd name="connsiteY8" fmla="*/ 1560136 h 1898273"/>
                  <a:gd name="connsiteX9" fmla="*/ 360730 w 1167899"/>
                  <a:gd name="connsiteY9" fmla="*/ 1522036 h 1898273"/>
                  <a:gd name="connsiteX10" fmla="*/ 387717 w 1167899"/>
                  <a:gd name="connsiteY10" fmla="*/ 1476793 h 1898273"/>
                  <a:gd name="connsiteX11" fmla="*/ 797293 w 1167899"/>
                  <a:gd name="connsiteY11" fmla="*/ 1474411 h 1898273"/>
                  <a:gd name="connsiteX12" fmla="*/ 828249 w 1167899"/>
                  <a:gd name="connsiteY12" fmla="*/ 1425595 h 1898273"/>
                  <a:gd name="connsiteX13" fmla="*/ 795705 w 1167899"/>
                  <a:gd name="connsiteY13" fmla="*/ 1383923 h 1898273"/>
                  <a:gd name="connsiteX14" fmla="*/ 386130 w 1167899"/>
                  <a:gd name="connsiteY14" fmla="*/ 1383923 h 1898273"/>
                  <a:gd name="connsiteX15" fmla="*/ 322630 w 1167899"/>
                  <a:gd name="connsiteY15" fmla="*/ 1352173 h 1898273"/>
                  <a:gd name="connsiteX16" fmla="*/ 283340 w 1167899"/>
                  <a:gd name="connsiteY16" fmla="*/ 1300183 h 1898273"/>
                  <a:gd name="connsiteX17" fmla="*/ 271830 w 1167899"/>
                  <a:gd name="connsiteY17" fmla="*/ 1207711 h 1898273"/>
                  <a:gd name="connsiteX18" fmla="*/ 255955 w 1167899"/>
                  <a:gd name="connsiteY18" fmla="*/ 1128336 h 1898273"/>
                  <a:gd name="connsiteX19" fmla="*/ 205155 w 1167899"/>
                  <a:gd name="connsiteY19" fmla="*/ 1037848 h 1898273"/>
                  <a:gd name="connsiteX20" fmla="*/ 130543 w 1167899"/>
                  <a:gd name="connsiteY20" fmla="*/ 955298 h 1898273"/>
                  <a:gd name="connsiteX21" fmla="*/ 55137 w 1167899"/>
                  <a:gd name="connsiteY21" fmla="*/ 845364 h 1898273"/>
                  <a:gd name="connsiteX22" fmla="*/ 13861 w 1167899"/>
                  <a:gd name="connsiteY22" fmla="*/ 735827 h 1898273"/>
                  <a:gd name="connsiteX23" fmla="*/ 368 w 1167899"/>
                  <a:gd name="connsiteY23" fmla="*/ 601286 h 1898273"/>
                  <a:gd name="connsiteX24" fmla="*/ 11480 w 1167899"/>
                  <a:gd name="connsiteY24" fmla="*/ 475873 h 1898273"/>
                  <a:gd name="connsiteX25" fmla="*/ 81330 w 1167899"/>
                  <a:gd name="connsiteY25" fmla="*/ 285373 h 1898273"/>
                  <a:gd name="connsiteX26" fmla="*/ 265480 w 1167899"/>
                  <a:gd name="connsiteY26" fmla="*/ 93285 h 1898273"/>
                  <a:gd name="connsiteX27" fmla="*/ 519480 w 1167899"/>
                  <a:gd name="connsiteY27" fmla="*/ 3990 h 1898273"/>
                  <a:gd name="connsiteX28" fmla="*/ 705218 w 1167899"/>
                  <a:gd name="connsiteY28" fmla="*/ 10736 h 1898273"/>
                  <a:gd name="connsiteX29" fmla="*/ 943343 w 1167899"/>
                  <a:gd name="connsiteY29" fmla="*/ 121861 h 1898273"/>
                  <a:gd name="connsiteX30" fmla="*/ 1100505 w 1167899"/>
                  <a:gd name="connsiteY30" fmla="*/ 310773 h 1898273"/>
                  <a:gd name="connsiteX31" fmla="*/ 1162418 w 1167899"/>
                  <a:gd name="connsiteY31" fmla="*/ 513973 h 1898273"/>
                  <a:gd name="connsiteX32" fmla="*/ 1165196 w 1167899"/>
                  <a:gd name="connsiteY32" fmla="*/ 683836 h 1898273"/>
                  <a:gd name="connsiteX33" fmla="*/ 1085027 w 1167899"/>
                  <a:gd name="connsiteY33" fmla="*/ 889020 h 1898273"/>
                  <a:gd name="connsiteX34" fmla="*/ 950487 w 1167899"/>
                  <a:gd name="connsiteY34" fmla="*/ 1054914 h 1898273"/>
                  <a:gd name="connsiteX35" fmla="*/ 914768 w 1167899"/>
                  <a:gd name="connsiteY35" fmla="*/ 1118811 h 1898273"/>
                  <a:gd name="connsiteX36" fmla="*/ 900480 w 1167899"/>
                  <a:gd name="connsiteY36" fmla="*/ 1177152 h 1898273"/>
                  <a:gd name="connsiteX37" fmla="*/ 898100 w 1167899"/>
                  <a:gd name="connsiteY37" fmla="*/ 1258908 h 1898273"/>
                  <a:gd name="connsiteX38" fmla="*/ 858014 w 1167899"/>
                  <a:gd name="connsiteY38" fmla="*/ 1301373 h 1898273"/>
                  <a:gd name="connsiteX39" fmla="*/ 641718 w 1167899"/>
                  <a:gd name="connsiteY39" fmla="*/ 1301373 h 1898273"/>
                  <a:gd name="connsiteX40" fmla="*/ 590918 w 1167899"/>
                  <a:gd name="connsiteY40" fmla="*/ 1279148 h 1898273"/>
                  <a:gd name="connsiteX41" fmla="*/ 590918 w 1167899"/>
                  <a:gd name="connsiteY41" fmla="*/ 1212473 h 1898273"/>
                  <a:gd name="connsiteX0" fmla="*/ 584568 w 1169166"/>
                  <a:gd name="connsiteY0" fmla="*/ 1898273 h 1898273"/>
                  <a:gd name="connsiteX1" fmla="*/ 581393 w 1169166"/>
                  <a:gd name="connsiteY1" fmla="*/ 1768098 h 1898273"/>
                  <a:gd name="connsiteX2" fmla="*/ 513130 w 1169166"/>
                  <a:gd name="connsiteY2" fmla="*/ 1726030 h 1898273"/>
                  <a:gd name="connsiteX3" fmla="*/ 470268 w 1169166"/>
                  <a:gd name="connsiteY3" fmla="*/ 1680389 h 1898273"/>
                  <a:gd name="connsiteX4" fmla="*/ 505193 w 1169166"/>
                  <a:gd name="connsiteY4" fmla="*/ 1644273 h 1898273"/>
                  <a:gd name="connsiteX5" fmla="*/ 717918 w 1169166"/>
                  <a:gd name="connsiteY5" fmla="*/ 1644273 h 1898273"/>
                  <a:gd name="connsiteX6" fmla="*/ 748874 w 1169166"/>
                  <a:gd name="connsiteY6" fmla="*/ 1603792 h 1898273"/>
                  <a:gd name="connsiteX7" fmla="*/ 716330 w 1169166"/>
                  <a:gd name="connsiteY7" fmla="*/ 1561327 h 1898273"/>
                  <a:gd name="connsiteX8" fmla="*/ 398830 w 1169166"/>
                  <a:gd name="connsiteY8" fmla="*/ 1560136 h 1898273"/>
                  <a:gd name="connsiteX9" fmla="*/ 360730 w 1169166"/>
                  <a:gd name="connsiteY9" fmla="*/ 1522036 h 1898273"/>
                  <a:gd name="connsiteX10" fmla="*/ 387717 w 1169166"/>
                  <a:gd name="connsiteY10" fmla="*/ 1476793 h 1898273"/>
                  <a:gd name="connsiteX11" fmla="*/ 797293 w 1169166"/>
                  <a:gd name="connsiteY11" fmla="*/ 1474411 h 1898273"/>
                  <a:gd name="connsiteX12" fmla="*/ 828249 w 1169166"/>
                  <a:gd name="connsiteY12" fmla="*/ 1425595 h 1898273"/>
                  <a:gd name="connsiteX13" fmla="*/ 795705 w 1169166"/>
                  <a:gd name="connsiteY13" fmla="*/ 1383923 h 1898273"/>
                  <a:gd name="connsiteX14" fmla="*/ 386130 w 1169166"/>
                  <a:gd name="connsiteY14" fmla="*/ 1383923 h 1898273"/>
                  <a:gd name="connsiteX15" fmla="*/ 322630 w 1169166"/>
                  <a:gd name="connsiteY15" fmla="*/ 1352173 h 1898273"/>
                  <a:gd name="connsiteX16" fmla="*/ 283340 w 1169166"/>
                  <a:gd name="connsiteY16" fmla="*/ 1300183 h 1898273"/>
                  <a:gd name="connsiteX17" fmla="*/ 271830 w 1169166"/>
                  <a:gd name="connsiteY17" fmla="*/ 1207711 h 1898273"/>
                  <a:gd name="connsiteX18" fmla="*/ 255955 w 1169166"/>
                  <a:gd name="connsiteY18" fmla="*/ 1128336 h 1898273"/>
                  <a:gd name="connsiteX19" fmla="*/ 205155 w 1169166"/>
                  <a:gd name="connsiteY19" fmla="*/ 1037848 h 1898273"/>
                  <a:gd name="connsiteX20" fmla="*/ 130543 w 1169166"/>
                  <a:gd name="connsiteY20" fmla="*/ 955298 h 1898273"/>
                  <a:gd name="connsiteX21" fmla="*/ 55137 w 1169166"/>
                  <a:gd name="connsiteY21" fmla="*/ 845364 h 1898273"/>
                  <a:gd name="connsiteX22" fmla="*/ 13861 w 1169166"/>
                  <a:gd name="connsiteY22" fmla="*/ 735827 h 1898273"/>
                  <a:gd name="connsiteX23" fmla="*/ 368 w 1169166"/>
                  <a:gd name="connsiteY23" fmla="*/ 601286 h 1898273"/>
                  <a:gd name="connsiteX24" fmla="*/ 11480 w 1169166"/>
                  <a:gd name="connsiteY24" fmla="*/ 475873 h 1898273"/>
                  <a:gd name="connsiteX25" fmla="*/ 81330 w 1169166"/>
                  <a:gd name="connsiteY25" fmla="*/ 285373 h 1898273"/>
                  <a:gd name="connsiteX26" fmla="*/ 265480 w 1169166"/>
                  <a:gd name="connsiteY26" fmla="*/ 93285 h 1898273"/>
                  <a:gd name="connsiteX27" fmla="*/ 519480 w 1169166"/>
                  <a:gd name="connsiteY27" fmla="*/ 3990 h 1898273"/>
                  <a:gd name="connsiteX28" fmla="*/ 705218 w 1169166"/>
                  <a:gd name="connsiteY28" fmla="*/ 10736 h 1898273"/>
                  <a:gd name="connsiteX29" fmla="*/ 943343 w 1169166"/>
                  <a:gd name="connsiteY29" fmla="*/ 121861 h 1898273"/>
                  <a:gd name="connsiteX30" fmla="*/ 1100505 w 1169166"/>
                  <a:gd name="connsiteY30" fmla="*/ 310773 h 1898273"/>
                  <a:gd name="connsiteX31" fmla="*/ 1162418 w 1169166"/>
                  <a:gd name="connsiteY31" fmla="*/ 513973 h 1898273"/>
                  <a:gd name="connsiteX32" fmla="*/ 1165196 w 1169166"/>
                  <a:gd name="connsiteY32" fmla="*/ 683836 h 1898273"/>
                  <a:gd name="connsiteX33" fmla="*/ 1085027 w 1169166"/>
                  <a:gd name="connsiteY33" fmla="*/ 889020 h 1898273"/>
                  <a:gd name="connsiteX34" fmla="*/ 950487 w 1169166"/>
                  <a:gd name="connsiteY34" fmla="*/ 1054914 h 1898273"/>
                  <a:gd name="connsiteX35" fmla="*/ 914768 w 1169166"/>
                  <a:gd name="connsiteY35" fmla="*/ 1118811 h 1898273"/>
                  <a:gd name="connsiteX36" fmla="*/ 900480 w 1169166"/>
                  <a:gd name="connsiteY36" fmla="*/ 1177152 h 1898273"/>
                  <a:gd name="connsiteX37" fmla="*/ 898100 w 1169166"/>
                  <a:gd name="connsiteY37" fmla="*/ 1258908 h 1898273"/>
                  <a:gd name="connsiteX38" fmla="*/ 858014 w 1169166"/>
                  <a:gd name="connsiteY38" fmla="*/ 1301373 h 1898273"/>
                  <a:gd name="connsiteX39" fmla="*/ 641718 w 1169166"/>
                  <a:gd name="connsiteY39" fmla="*/ 1301373 h 1898273"/>
                  <a:gd name="connsiteX40" fmla="*/ 590918 w 1169166"/>
                  <a:gd name="connsiteY40" fmla="*/ 1279148 h 1898273"/>
                  <a:gd name="connsiteX41" fmla="*/ 590918 w 1169166"/>
                  <a:gd name="connsiteY41" fmla="*/ 1212473 h 1898273"/>
                  <a:gd name="connsiteX0" fmla="*/ 584568 w 1169166"/>
                  <a:gd name="connsiteY0" fmla="*/ 1898273 h 1898273"/>
                  <a:gd name="connsiteX1" fmla="*/ 581393 w 1169166"/>
                  <a:gd name="connsiteY1" fmla="*/ 1768098 h 1898273"/>
                  <a:gd name="connsiteX2" fmla="*/ 513130 w 1169166"/>
                  <a:gd name="connsiteY2" fmla="*/ 1726030 h 1898273"/>
                  <a:gd name="connsiteX3" fmla="*/ 470268 w 1169166"/>
                  <a:gd name="connsiteY3" fmla="*/ 1680389 h 1898273"/>
                  <a:gd name="connsiteX4" fmla="*/ 505193 w 1169166"/>
                  <a:gd name="connsiteY4" fmla="*/ 1644273 h 1898273"/>
                  <a:gd name="connsiteX5" fmla="*/ 717918 w 1169166"/>
                  <a:gd name="connsiteY5" fmla="*/ 1644273 h 1898273"/>
                  <a:gd name="connsiteX6" fmla="*/ 748874 w 1169166"/>
                  <a:gd name="connsiteY6" fmla="*/ 1603792 h 1898273"/>
                  <a:gd name="connsiteX7" fmla="*/ 716330 w 1169166"/>
                  <a:gd name="connsiteY7" fmla="*/ 1561327 h 1898273"/>
                  <a:gd name="connsiteX8" fmla="*/ 398830 w 1169166"/>
                  <a:gd name="connsiteY8" fmla="*/ 1560136 h 1898273"/>
                  <a:gd name="connsiteX9" fmla="*/ 360730 w 1169166"/>
                  <a:gd name="connsiteY9" fmla="*/ 1522036 h 1898273"/>
                  <a:gd name="connsiteX10" fmla="*/ 387717 w 1169166"/>
                  <a:gd name="connsiteY10" fmla="*/ 1476793 h 1898273"/>
                  <a:gd name="connsiteX11" fmla="*/ 797293 w 1169166"/>
                  <a:gd name="connsiteY11" fmla="*/ 1474411 h 1898273"/>
                  <a:gd name="connsiteX12" fmla="*/ 828249 w 1169166"/>
                  <a:gd name="connsiteY12" fmla="*/ 1425595 h 1898273"/>
                  <a:gd name="connsiteX13" fmla="*/ 795705 w 1169166"/>
                  <a:gd name="connsiteY13" fmla="*/ 1383923 h 1898273"/>
                  <a:gd name="connsiteX14" fmla="*/ 386130 w 1169166"/>
                  <a:gd name="connsiteY14" fmla="*/ 1383923 h 1898273"/>
                  <a:gd name="connsiteX15" fmla="*/ 322630 w 1169166"/>
                  <a:gd name="connsiteY15" fmla="*/ 1352173 h 1898273"/>
                  <a:gd name="connsiteX16" fmla="*/ 283340 w 1169166"/>
                  <a:gd name="connsiteY16" fmla="*/ 1300183 h 1898273"/>
                  <a:gd name="connsiteX17" fmla="*/ 271830 w 1169166"/>
                  <a:gd name="connsiteY17" fmla="*/ 1207711 h 1898273"/>
                  <a:gd name="connsiteX18" fmla="*/ 255955 w 1169166"/>
                  <a:gd name="connsiteY18" fmla="*/ 1128336 h 1898273"/>
                  <a:gd name="connsiteX19" fmla="*/ 205155 w 1169166"/>
                  <a:gd name="connsiteY19" fmla="*/ 1037848 h 1898273"/>
                  <a:gd name="connsiteX20" fmla="*/ 130543 w 1169166"/>
                  <a:gd name="connsiteY20" fmla="*/ 955298 h 1898273"/>
                  <a:gd name="connsiteX21" fmla="*/ 55137 w 1169166"/>
                  <a:gd name="connsiteY21" fmla="*/ 845364 h 1898273"/>
                  <a:gd name="connsiteX22" fmla="*/ 13861 w 1169166"/>
                  <a:gd name="connsiteY22" fmla="*/ 735827 h 1898273"/>
                  <a:gd name="connsiteX23" fmla="*/ 368 w 1169166"/>
                  <a:gd name="connsiteY23" fmla="*/ 601286 h 1898273"/>
                  <a:gd name="connsiteX24" fmla="*/ 11480 w 1169166"/>
                  <a:gd name="connsiteY24" fmla="*/ 475873 h 1898273"/>
                  <a:gd name="connsiteX25" fmla="*/ 81330 w 1169166"/>
                  <a:gd name="connsiteY25" fmla="*/ 285373 h 1898273"/>
                  <a:gd name="connsiteX26" fmla="*/ 265480 w 1169166"/>
                  <a:gd name="connsiteY26" fmla="*/ 93285 h 1898273"/>
                  <a:gd name="connsiteX27" fmla="*/ 519480 w 1169166"/>
                  <a:gd name="connsiteY27" fmla="*/ 3990 h 1898273"/>
                  <a:gd name="connsiteX28" fmla="*/ 705218 w 1169166"/>
                  <a:gd name="connsiteY28" fmla="*/ 10736 h 1898273"/>
                  <a:gd name="connsiteX29" fmla="*/ 943343 w 1169166"/>
                  <a:gd name="connsiteY29" fmla="*/ 121861 h 1898273"/>
                  <a:gd name="connsiteX30" fmla="*/ 1100505 w 1169166"/>
                  <a:gd name="connsiteY30" fmla="*/ 310773 h 1898273"/>
                  <a:gd name="connsiteX31" fmla="*/ 1162418 w 1169166"/>
                  <a:gd name="connsiteY31" fmla="*/ 513973 h 1898273"/>
                  <a:gd name="connsiteX32" fmla="*/ 1165196 w 1169166"/>
                  <a:gd name="connsiteY32" fmla="*/ 683836 h 1898273"/>
                  <a:gd name="connsiteX33" fmla="*/ 1085027 w 1169166"/>
                  <a:gd name="connsiteY33" fmla="*/ 889020 h 1898273"/>
                  <a:gd name="connsiteX34" fmla="*/ 950487 w 1169166"/>
                  <a:gd name="connsiteY34" fmla="*/ 1054914 h 1898273"/>
                  <a:gd name="connsiteX35" fmla="*/ 914768 w 1169166"/>
                  <a:gd name="connsiteY35" fmla="*/ 1118811 h 1898273"/>
                  <a:gd name="connsiteX36" fmla="*/ 900480 w 1169166"/>
                  <a:gd name="connsiteY36" fmla="*/ 1177152 h 1898273"/>
                  <a:gd name="connsiteX37" fmla="*/ 898100 w 1169166"/>
                  <a:gd name="connsiteY37" fmla="*/ 1258908 h 1898273"/>
                  <a:gd name="connsiteX38" fmla="*/ 858014 w 1169166"/>
                  <a:gd name="connsiteY38" fmla="*/ 1301373 h 1898273"/>
                  <a:gd name="connsiteX39" fmla="*/ 641718 w 1169166"/>
                  <a:gd name="connsiteY39" fmla="*/ 1301373 h 1898273"/>
                  <a:gd name="connsiteX40" fmla="*/ 590918 w 1169166"/>
                  <a:gd name="connsiteY40" fmla="*/ 1279148 h 1898273"/>
                  <a:gd name="connsiteX41" fmla="*/ 590918 w 1169166"/>
                  <a:gd name="connsiteY41" fmla="*/ 1212473 h 1898273"/>
                  <a:gd name="connsiteX0" fmla="*/ 584568 w 1170467"/>
                  <a:gd name="connsiteY0" fmla="*/ 1898273 h 1898273"/>
                  <a:gd name="connsiteX1" fmla="*/ 581393 w 1170467"/>
                  <a:gd name="connsiteY1" fmla="*/ 1768098 h 1898273"/>
                  <a:gd name="connsiteX2" fmla="*/ 513130 w 1170467"/>
                  <a:gd name="connsiteY2" fmla="*/ 1726030 h 1898273"/>
                  <a:gd name="connsiteX3" fmla="*/ 470268 w 1170467"/>
                  <a:gd name="connsiteY3" fmla="*/ 1680389 h 1898273"/>
                  <a:gd name="connsiteX4" fmla="*/ 505193 w 1170467"/>
                  <a:gd name="connsiteY4" fmla="*/ 1644273 h 1898273"/>
                  <a:gd name="connsiteX5" fmla="*/ 717918 w 1170467"/>
                  <a:gd name="connsiteY5" fmla="*/ 1644273 h 1898273"/>
                  <a:gd name="connsiteX6" fmla="*/ 748874 w 1170467"/>
                  <a:gd name="connsiteY6" fmla="*/ 1603792 h 1898273"/>
                  <a:gd name="connsiteX7" fmla="*/ 716330 w 1170467"/>
                  <a:gd name="connsiteY7" fmla="*/ 1561327 h 1898273"/>
                  <a:gd name="connsiteX8" fmla="*/ 398830 w 1170467"/>
                  <a:gd name="connsiteY8" fmla="*/ 1560136 h 1898273"/>
                  <a:gd name="connsiteX9" fmla="*/ 360730 w 1170467"/>
                  <a:gd name="connsiteY9" fmla="*/ 1522036 h 1898273"/>
                  <a:gd name="connsiteX10" fmla="*/ 387717 w 1170467"/>
                  <a:gd name="connsiteY10" fmla="*/ 1476793 h 1898273"/>
                  <a:gd name="connsiteX11" fmla="*/ 797293 w 1170467"/>
                  <a:gd name="connsiteY11" fmla="*/ 1474411 h 1898273"/>
                  <a:gd name="connsiteX12" fmla="*/ 828249 w 1170467"/>
                  <a:gd name="connsiteY12" fmla="*/ 1425595 h 1898273"/>
                  <a:gd name="connsiteX13" fmla="*/ 795705 w 1170467"/>
                  <a:gd name="connsiteY13" fmla="*/ 1383923 h 1898273"/>
                  <a:gd name="connsiteX14" fmla="*/ 386130 w 1170467"/>
                  <a:gd name="connsiteY14" fmla="*/ 1383923 h 1898273"/>
                  <a:gd name="connsiteX15" fmla="*/ 322630 w 1170467"/>
                  <a:gd name="connsiteY15" fmla="*/ 1352173 h 1898273"/>
                  <a:gd name="connsiteX16" fmla="*/ 283340 w 1170467"/>
                  <a:gd name="connsiteY16" fmla="*/ 1300183 h 1898273"/>
                  <a:gd name="connsiteX17" fmla="*/ 271830 w 1170467"/>
                  <a:gd name="connsiteY17" fmla="*/ 1207711 h 1898273"/>
                  <a:gd name="connsiteX18" fmla="*/ 255955 w 1170467"/>
                  <a:gd name="connsiteY18" fmla="*/ 1128336 h 1898273"/>
                  <a:gd name="connsiteX19" fmla="*/ 205155 w 1170467"/>
                  <a:gd name="connsiteY19" fmla="*/ 1037848 h 1898273"/>
                  <a:gd name="connsiteX20" fmla="*/ 130543 w 1170467"/>
                  <a:gd name="connsiteY20" fmla="*/ 955298 h 1898273"/>
                  <a:gd name="connsiteX21" fmla="*/ 55137 w 1170467"/>
                  <a:gd name="connsiteY21" fmla="*/ 845364 h 1898273"/>
                  <a:gd name="connsiteX22" fmla="*/ 13861 w 1170467"/>
                  <a:gd name="connsiteY22" fmla="*/ 735827 h 1898273"/>
                  <a:gd name="connsiteX23" fmla="*/ 368 w 1170467"/>
                  <a:gd name="connsiteY23" fmla="*/ 601286 h 1898273"/>
                  <a:gd name="connsiteX24" fmla="*/ 11480 w 1170467"/>
                  <a:gd name="connsiteY24" fmla="*/ 475873 h 1898273"/>
                  <a:gd name="connsiteX25" fmla="*/ 81330 w 1170467"/>
                  <a:gd name="connsiteY25" fmla="*/ 285373 h 1898273"/>
                  <a:gd name="connsiteX26" fmla="*/ 265480 w 1170467"/>
                  <a:gd name="connsiteY26" fmla="*/ 93285 h 1898273"/>
                  <a:gd name="connsiteX27" fmla="*/ 519480 w 1170467"/>
                  <a:gd name="connsiteY27" fmla="*/ 3990 h 1898273"/>
                  <a:gd name="connsiteX28" fmla="*/ 705218 w 1170467"/>
                  <a:gd name="connsiteY28" fmla="*/ 10736 h 1898273"/>
                  <a:gd name="connsiteX29" fmla="*/ 943343 w 1170467"/>
                  <a:gd name="connsiteY29" fmla="*/ 121861 h 1898273"/>
                  <a:gd name="connsiteX30" fmla="*/ 1100505 w 1170467"/>
                  <a:gd name="connsiteY30" fmla="*/ 310773 h 1898273"/>
                  <a:gd name="connsiteX31" fmla="*/ 1164799 w 1170467"/>
                  <a:gd name="connsiteY31" fmla="*/ 512783 h 1898273"/>
                  <a:gd name="connsiteX32" fmla="*/ 1165196 w 1170467"/>
                  <a:gd name="connsiteY32" fmla="*/ 683836 h 1898273"/>
                  <a:gd name="connsiteX33" fmla="*/ 1085027 w 1170467"/>
                  <a:gd name="connsiteY33" fmla="*/ 889020 h 1898273"/>
                  <a:gd name="connsiteX34" fmla="*/ 950487 w 1170467"/>
                  <a:gd name="connsiteY34" fmla="*/ 1054914 h 1898273"/>
                  <a:gd name="connsiteX35" fmla="*/ 914768 w 1170467"/>
                  <a:gd name="connsiteY35" fmla="*/ 1118811 h 1898273"/>
                  <a:gd name="connsiteX36" fmla="*/ 900480 w 1170467"/>
                  <a:gd name="connsiteY36" fmla="*/ 1177152 h 1898273"/>
                  <a:gd name="connsiteX37" fmla="*/ 898100 w 1170467"/>
                  <a:gd name="connsiteY37" fmla="*/ 1258908 h 1898273"/>
                  <a:gd name="connsiteX38" fmla="*/ 858014 w 1170467"/>
                  <a:gd name="connsiteY38" fmla="*/ 1301373 h 1898273"/>
                  <a:gd name="connsiteX39" fmla="*/ 641718 w 1170467"/>
                  <a:gd name="connsiteY39" fmla="*/ 1301373 h 1898273"/>
                  <a:gd name="connsiteX40" fmla="*/ 590918 w 1170467"/>
                  <a:gd name="connsiteY40" fmla="*/ 1279148 h 1898273"/>
                  <a:gd name="connsiteX41" fmla="*/ 590918 w 1170467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88142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  <a:gd name="connsiteX0" fmla="*/ 584993 w 1170892"/>
                  <a:gd name="connsiteY0" fmla="*/ 1898273 h 1898273"/>
                  <a:gd name="connsiteX1" fmla="*/ 581818 w 1170892"/>
                  <a:gd name="connsiteY1" fmla="*/ 1768098 h 1898273"/>
                  <a:gd name="connsiteX2" fmla="*/ 513555 w 1170892"/>
                  <a:gd name="connsiteY2" fmla="*/ 1726030 h 1898273"/>
                  <a:gd name="connsiteX3" fmla="*/ 470693 w 1170892"/>
                  <a:gd name="connsiteY3" fmla="*/ 1680389 h 1898273"/>
                  <a:gd name="connsiteX4" fmla="*/ 505618 w 1170892"/>
                  <a:gd name="connsiteY4" fmla="*/ 1644273 h 1898273"/>
                  <a:gd name="connsiteX5" fmla="*/ 718343 w 1170892"/>
                  <a:gd name="connsiteY5" fmla="*/ 1644273 h 1898273"/>
                  <a:gd name="connsiteX6" fmla="*/ 749299 w 1170892"/>
                  <a:gd name="connsiteY6" fmla="*/ 1603792 h 1898273"/>
                  <a:gd name="connsiteX7" fmla="*/ 716755 w 1170892"/>
                  <a:gd name="connsiteY7" fmla="*/ 1561327 h 1898273"/>
                  <a:gd name="connsiteX8" fmla="*/ 399255 w 1170892"/>
                  <a:gd name="connsiteY8" fmla="*/ 1560136 h 1898273"/>
                  <a:gd name="connsiteX9" fmla="*/ 361155 w 1170892"/>
                  <a:gd name="connsiteY9" fmla="*/ 1522036 h 1898273"/>
                  <a:gd name="connsiteX10" fmla="*/ 394095 w 1170892"/>
                  <a:gd name="connsiteY10" fmla="*/ 1476793 h 1898273"/>
                  <a:gd name="connsiteX11" fmla="*/ 797718 w 1170892"/>
                  <a:gd name="connsiteY11" fmla="*/ 1474411 h 1898273"/>
                  <a:gd name="connsiteX12" fmla="*/ 828674 w 1170892"/>
                  <a:gd name="connsiteY12" fmla="*/ 1425595 h 1898273"/>
                  <a:gd name="connsiteX13" fmla="*/ 796130 w 1170892"/>
                  <a:gd name="connsiteY13" fmla="*/ 1383923 h 1898273"/>
                  <a:gd name="connsiteX14" fmla="*/ 386555 w 1170892"/>
                  <a:gd name="connsiteY14" fmla="*/ 1383923 h 1898273"/>
                  <a:gd name="connsiteX15" fmla="*/ 323055 w 1170892"/>
                  <a:gd name="connsiteY15" fmla="*/ 1352173 h 1898273"/>
                  <a:gd name="connsiteX16" fmla="*/ 283765 w 1170892"/>
                  <a:gd name="connsiteY16" fmla="*/ 1300183 h 1898273"/>
                  <a:gd name="connsiteX17" fmla="*/ 272255 w 1170892"/>
                  <a:gd name="connsiteY17" fmla="*/ 1207711 h 1898273"/>
                  <a:gd name="connsiteX18" fmla="*/ 256380 w 1170892"/>
                  <a:gd name="connsiteY18" fmla="*/ 1128336 h 1898273"/>
                  <a:gd name="connsiteX19" fmla="*/ 205580 w 1170892"/>
                  <a:gd name="connsiteY19" fmla="*/ 1037848 h 1898273"/>
                  <a:gd name="connsiteX20" fmla="*/ 130968 w 1170892"/>
                  <a:gd name="connsiteY20" fmla="*/ 955298 h 1898273"/>
                  <a:gd name="connsiteX21" fmla="*/ 55562 w 1170892"/>
                  <a:gd name="connsiteY21" fmla="*/ 845364 h 1898273"/>
                  <a:gd name="connsiteX22" fmla="*/ 14286 w 1170892"/>
                  <a:gd name="connsiteY22" fmla="*/ 735827 h 1898273"/>
                  <a:gd name="connsiteX23" fmla="*/ 793 w 1170892"/>
                  <a:gd name="connsiteY23" fmla="*/ 601286 h 1898273"/>
                  <a:gd name="connsiteX24" fmla="*/ 9524 w 1170892"/>
                  <a:gd name="connsiteY24" fmla="*/ 475873 h 1898273"/>
                  <a:gd name="connsiteX25" fmla="*/ 81755 w 1170892"/>
                  <a:gd name="connsiteY25" fmla="*/ 285373 h 1898273"/>
                  <a:gd name="connsiteX26" fmla="*/ 265905 w 1170892"/>
                  <a:gd name="connsiteY26" fmla="*/ 93285 h 1898273"/>
                  <a:gd name="connsiteX27" fmla="*/ 519905 w 1170892"/>
                  <a:gd name="connsiteY27" fmla="*/ 3990 h 1898273"/>
                  <a:gd name="connsiteX28" fmla="*/ 705643 w 1170892"/>
                  <a:gd name="connsiteY28" fmla="*/ 10736 h 1898273"/>
                  <a:gd name="connsiteX29" fmla="*/ 943768 w 1170892"/>
                  <a:gd name="connsiteY29" fmla="*/ 121861 h 1898273"/>
                  <a:gd name="connsiteX30" fmla="*/ 1100930 w 1170892"/>
                  <a:gd name="connsiteY30" fmla="*/ 310773 h 1898273"/>
                  <a:gd name="connsiteX31" fmla="*/ 1165224 w 1170892"/>
                  <a:gd name="connsiteY31" fmla="*/ 512783 h 1898273"/>
                  <a:gd name="connsiteX32" fmla="*/ 1165621 w 1170892"/>
                  <a:gd name="connsiteY32" fmla="*/ 683836 h 1898273"/>
                  <a:gd name="connsiteX33" fmla="*/ 1085452 w 1170892"/>
                  <a:gd name="connsiteY33" fmla="*/ 889020 h 1898273"/>
                  <a:gd name="connsiteX34" fmla="*/ 950912 w 1170892"/>
                  <a:gd name="connsiteY34" fmla="*/ 1054914 h 1898273"/>
                  <a:gd name="connsiteX35" fmla="*/ 915193 w 1170892"/>
                  <a:gd name="connsiteY35" fmla="*/ 1118811 h 1898273"/>
                  <a:gd name="connsiteX36" fmla="*/ 900905 w 1170892"/>
                  <a:gd name="connsiteY36" fmla="*/ 1177152 h 1898273"/>
                  <a:gd name="connsiteX37" fmla="*/ 898525 w 1170892"/>
                  <a:gd name="connsiteY37" fmla="*/ 1258908 h 1898273"/>
                  <a:gd name="connsiteX38" fmla="*/ 858439 w 1170892"/>
                  <a:gd name="connsiteY38" fmla="*/ 1301373 h 1898273"/>
                  <a:gd name="connsiteX39" fmla="*/ 642143 w 1170892"/>
                  <a:gd name="connsiteY39" fmla="*/ 1301373 h 1898273"/>
                  <a:gd name="connsiteX40" fmla="*/ 591343 w 1170892"/>
                  <a:gd name="connsiteY40" fmla="*/ 1279148 h 1898273"/>
                  <a:gd name="connsiteX41" fmla="*/ 591343 w 1170892"/>
                  <a:gd name="connsiteY41" fmla="*/ 1212473 h 1898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170892" h="1898273">
                    <a:moveTo>
                      <a:pt x="584993" y="1898273"/>
                    </a:moveTo>
                    <a:cubicBezTo>
                      <a:pt x="583935" y="1854881"/>
                      <a:pt x="582876" y="1811490"/>
                      <a:pt x="581818" y="1768098"/>
                    </a:cubicBezTo>
                    <a:cubicBezTo>
                      <a:pt x="573352" y="1746931"/>
                      <a:pt x="562503" y="1729338"/>
                      <a:pt x="513555" y="1726030"/>
                    </a:cubicBezTo>
                    <a:cubicBezTo>
                      <a:pt x="487759" y="1721135"/>
                      <a:pt x="471487" y="1707906"/>
                      <a:pt x="470693" y="1680389"/>
                    </a:cubicBezTo>
                    <a:cubicBezTo>
                      <a:pt x="474793" y="1662398"/>
                      <a:pt x="478895" y="1650358"/>
                      <a:pt x="505618" y="1644273"/>
                    </a:cubicBezTo>
                    <a:lnTo>
                      <a:pt x="718343" y="1644273"/>
                    </a:lnTo>
                    <a:cubicBezTo>
                      <a:pt x="736202" y="1631970"/>
                      <a:pt x="744536" y="1626810"/>
                      <a:pt x="749299" y="1603792"/>
                    </a:cubicBezTo>
                    <a:cubicBezTo>
                      <a:pt x="745198" y="1586858"/>
                      <a:pt x="741097" y="1572308"/>
                      <a:pt x="716755" y="1561327"/>
                    </a:cubicBezTo>
                    <a:lnTo>
                      <a:pt x="399255" y="1560136"/>
                    </a:lnTo>
                    <a:cubicBezTo>
                      <a:pt x="375839" y="1555770"/>
                      <a:pt x="367902" y="1546642"/>
                      <a:pt x="361155" y="1522036"/>
                    </a:cubicBezTo>
                    <a:cubicBezTo>
                      <a:pt x="362610" y="1506161"/>
                      <a:pt x="365255" y="1491478"/>
                      <a:pt x="394095" y="1476793"/>
                    </a:cubicBezTo>
                    <a:lnTo>
                      <a:pt x="797718" y="1474411"/>
                    </a:lnTo>
                    <a:cubicBezTo>
                      <a:pt x="819546" y="1463299"/>
                      <a:pt x="827088" y="1449805"/>
                      <a:pt x="828674" y="1425595"/>
                    </a:cubicBezTo>
                    <a:cubicBezTo>
                      <a:pt x="824177" y="1402972"/>
                      <a:pt x="825632" y="1399402"/>
                      <a:pt x="796130" y="1383923"/>
                    </a:cubicBezTo>
                    <a:lnTo>
                      <a:pt x="386555" y="1383923"/>
                    </a:lnTo>
                    <a:cubicBezTo>
                      <a:pt x="360625" y="1374530"/>
                      <a:pt x="343031" y="1368709"/>
                      <a:pt x="323055" y="1352173"/>
                    </a:cubicBezTo>
                    <a:cubicBezTo>
                      <a:pt x="314721" y="1341193"/>
                      <a:pt x="295670" y="1327832"/>
                      <a:pt x="283765" y="1300183"/>
                    </a:cubicBezTo>
                    <a:cubicBezTo>
                      <a:pt x="275166" y="1267772"/>
                      <a:pt x="274901" y="1238932"/>
                      <a:pt x="272255" y="1207711"/>
                    </a:cubicBezTo>
                    <a:lnTo>
                      <a:pt x="256380" y="1128336"/>
                    </a:lnTo>
                    <a:cubicBezTo>
                      <a:pt x="240241" y="1093410"/>
                      <a:pt x="227673" y="1070392"/>
                      <a:pt x="205580" y="1037848"/>
                    </a:cubicBezTo>
                    <a:cubicBezTo>
                      <a:pt x="184281" y="1006760"/>
                      <a:pt x="162982" y="981625"/>
                      <a:pt x="130968" y="955298"/>
                    </a:cubicBezTo>
                    <a:cubicBezTo>
                      <a:pt x="101071" y="924606"/>
                      <a:pt x="77125" y="886771"/>
                      <a:pt x="55562" y="845364"/>
                    </a:cubicBezTo>
                    <a:cubicBezTo>
                      <a:pt x="23150" y="783054"/>
                      <a:pt x="26457" y="770752"/>
                      <a:pt x="14286" y="735827"/>
                    </a:cubicBezTo>
                    <a:cubicBezTo>
                      <a:pt x="6217" y="686615"/>
                      <a:pt x="1322" y="648911"/>
                      <a:pt x="793" y="601286"/>
                    </a:cubicBezTo>
                    <a:cubicBezTo>
                      <a:pt x="-265" y="557894"/>
                      <a:pt x="-2118" y="514502"/>
                      <a:pt x="9524" y="475873"/>
                    </a:cubicBezTo>
                    <a:cubicBezTo>
                      <a:pt x="20107" y="409198"/>
                      <a:pt x="44184" y="347286"/>
                      <a:pt x="81755" y="285373"/>
                    </a:cubicBezTo>
                    <a:cubicBezTo>
                      <a:pt x="130438" y="213406"/>
                      <a:pt x="185472" y="143027"/>
                      <a:pt x="265905" y="93285"/>
                    </a:cubicBezTo>
                    <a:cubicBezTo>
                      <a:pt x="333638" y="48306"/>
                      <a:pt x="420819" y="15632"/>
                      <a:pt x="519905" y="3990"/>
                    </a:cubicBezTo>
                    <a:cubicBezTo>
                      <a:pt x="584200" y="-2095"/>
                      <a:pt x="644921" y="-2228"/>
                      <a:pt x="705643" y="10736"/>
                    </a:cubicBezTo>
                    <a:cubicBezTo>
                      <a:pt x="805259" y="37062"/>
                      <a:pt x="872727" y="72912"/>
                      <a:pt x="943768" y="121861"/>
                    </a:cubicBezTo>
                    <a:cubicBezTo>
                      <a:pt x="1009252" y="178879"/>
                      <a:pt x="1058067" y="229942"/>
                      <a:pt x="1100930" y="310773"/>
                    </a:cubicBezTo>
                    <a:cubicBezTo>
                      <a:pt x="1137046" y="378506"/>
                      <a:pt x="1160063" y="439096"/>
                      <a:pt x="1165224" y="512783"/>
                    </a:cubicBezTo>
                    <a:cubicBezTo>
                      <a:pt x="1174881" y="568213"/>
                      <a:pt x="1170250" y="629597"/>
                      <a:pt x="1165621" y="683836"/>
                    </a:cubicBezTo>
                    <a:cubicBezTo>
                      <a:pt x="1151202" y="755009"/>
                      <a:pt x="1129637" y="822609"/>
                      <a:pt x="1085452" y="889020"/>
                    </a:cubicBezTo>
                    <a:cubicBezTo>
                      <a:pt x="1047749" y="946699"/>
                      <a:pt x="994569" y="992472"/>
                      <a:pt x="950912" y="1054914"/>
                    </a:cubicBezTo>
                    <a:cubicBezTo>
                      <a:pt x="937021" y="1078197"/>
                      <a:pt x="923130" y="1091956"/>
                      <a:pt x="915193" y="1118811"/>
                    </a:cubicBezTo>
                    <a:cubicBezTo>
                      <a:pt x="906065" y="1147386"/>
                      <a:pt x="904080" y="1158102"/>
                      <a:pt x="900905" y="1177152"/>
                    </a:cubicBezTo>
                    <a:cubicBezTo>
                      <a:pt x="898920" y="1217501"/>
                      <a:pt x="899319" y="1230465"/>
                      <a:pt x="898525" y="1258908"/>
                    </a:cubicBezTo>
                    <a:cubicBezTo>
                      <a:pt x="898260" y="1276635"/>
                      <a:pt x="886089" y="1291981"/>
                      <a:pt x="858439" y="1301373"/>
                    </a:cubicBezTo>
                    <a:lnTo>
                      <a:pt x="642143" y="1301373"/>
                    </a:lnTo>
                    <a:cubicBezTo>
                      <a:pt x="604968" y="1298728"/>
                      <a:pt x="601133" y="1297271"/>
                      <a:pt x="591343" y="1279148"/>
                    </a:cubicBezTo>
                    <a:lnTo>
                      <a:pt x="591343" y="1212473"/>
                    </a:lnTo>
                  </a:path>
                </a:pathLst>
              </a:custGeom>
              <a:noFill/>
              <a:ln w="25400" algn="ctr">
                <a:solidFill>
                  <a:schemeClr val="accent1"/>
                </a:solidFill>
                <a:miter lim="800000"/>
                <a:headEnd type="none" w="sm" len="sm"/>
                <a:tailEnd type="oval" w="sm" len="sm"/>
              </a:ln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31" name="Round Same Side Corner Rectangle 37">
                <a:extLst>
                  <a:ext uri="{FF2B5EF4-FFF2-40B4-BE49-F238E27FC236}">
                    <a16:creationId xmlns:a16="http://schemas.microsoft.com/office/drawing/2014/main" id="{B9A94995-8403-96A6-082D-66D3F439D83A}"/>
                  </a:ext>
                </a:extLst>
              </p:cNvPr>
              <p:cNvSpPr/>
              <p:nvPr/>
            </p:nvSpPr>
            <p:spPr bwMode="gray">
              <a:xfrm>
                <a:off x="1289779" y="3495046"/>
                <a:ext cx="116350" cy="108039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3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32" name="Round Same Side Corner Rectangle 38">
                <a:extLst>
                  <a:ext uri="{FF2B5EF4-FFF2-40B4-BE49-F238E27FC236}">
                    <a16:creationId xmlns:a16="http://schemas.microsoft.com/office/drawing/2014/main" id="{F75FC991-649F-B009-CB75-BD662687D2E1}"/>
                  </a:ext>
                </a:extLst>
              </p:cNvPr>
              <p:cNvSpPr/>
              <p:nvPr/>
            </p:nvSpPr>
            <p:spPr bwMode="gray">
              <a:xfrm flipV="1">
                <a:off x="1312850" y="3603085"/>
                <a:ext cx="21108" cy="45231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3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33" name="Round Same Side Corner Rectangle 39">
                <a:extLst>
                  <a:ext uri="{FF2B5EF4-FFF2-40B4-BE49-F238E27FC236}">
                    <a16:creationId xmlns:a16="http://schemas.microsoft.com/office/drawing/2014/main" id="{80DE7368-8719-85E0-C43B-DF704F9210BC}"/>
                  </a:ext>
                </a:extLst>
              </p:cNvPr>
              <p:cNvSpPr/>
              <p:nvPr/>
            </p:nvSpPr>
            <p:spPr bwMode="gray">
              <a:xfrm flipV="1">
                <a:off x="1362714" y="3603085"/>
                <a:ext cx="21108" cy="45231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3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71D97AD9-DDDB-6E9D-CEFD-EBDC9C1C34D4}"/>
                  </a:ext>
                </a:extLst>
              </p:cNvPr>
              <p:cNvSpPr/>
              <p:nvPr/>
            </p:nvSpPr>
            <p:spPr bwMode="gray">
              <a:xfrm>
                <a:off x="1329954" y="3531065"/>
                <a:ext cx="36000" cy="36000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66675" tIns="66675" rIns="66675" bIns="66675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  <p:grpSp>
          <p:nvGrpSpPr>
            <p:cNvPr id="141" name="Graphic 4">
              <a:extLst>
                <a:ext uri="{FF2B5EF4-FFF2-40B4-BE49-F238E27FC236}">
                  <a16:creationId xmlns:a16="http://schemas.microsoft.com/office/drawing/2014/main" id="{341FF9C7-7686-90E6-2DFC-C54DF991EEC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054474" y="1607510"/>
              <a:ext cx="607752" cy="607185"/>
              <a:chOff x="1515054" y="4793256"/>
              <a:chExt cx="362309" cy="361971"/>
            </a:xfrm>
            <a:solidFill>
              <a:schemeClr val="accent1"/>
            </a:solidFill>
          </p:grpSpPr>
          <p:sp>
            <p:nvSpPr>
              <p:cNvPr id="142" name="Graphic 4">
                <a:extLst>
                  <a:ext uri="{FF2B5EF4-FFF2-40B4-BE49-F238E27FC236}">
                    <a16:creationId xmlns:a16="http://schemas.microsoft.com/office/drawing/2014/main" id="{42E0BC3A-FBD1-BD6A-07B3-5C000EC29E03}"/>
                  </a:ext>
                </a:extLst>
              </p:cNvPr>
              <p:cNvSpPr/>
              <p:nvPr/>
            </p:nvSpPr>
            <p:spPr>
              <a:xfrm>
                <a:off x="1515054" y="4793256"/>
                <a:ext cx="362309" cy="361971"/>
              </a:xfrm>
              <a:custGeom>
                <a:avLst/>
                <a:gdLst>
                  <a:gd name="connsiteX0" fmla="*/ 180835 w 362309"/>
                  <a:gd name="connsiteY0" fmla="*/ 0 h 361971"/>
                  <a:gd name="connsiteX1" fmla="*/ 0 w 362309"/>
                  <a:gd name="connsiteY1" fmla="*/ 180667 h 361971"/>
                  <a:gd name="connsiteX2" fmla="*/ 180835 w 362309"/>
                  <a:gd name="connsiteY2" fmla="*/ 361972 h 361971"/>
                  <a:gd name="connsiteX3" fmla="*/ 362309 w 362309"/>
                  <a:gd name="connsiteY3" fmla="*/ 180667 h 361971"/>
                  <a:gd name="connsiteX4" fmla="*/ 362309 w 362309"/>
                  <a:gd name="connsiteY4" fmla="*/ 180667 h 361971"/>
                  <a:gd name="connsiteX5" fmla="*/ 180835 w 362309"/>
                  <a:gd name="connsiteY5" fmla="*/ 0 h 361971"/>
                  <a:gd name="connsiteX6" fmla="*/ 180835 w 362309"/>
                  <a:gd name="connsiteY6" fmla="*/ 0 h 361971"/>
                  <a:gd name="connsiteX7" fmla="*/ 180835 w 362309"/>
                  <a:gd name="connsiteY7" fmla="*/ 348565 h 361971"/>
                  <a:gd name="connsiteX8" fmla="*/ 12780 w 362309"/>
                  <a:gd name="connsiteY8" fmla="*/ 180028 h 361971"/>
                  <a:gd name="connsiteX9" fmla="*/ 180835 w 362309"/>
                  <a:gd name="connsiteY9" fmla="*/ 12129 h 361971"/>
                  <a:gd name="connsiteX10" fmla="*/ 349529 w 362309"/>
                  <a:gd name="connsiteY10" fmla="*/ 180667 h 361971"/>
                  <a:gd name="connsiteX11" fmla="*/ 349529 w 362309"/>
                  <a:gd name="connsiteY11" fmla="*/ 180667 h 361971"/>
                  <a:gd name="connsiteX12" fmla="*/ 180835 w 362309"/>
                  <a:gd name="connsiteY12" fmla="*/ 348565 h 361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62309" h="361971">
                    <a:moveTo>
                      <a:pt x="180835" y="0"/>
                    </a:moveTo>
                    <a:cubicBezTo>
                      <a:pt x="80513" y="0"/>
                      <a:pt x="0" y="81077"/>
                      <a:pt x="0" y="180667"/>
                    </a:cubicBezTo>
                    <a:cubicBezTo>
                      <a:pt x="0" y="280895"/>
                      <a:pt x="81152" y="361972"/>
                      <a:pt x="180835" y="361972"/>
                    </a:cubicBezTo>
                    <a:cubicBezTo>
                      <a:pt x="280518" y="361972"/>
                      <a:pt x="362309" y="280895"/>
                      <a:pt x="362309" y="180667"/>
                    </a:cubicBezTo>
                    <a:cubicBezTo>
                      <a:pt x="362309" y="180667"/>
                      <a:pt x="362309" y="180667"/>
                      <a:pt x="362309" y="180667"/>
                    </a:cubicBezTo>
                    <a:cubicBezTo>
                      <a:pt x="361670" y="80438"/>
                      <a:pt x="281157" y="0"/>
                      <a:pt x="180835" y="0"/>
                    </a:cubicBezTo>
                    <a:cubicBezTo>
                      <a:pt x="180835" y="0"/>
                      <a:pt x="180835" y="0"/>
                      <a:pt x="180835" y="0"/>
                    </a:cubicBezTo>
                    <a:close/>
                    <a:moveTo>
                      <a:pt x="180835" y="348565"/>
                    </a:moveTo>
                    <a:cubicBezTo>
                      <a:pt x="87542" y="348565"/>
                      <a:pt x="12780" y="273234"/>
                      <a:pt x="12780" y="180028"/>
                    </a:cubicBezTo>
                    <a:cubicBezTo>
                      <a:pt x="12780" y="86822"/>
                      <a:pt x="88181" y="12129"/>
                      <a:pt x="180835" y="12129"/>
                    </a:cubicBezTo>
                    <a:cubicBezTo>
                      <a:pt x="274128" y="12129"/>
                      <a:pt x="349529" y="87461"/>
                      <a:pt x="349529" y="180667"/>
                    </a:cubicBezTo>
                    <a:lnTo>
                      <a:pt x="349529" y="180667"/>
                    </a:lnTo>
                    <a:cubicBezTo>
                      <a:pt x="348891" y="273234"/>
                      <a:pt x="273489" y="348565"/>
                      <a:pt x="180835" y="348565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3" name="Graphic 4">
                <a:extLst>
                  <a:ext uri="{FF2B5EF4-FFF2-40B4-BE49-F238E27FC236}">
                    <a16:creationId xmlns:a16="http://schemas.microsoft.com/office/drawing/2014/main" id="{B43834B6-6DBF-6B86-5854-4F40342B3DC0}"/>
                  </a:ext>
                </a:extLst>
              </p:cNvPr>
              <p:cNvSpPr/>
              <p:nvPr/>
            </p:nvSpPr>
            <p:spPr>
              <a:xfrm>
                <a:off x="1583192" y="4863005"/>
                <a:ext cx="221635" cy="221923"/>
              </a:xfrm>
              <a:custGeom>
                <a:avLst/>
                <a:gdLst>
                  <a:gd name="connsiteX0" fmla="*/ 181708 w 221635"/>
                  <a:gd name="connsiteY0" fmla="*/ 24734 h 221923"/>
                  <a:gd name="connsiteX1" fmla="*/ 191932 w 221635"/>
                  <a:gd name="connsiteY1" fmla="*/ 10051 h 221923"/>
                  <a:gd name="connsiteX2" fmla="*/ 190654 w 221635"/>
                  <a:gd name="connsiteY2" fmla="*/ 1114 h 221923"/>
                  <a:gd name="connsiteX3" fmla="*/ 181708 w 221635"/>
                  <a:gd name="connsiteY3" fmla="*/ 2390 h 221923"/>
                  <a:gd name="connsiteX4" fmla="*/ 181708 w 221635"/>
                  <a:gd name="connsiteY4" fmla="*/ 2390 h 221923"/>
                  <a:gd name="connsiteX5" fmla="*/ 107585 w 221635"/>
                  <a:gd name="connsiteY5" fmla="*/ 106449 h 221923"/>
                  <a:gd name="connsiteX6" fmla="*/ 108863 w 221635"/>
                  <a:gd name="connsiteY6" fmla="*/ 115387 h 221923"/>
                  <a:gd name="connsiteX7" fmla="*/ 108863 w 221635"/>
                  <a:gd name="connsiteY7" fmla="*/ 115387 h 221923"/>
                  <a:gd name="connsiteX8" fmla="*/ 112697 w 221635"/>
                  <a:gd name="connsiteY8" fmla="*/ 116664 h 221923"/>
                  <a:gd name="connsiteX9" fmla="*/ 117809 w 221635"/>
                  <a:gd name="connsiteY9" fmla="*/ 114110 h 221923"/>
                  <a:gd name="connsiteX10" fmla="*/ 130589 w 221635"/>
                  <a:gd name="connsiteY10" fmla="*/ 95596 h 221923"/>
                  <a:gd name="connsiteX11" fmla="*/ 135701 w 221635"/>
                  <a:gd name="connsiteY11" fmla="*/ 110280 h 221923"/>
                  <a:gd name="connsiteX12" fmla="*/ 112058 w 221635"/>
                  <a:gd name="connsiteY12" fmla="*/ 133900 h 221923"/>
                  <a:gd name="connsiteX13" fmla="*/ 88415 w 221635"/>
                  <a:gd name="connsiteY13" fmla="*/ 110280 h 221923"/>
                  <a:gd name="connsiteX14" fmla="*/ 99917 w 221635"/>
                  <a:gd name="connsiteY14" fmla="*/ 89851 h 221923"/>
                  <a:gd name="connsiteX15" fmla="*/ 102473 w 221635"/>
                  <a:gd name="connsiteY15" fmla="*/ 80913 h 221923"/>
                  <a:gd name="connsiteX16" fmla="*/ 102473 w 221635"/>
                  <a:gd name="connsiteY16" fmla="*/ 80913 h 221923"/>
                  <a:gd name="connsiteX17" fmla="*/ 93527 w 221635"/>
                  <a:gd name="connsiteY17" fmla="*/ 78360 h 221923"/>
                  <a:gd name="connsiteX18" fmla="*/ 80108 w 221635"/>
                  <a:gd name="connsiteY18" fmla="*/ 127516 h 221923"/>
                  <a:gd name="connsiteX19" fmla="*/ 129311 w 221635"/>
                  <a:gd name="connsiteY19" fmla="*/ 140923 h 221923"/>
                  <a:gd name="connsiteX20" fmla="*/ 142730 w 221635"/>
                  <a:gd name="connsiteY20" fmla="*/ 91766 h 221923"/>
                  <a:gd name="connsiteX21" fmla="*/ 136979 w 221635"/>
                  <a:gd name="connsiteY21" fmla="*/ 84744 h 221923"/>
                  <a:gd name="connsiteX22" fmla="*/ 151036 w 221635"/>
                  <a:gd name="connsiteY22" fmla="*/ 64953 h 221923"/>
                  <a:gd name="connsiteX23" fmla="*/ 156148 w 221635"/>
                  <a:gd name="connsiteY23" fmla="*/ 150499 h 221923"/>
                  <a:gd name="connsiteX24" fmla="*/ 70523 w 221635"/>
                  <a:gd name="connsiteY24" fmla="*/ 155606 h 221923"/>
                  <a:gd name="connsiteX25" fmla="*/ 51353 w 221635"/>
                  <a:gd name="connsiteY25" fmla="*/ 121771 h 221923"/>
                  <a:gd name="connsiteX26" fmla="*/ 55187 w 221635"/>
                  <a:gd name="connsiteY26" fmla="*/ 102619 h 221923"/>
                  <a:gd name="connsiteX27" fmla="*/ 51353 w 221635"/>
                  <a:gd name="connsiteY27" fmla="*/ 98788 h 221923"/>
                  <a:gd name="connsiteX28" fmla="*/ 53909 w 221635"/>
                  <a:gd name="connsiteY28" fmla="*/ 90489 h 221923"/>
                  <a:gd name="connsiteX29" fmla="*/ 50075 w 221635"/>
                  <a:gd name="connsiteY29" fmla="*/ 82190 h 221923"/>
                  <a:gd name="connsiteX30" fmla="*/ 41769 w 221635"/>
                  <a:gd name="connsiteY30" fmla="*/ 86020 h 221923"/>
                  <a:gd name="connsiteX31" fmla="*/ 41769 w 221635"/>
                  <a:gd name="connsiteY31" fmla="*/ 86020 h 221923"/>
                  <a:gd name="connsiteX32" fmla="*/ 38574 w 221635"/>
                  <a:gd name="connsiteY32" fmla="*/ 97512 h 221923"/>
                  <a:gd name="connsiteX33" fmla="*/ 30906 w 221635"/>
                  <a:gd name="connsiteY33" fmla="*/ 115387 h 221923"/>
                  <a:gd name="connsiteX34" fmla="*/ 38574 w 221635"/>
                  <a:gd name="connsiteY34" fmla="*/ 123048 h 221923"/>
                  <a:gd name="connsiteX35" fmla="*/ 123560 w 221635"/>
                  <a:gd name="connsiteY35" fmla="*/ 182419 h 221923"/>
                  <a:gd name="connsiteX36" fmla="*/ 182986 w 221635"/>
                  <a:gd name="connsiteY36" fmla="*/ 97512 h 221923"/>
                  <a:gd name="connsiteX37" fmla="*/ 158065 w 221635"/>
                  <a:gd name="connsiteY37" fmla="*/ 54101 h 221923"/>
                  <a:gd name="connsiteX38" fmla="*/ 172123 w 221635"/>
                  <a:gd name="connsiteY38" fmla="*/ 34310 h 221923"/>
                  <a:gd name="connsiteX39" fmla="*/ 186820 w 221635"/>
                  <a:gd name="connsiteY39" fmla="*/ 171566 h 221923"/>
                  <a:gd name="connsiteX40" fmla="*/ 156787 w 221635"/>
                  <a:gd name="connsiteY40" fmla="*/ 196464 h 221923"/>
                  <a:gd name="connsiteX41" fmla="*/ 147841 w 221635"/>
                  <a:gd name="connsiteY41" fmla="*/ 193272 h 221923"/>
                  <a:gd name="connsiteX42" fmla="*/ 134423 w 221635"/>
                  <a:gd name="connsiteY42" fmla="*/ 205401 h 221923"/>
                  <a:gd name="connsiteX43" fmla="*/ 16209 w 221635"/>
                  <a:gd name="connsiteY43" fmla="*/ 135177 h 221923"/>
                  <a:gd name="connsiteX44" fmla="*/ 13014 w 221635"/>
                  <a:gd name="connsiteY44" fmla="*/ 110918 h 221923"/>
                  <a:gd name="connsiteX45" fmla="*/ 34101 w 221635"/>
                  <a:gd name="connsiteY45" fmla="*/ 50270 h 221923"/>
                  <a:gd name="connsiteX46" fmla="*/ 32823 w 221635"/>
                  <a:gd name="connsiteY46" fmla="*/ 41333 h 221923"/>
                  <a:gd name="connsiteX47" fmla="*/ 23877 w 221635"/>
                  <a:gd name="connsiteY47" fmla="*/ 42609 h 221923"/>
                  <a:gd name="connsiteX48" fmla="*/ 41769 w 221635"/>
                  <a:gd name="connsiteY48" fmla="*/ 197740 h 221923"/>
                  <a:gd name="connsiteX49" fmla="*/ 138896 w 221635"/>
                  <a:gd name="connsiteY49" fmla="*/ 218169 h 221923"/>
                  <a:gd name="connsiteX50" fmla="*/ 158065 w 221635"/>
                  <a:gd name="connsiteY50" fmla="*/ 217531 h 221923"/>
                  <a:gd name="connsiteX51" fmla="*/ 161899 w 221635"/>
                  <a:gd name="connsiteY51" fmla="*/ 209232 h 221923"/>
                  <a:gd name="connsiteX52" fmla="*/ 209185 w 221635"/>
                  <a:gd name="connsiteY52" fmla="*/ 60485 h 221923"/>
                  <a:gd name="connsiteX53" fmla="*/ 181708 w 221635"/>
                  <a:gd name="connsiteY53" fmla="*/ 24734 h 221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221635" h="221923">
                    <a:moveTo>
                      <a:pt x="181708" y="24734"/>
                    </a:moveTo>
                    <a:lnTo>
                      <a:pt x="191932" y="10051"/>
                    </a:lnTo>
                    <a:cubicBezTo>
                      <a:pt x="193849" y="7498"/>
                      <a:pt x="193210" y="3029"/>
                      <a:pt x="190654" y="1114"/>
                    </a:cubicBezTo>
                    <a:cubicBezTo>
                      <a:pt x="188098" y="-802"/>
                      <a:pt x="183625" y="-163"/>
                      <a:pt x="181708" y="2390"/>
                    </a:cubicBezTo>
                    <a:cubicBezTo>
                      <a:pt x="181708" y="2390"/>
                      <a:pt x="181708" y="2390"/>
                      <a:pt x="181708" y="2390"/>
                    </a:cubicBezTo>
                    <a:lnTo>
                      <a:pt x="107585" y="106449"/>
                    </a:lnTo>
                    <a:cubicBezTo>
                      <a:pt x="105668" y="109003"/>
                      <a:pt x="106307" y="113472"/>
                      <a:pt x="108863" y="115387"/>
                    </a:cubicBezTo>
                    <a:cubicBezTo>
                      <a:pt x="108863" y="115387"/>
                      <a:pt x="108863" y="115387"/>
                      <a:pt x="108863" y="115387"/>
                    </a:cubicBezTo>
                    <a:cubicBezTo>
                      <a:pt x="110141" y="116025"/>
                      <a:pt x="111419" y="116664"/>
                      <a:pt x="112697" y="116664"/>
                    </a:cubicBezTo>
                    <a:cubicBezTo>
                      <a:pt x="114614" y="116664"/>
                      <a:pt x="116531" y="115387"/>
                      <a:pt x="117809" y="114110"/>
                    </a:cubicBezTo>
                    <a:lnTo>
                      <a:pt x="130589" y="95596"/>
                    </a:lnTo>
                    <a:cubicBezTo>
                      <a:pt x="133784" y="99427"/>
                      <a:pt x="135701" y="104534"/>
                      <a:pt x="135701" y="110280"/>
                    </a:cubicBezTo>
                    <a:cubicBezTo>
                      <a:pt x="135701" y="123048"/>
                      <a:pt x="125477" y="133900"/>
                      <a:pt x="112058" y="133900"/>
                    </a:cubicBezTo>
                    <a:cubicBezTo>
                      <a:pt x="98639" y="133900"/>
                      <a:pt x="88415" y="123686"/>
                      <a:pt x="88415" y="110280"/>
                    </a:cubicBezTo>
                    <a:cubicBezTo>
                      <a:pt x="88415" y="101980"/>
                      <a:pt x="92888" y="94320"/>
                      <a:pt x="99917" y="89851"/>
                    </a:cubicBezTo>
                    <a:cubicBezTo>
                      <a:pt x="103112" y="87936"/>
                      <a:pt x="103751" y="84105"/>
                      <a:pt x="102473" y="80913"/>
                    </a:cubicBezTo>
                    <a:cubicBezTo>
                      <a:pt x="102473" y="80913"/>
                      <a:pt x="102473" y="80913"/>
                      <a:pt x="102473" y="80913"/>
                    </a:cubicBezTo>
                    <a:cubicBezTo>
                      <a:pt x="100556" y="77721"/>
                      <a:pt x="96722" y="77083"/>
                      <a:pt x="93527" y="78360"/>
                    </a:cubicBezTo>
                    <a:cubicBezTo>
                      <a:pt x="76274" y="88574"/>
                      <a:pt x="70523" y="110280"/>
                      <a:pt x="80108" y="127516"/>
                    </a:cubicBezTo>
                    <a:cubicBezTo>
                      <a:pt x="90332" y="144753"/>
                      <a:pt x="112058" y="150499"/>
                      <a:pt x="129311" y="140923"/>
                    </a:cubicBezTo>
                    <a:cubicBezTo>
                      <a:pt x="146564" y="130708"/>
                      <a:pt x="152314" y="109003"/>
                      <a:pt x="142730" y="91766"/>
                    </a:cubicBezTo>
                    <a:cubicBezTo>
                      <a:pt x="141451" y="89212"/>
                      <a:pt x="139535" y="86659"/>
                      <a:pt x="136979" y="84744"/>
                    </a:cubicBezTo>
                    <a:lnTo>
                      <a:pt x="151036" y="64953"/>
                    </a:lnTo>
                    <a:cubicBezTo>
                      <a:pt x="175957" y="87297"/>
                      <a:pt x="178513" y="125601"/>
                      <a:pt x="156148" y="150499"/>
                    </a:cubicBezTo>
                    <a:cubicBezTo>
                      <a:pt x="133784" y="175396"/>
                      <a:pt x="95444" y="177950"/>
                      <a:pt x="70523" y="155606"/>
                    </a:cubicBezTo>
                    <a:cubicBezTo>
                      <a:pt x="60299" y="146668"/>
                      <a:pt x="53909" y="135177"/>
                      <a:pt x="51353" y="121771"/>
                    </a:cubicBezTo>
                    <a:cubicBezTo>
                      <a:pt x="57743" y="117940"/>
                      <a:pt x="59660" y="109003"/>
                      <a:pt x="55187" y="102619"/>
                    </a:cubicBezTo>
                    <a:cubicBezTo>
                      <a:pt x="53909" y="100704"/>
                      <a:pt x="52631" y="99427"/>
                      <a:pt x="51353" y="98788"/>
                    </a:cubicBezTo>
                    <a:cubicBezTo>
                      <a:pt x="51992" y="95596"/>
                      <a:pt x="52631" y="93043"/>
                      <a:pt x="53909" y="90489"/>
                    </a:cubicBezTo>
                    <a:cubicBezTo>
                      <a:pt x="55187" y="87297"/>
                      <a:pt x="53270" y="83467"/>
                      <a:pt x="50075" y="82190"/>
                    </a:cubicBezTo>
                    <a:cubicBezTo>
                      <a:pt x="46880" y="80913"/>
                      <a:pt x="43046" y="82828"/>
                      <a:pt x="41769" y="86020"/>
                    </a:cubicBezTo>
                    <a:lnTo>
                      <a:pt x="41769" y="86020"/>
                    </a:lnTo>
                    <a:cubicBezTo>
                      <a:pt x="40491" y="89851"/>
                      <a:pt x="39212" y="93681"/>
                      <a:pt x="38574" y="97512"/>
                    </a:cubicBezTo>
                    <a:cubicBezTo>
                      <a:pt x="31545" y="100704"/>
                      <a:pt x="28350" y="108364"/>
                      <a:pt x="30906" y="115387"/>
                    </a:cubicBezTo>
                    <a:cubicBezTo>
                      <a:pt x="32184" y="118579"/>
                      <a:pt x="34740" y="121132"/>
                      <a:pt x="38574" y="123048"/>
                    </a:cubicBezTo>
                    <a:cubicBezTo>
                      <a:pt x="45602" y="163267"/>
                      <a:pt x="83942" y="189441"/>
                      <a:pt x="123560" y="182419"/>
                    </a:cubicBezTo>
                    <a:cubicBezTo>
                      <a:pt x="163816" y="175396"/>
                      <a:pt x="190015" y="137092"/>
                      <a:pt x="182986" y="97512"/>
                    </a:cubicBezTo>
                    <a:cubicBezTo>
                      <a:pt x="179791" y="80913"/>
                      <a:pt x="171484" y="65592"/>
                      <a:pt x="158065" y="54101"/>
                    </a:cubicBezTo>
                    <a:lnTo>
                      <a:pt x="172123" y="34310"/>
                    </a:lnTo>
                    <a:cubicBezTo>
                      <a:pt x="214297" y="68145"/>
                      <a:pt x="220687" y="130070"/>
                      <a:pt x="186820" y="171566"/>
                    </a:cubicBezTo>
                    <a:cubicBezTo>
                      <a:pt x="178513" y="181780"/>
                      <a:pt x="168289" y="190080"/>
                      <a:pt x="156787" y="196464"/>
                    </a:cubicBezTo>
                    <a:cubicBezTo>
                      <a:pt x="154231" y="194548"/>
                      <a:pt x="151036" y="193272"/>
                      <a:pt x="147841" y="193272"/>
                    </a:cubicBezTo>
                    <a:cubicBezTo>
                      <a:pt x="140812" y="193272"/>
                      <a:pt x="135062" y="198379"/>
                      <a:pt x="134423" y="205401"/>
                    </a:cubicBezTo>
                    <a:cubicBezTo>
                      <a:pt x="82025" y="218808"/>
                      <a:pt x="28989" y="186888"/>
                      <a:pt x="16209" y="135177"/>
                    </a:cubicBezTo>
                    <a:cubicBezTo>
                      <a:pt x="14292" y="126878"/>
                      <a:pt x="13014" y="119217"/>
                      <a:pt x="13014" y="110918"/>
                    </a:cubicBezTo>
                    <a:cubicBezTo>
                      <a:pt x="13014" y="89212"/>
                      <a:pt x="20043" y="67507"/>
                      <a:pt x="34101" y="50270"/>
                    </a:cubicBezTo>
                    <a:cubicBezTo>
                      <a:pt x="36018" y="47717"/>
                      <a:pt x="36018" y="43248"/>
                      <a:pt x="32823" y="41333"/>
                    </a:cubicBezTo>
                    <a:cubicBezTo>
                      <a:pt x="30267" y="39417"/>
                      <a:pt x="25794" y="39417"/>
                      <a:pt x="23877" y="42609"/>
                    </a:cubicBezTo>
                    <a:cubicBezTo>
                      <a:pt x="-13824" y="90489"/>
                      <a:pt x="-6156" y="160075"/>
                      <a:pt x="41769" y="197740"/>
                    </a:cubicBezTo>
                    <a:cubicBezTo>
                      <a:pt x="69245" y="219446"/>
                      <a:pt x="105029" y="227107"/>
                      <a:pt x="138896" y="218169"/>
                    </a:cubicBezTo>
                    <a:cubicBezTo>
                      <a:pt x="144646" y="223276"/>
                      <a:pt x="152953" y="223276"/>
                      <a:pt x="158065" y="217531"/>
                    </a:cubicBezTo>
                    <a:cubicBezTo>
                      <a:pt x="159982" y="214977"/>
                      <a:pt x="161260" y="212424"/>
                      <a:pt x="161899" y="209232"/>
                    </a:cubicBezTo>
                    <a:cubicBezTo>
                      <a:pt x="216214" y="181142"/>
                      <a:pt x="237301" y="114748"/>
                      <a:pt x="209185" y="60485"/>
                    </a:cubicBezTo>
                    <a:cubicBezTo>
                      <a:pt x="204073" y="46440"/>
                      <a:pt x="193849" y="34310"/>
                      <a:pt x="181708" y="24734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44" name="Graphic 4">
              <a:extLst>
                <a:ext uri="{FF2B5EF4-FFF2-40B4-BE49-F238E27FC236}">
                  <a16:creationId xmlns:a16="http://schemas.microsoft.com/office/drawing/2014/main" id="{DEE64ABA-34F2-5D99-5F7A-F93FC93BF72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790414" y="1606181"/>
              <a:ext cx="607752" cy="607185"/>
              <a:chOff x="1514415" y="2855717"/>
              <a:chExt cx="362309" cy="361971"/>
            </a:xfrm>
            <a:solidFill>
              <a:schemeClr val="accent1"/>
            </a:solidFill>
          </p:grpSpPr>
          <p:sp>
            <p:nvSpPr>
              <p:cNvPr id="145" name="Graphic 4">
                <a:extLst>
                  <a:ext uri="{FF2B5EF4-FFF2-40B4-BE49-F238E27FC236}">
                    <a16:creationId xmlns:a16="http://schemas.microsoft.com/office/drawing/2014/main" id="{87137220-107E-3A65-6D2E-7185BAA8B994}"/>
                  </a:ext>
                </a:extLst>
              </p:cNvPr>
              <p:cNvSpPr/>
              <p:nvPr/>
            </p:nvSpPr>
            <p:spPr>
              <a:xfrm>
                <a:off x="1514415" y="2855717"/>
                <a:ext cx="362309" cy="361971"/>
              </a:xfrm>
              <a:custGeom>
                <a:avLst/>
                <a:gdLst>
                  <a:gd name="connsiteX0" fmla="*/ 181474 w 362309"/>
                  <a:gd name="connsiteY0" fmla="*/ 0 h 361971"/>
                  <a:gd name="connsiteX1" fmla="*/ 0 w 362309"/>
                  <a:gd name="connsiteY1" fmla="*/ 180667 h 361971"/>
                  <a:gd name="connsiteX2" fmla="*/ 180835 w 362309"/>
                  <a:gd name="connsiteY2" fmla="*/ 361972 h 361971"/>
                  <a:gd name="connsiteX3" fmla="*/ 362310 w 362309"/>
                  <a:gd name="connsiteY3" fmla="*/ 181305 h 361971"/>
                  <a:gd name="connsiteX4" fmla="*/ 362310 w 362309"/>
                  <a:gd name="connsiteY4" fmla="*/ 181305 h 361971"/>
                  <a:gd name="connsiteX5" fmla="*/ 181474 w 362309"/>
                  <a:gd name="connsiteY5" fmla="*/ 0 h 361971"/>
                  <a:gd name="connsiteX6" fmla="*/ 181474 w 362309"/>
                  <a:gd name="connsiteY6" fmla="*/ 349204 h 361971"/>
                  <a:gd name="connsiteX7" fmla="*/ 12780 w 362309"/>
                  <a:gd name="connsiteY7" fmla="*/ 181305 h 361971"/>
                  <a:gd name="connsiteX8" fmla="*/ 180835 w 362309"/>
                  <a:gd name="connsiteY8" fmla="*/ 12768 h 361971"/>
                  <a:gd name="connsiteX9" fmla="*/ 349530 w 362309"/>
                  <a:gd name="connsiteY9" fmla="*/ 180667 h 361971"/>
                  <a:gd name="connsiteX10" fmla="*/ 349530 w 362309"/>
                  <a:gd name="connsiteY10" fmla="*/ 180667 h 361971"/>
                  <a:gd name="connsiteX11" fmla="*/ 181474 w 362309"/>
                  <a:gd name="connsiteY11" fmla="*/ 349204 h 361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2309" h="361971">
                    <a:moveTo>
                      <a:pt x="181474" y="0"/>
                    </a:moveTo>
                    <a:cubicBezTo>
                      <a:pt x="81152" y="0"/>
                      <a:pt x="0" y="81076"/>
                      <a:pt x="0" y="180667"/>
                    </a:cubicBezTo>
                    <a:cubicBezTo>
                      <a:pt x="0" y="280895"/>
                      <a:pt x="81152" y="361972"/>
                      <a:pt x="180835" y="361972"/>
                    </a:cubicBezTo>
                    <a:cubicBezTo>
                      <a:pt x="281157" y="361972"/>
                      <a:pt x="362310" y="280895"/>
                      <a:pt x="362310" y="181305"/>
                    </a:cubicBezTo>
                    <a:cubicBezTo>
                      <a:pt x="362310" y="181305"/>
                      <a:pt x="362310" y="181305"/>
                      <a:pt x="362310" y="181305"/>
                    </a:cubicBezTo>
                    <a:cubicBezTo>
                      <a:pt x="362310" y="80438"/>
                      <a:pt x="281157" y="0"/>
                      <a:pt x="181474" y="0"/>
                    </a:cubicBezTo>
                    <a:close/>
                    <a:moveTo>
                      <a:pt x="181474" y="349204"/>
                    </a:moveTo>
                    <a:cubicBezTo>
                      <a:pt x="88181" y="349204"/>
                      <a:pt x="12780" y="273873"/>
                      <a:pt x="12780" y="181305"/>
                    </a:cubicBezTo>
                    <a:cubicBezTo>
                      <a:pt x="12780" y="88737"/>
                      <a:pt x="88181" y="12768"/>
                      <a:pt x="180835" y="12768"/>
                    </a:cubicBezTo>
                    <a:cubicBezTo>
                      <a:pt x="274128" y="12768"/>
                      <a:pt x="349530" y="88099"/>
                      <a:pt x="349530" y="180667"/>
                    </a:cubicBezTo>
                    <a:cubicBezTo>
                      <a:pt x="349530" y="180667"/>
                      <a:pt x="349530" y="180667"/>
                      <a:pt x="349530" y="180667"/>
                    </a:cubicBezTo>
                    <a:cubicBezTo>
                      <a:pt x="349530" y="273234"/>
                      <a:pt x="274128" y="348565"/>
                      <a:pt x="181474" y="349204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6" name="Graphic 4">
                <a:extLst>
                  <a:ext uri="{FF2B5EF4-FFF2-40B4-BE49-F238E27FC236}">
                    <a16:creationId xmlns:a16="http://schemas.microsoft.com/office/drawing/2014/main" id="{AD7E7DCC-D639-95E8-EEEE-A45CF0940B8B}"/>
                  </a:ext>
                </a:extLst>
              </p:cNvPr>
              <p:cNvSpPr/>
              <p:nvPr/>
            </p:nvSpPr>
            <p:spPr>
              <a:xfrm>
                <a:off x="1711374" y="2965400"/>
                <a:ext cx="108479" cy="109288"/>
              </a:xfrm>
              <a:custGeom>
                <a:avLst/>
                <a:gdLst>
                  <a:gd name="connsiteX0" fmla="*/ 107841 w 108479"/>
                  <a:gd name="connsiteY0" fmla="*/ 47364 h 109288"/>
                  <a:gd name="connsiteX1" fmla="*/ 102090 w 108479"/>
                  <a:gd name="connsiteY1" fmla="*/ 39703 h 109288"/>
                  <a:gd name="connsiteX2" fmla="*/ 96978 w 108479"/>
                  <a:gd name="connsiteY2" fmla="*/ 38426 h 109288"/>
                  <a:gd name="connsiteX3" fmla="*/ 95700 w 108479"/>
                  <a:gd name="connsiteY3" fmla="*/ 35234 h 109288"/>
                  <a:gd name="connsiteX4" fmla="*/ 98256 w 108479"/>
                  <a:gd name="connsiteY4" fmla="*/ 30766 h 109288"/>
                  <a:gd name="connsiteX5" fmla="*/ 96978 w 108479"/>
                  <a:gd name="connsiteY5" fmla="*/ 21190 h 109288"/>
                  <a:gd name="connsiteX6" fmla="*/ 90588 w 108479"/>
                  <a:gd name="connsiteY6" fmla="*/ 14167 h 109288"/>
                  <a:gd name="connsiteX7" fmla="*/ 81003 w 108479"/>
                  <a:gd name="connsiteY7" fmla="*/ 12252 h 109288"/>
                  <a:gd name="connsiteX8" fmla="*/ 76530 w 108479"/>
                  <a:gd name="connsiteY8" fmla="*/ 14167 h 109288"/>
                  <a:gd name="connsiteX9" fmla="*/ 73974 w 108479"/>
                  <a:gd name="connsiteY9" fmla="*/ 12890 h 109288"/>
                  <a:gd name="connsiteX10" fmla="*/ 73335 w 108479"/>
                  <a:gd name="connsiteY10" fmla="*/ 7783 h 109288"/>
                  <a:gd name="connsiteX11" fmla="*/ 66306 w 108479"/>
                  <a:gd name="connsiteY11" fmla="*/ 1399 h 109288"/>
                  <a:gd name="connsiteX12" fmla="*/ 56721 w 108479"/>
                  <a:gd name="connsiteY12" fmla="*/ 122 h 109288"/>
                  <a:gd name="connsiteX13" fmla="*/ 48414 w 108479"/>
                  <a:gd name="connsiteY13" fmla="*/ 4591 h 109288"/>
                  <a:gd name="connsiteX14" fmla="*/ 45858 w 108479"/>
                  <a:gd name="connsiteY14" fmla="*/ 9060 h 109288"/>
                  <a:gd name="connsiteX15" fmla="*/ 42663 w 108479"/>
                  <a:gd name="connsiteY15" fmla="*/ 9698 h 109288"/>
                  <a:gd name="connsiteX16" fmla="*/ 38829 w 108479"/>
                  <a:gd name="connsiteY16" fmla="*/ 6506 h 109288"/>
                  <a:gd name="connsiteX17" fmla="*/ 29244 w 108479"/>
                  <a:gd name="connsiteY17" fmla="*/ 5868 h 109288"/>
                  <a:gd name="connsiteX18" fmla="*/ 20938 w 108479"/>
                  <a:gd name="connsiteY18" fmla="*/ 10975 h 109288"/>
                  <a:gd name="connsiteX19" fmla="*/ 17104 w 108479"/>
                  <a:gd name="connsiteY19" fmla="*/ 19913 h 109288"/>
                  <a:gd name="connsiteX20" fmla="*/ 18382 w 108479"/>
                  <a:gd name="connsiteY20" fmla="*/ 25020 h 109288"/>
                  <a:gd name="connsiteX21" fmla="*/ 16465 w 108479"/>
                  <a:gd name="connsiteY21" fmla="*/ 27574 h 109288"/>
                  <a:gd name="connsiteX22" fmla="*/ 11353 w 108479"/>
                  <a:gd name="connsiteY22" fmla="*/ 27574 h 109288"/>
                  <a:gd name="connsiteX23" fmla="*/ 3685 w 108479"/>
                  <a:gd name="connsiteY23" fmla="*/ 33319 h 109288"/>
                  <a:gd name="connsiteX24" fmla="*/ 490 w 108479"/>
                  <a:gd name="connsiteY24" fmla="*/ 42895 h 109288"/>
                  <a:gd name="connsiteX25" fmla="*/ 3685 w 108479"/>
                  <a:gd name="connsiteY25" fmla="*/ 51833 h 109288"/>
                  <a:gd name="connsiteX26" fmla="*/ 7519 w 108479"/>
                  <a:gd name="connsiteY26" fmla="*/ 55025 h 109288"/>
                  <a:gd name="connsiteX27" fmla="*/ 7519 w 108479"/>
                  <a:gd name="connsiteY27" fmla="*/ 58217 h 109288"/>
                  <a:gd name="connsiteX28" fmla="*/ 3685 w 108479"/>
                  <a:gd name="connsiteY28" fmla="*/ 61409 h 109288"/>
                  <a:gd name="connsiteX29" fmla="*/ 1768 w 108479"/>
                  <a:gd name="connsiteY29" fmla="*/ 70346 h 109288"/>
                  <a:gd name="connsiteX30" fmla="*/ 5602 w 108479"/>
                  <a:gd name="connsiteY30" fmla="*/ 79284 h 109288"/>
                  <a:gd name="connsiteX31" fmla="*/ 13270 w 108479"/>
                  <a:gd name="connsiteY31" fmla="*/ 84391 h 109288"/>
                  <a:gd name="connsiteX32" fmla="*/ 18382 w 108479"/>
                  <a:gd name="connsiteY32" fmla="*/ 84391 h 109288"/>
                  <a:gd name="connsiteX33" fmla="*/ 20299 w 108479"/>
                  <a:gd name="connsiteY33" fmla="*/ 86945 h 109288"/>
                  <a:gd name="connsiteX34" fmla="*/ 19659 w 108479"/>
                  <a:gd name="connsiteY34" fmla="*/ 92052 h 109288"/>
                  <a:gd name="connsiteX35" fmla="*/ 24133 w 108479"/>
                  <a:gd name="connsiteY35" fmla="*/ 100351 h 109288"/>
                  <a:gd name="connsiteX36" fmla="*/ 33078 w 108479"/>
                  <a:gd name="connsiteY36" fmla="*/ 104820 h 109288"/>
                  <a:gd name="connsiteX37" fmla="*/ 42663 w 108479"/>
                  <a:gd name="connsiteY37" fmla="*/ 103543 h 109288"/>
                  <a:gd name="connsiteX38" fmla="*/ 46497 w 108479"/>
                  <a:gd name="connsiteY38" fmla="*/ 100351 h 109288"/>
                  <a:gd name="connsiteX39" fmla="*/ 49692 w 108479"/>
                  <a:gd name="connsiteY39" fmla="*/ 100989 h 109288"/>
                  <a:gd name="connsiteX40" fmla="*/ 52248 w 108479"/>
                  <a:gd name="connsiteY40" fmla="*/ 105458 h 109288"/>
                  <a:gd name="connsiteX41" fmla="*/ 59277 w 108479"/>
                  <a:gd name="connsiteY41" fmla="*/ 109288 h 109288"/>
                  <a:gd name="connsiteX42" fmla="*/ 61194 w 108479"/>
                  <a:gd name="connsiteY42" fmla="*/ 109288 h 109288"/>
                  <a:gd name="connsiteX43" fmla="*/ 70779 w 108479"/>
                  <a:gd name="connsiteY43" fmla="*/ 107373 h 109288"/>
                  <a:gd name="connsiteX44" fmla="*/ 77169 w 108479"/>
                  <a:gd name="connsiteY44" fmla="*/ 100351 h 109288"/>
                  <a:gd name="connsiteX45" fmla="*/ 77808 w 108479"/>
                  <a:gd name="connsiteY45" fmla="*/ 95244 h 109288"/>
                  <a:gd name="connsiteX46" fmla="*/ 80364 w 108479"/>
                  <a:gd name="connsiteY46" fmla="*/ 93329 h 109288"/>
                  <a:gd name="connsiteX47" fmla="*/ 85476 w 108479"/>
                  <a:gd name="connsiteY47" fmla="*/ 95244 h 109288"/>
                  <a:gd name="connsiteX48" fmla="*/ 94422 w 108479"/>
                  <a:gd name="connsiteY48" fmla="*/ 92690 h 109288"/>
                  <a:gd name="connsiteX49" fmla="*/ 100812 w 108479"/>
                  <a:gd name="connsiteY49" fmla="*/ 85029 h 109288"/>
                  <a:gd name="connsiteX50" fmla="*/ 100812 w 108479"/>
                  <a:gd name="connsiteY50" fmla="*/ 75453 h 109288"/>
                  <a:gd name="connsiteX51" fmla="*/ 98256 w 108479"/>
                  <a:gd name="connsiteY51" fmla="*/ 70985 h 109288"/>
                  <a:gd name="connsiteX52" fmla="*/ 98895 w 108479"/>
                  <a:gd name="connsiteY52" fmla="*/ 67793 h 109288"/>
                  <a:gd name="connsiteX53" fmla="*/ 103368 w 108479"/>
                  <a:gd name="connsiteY53" fmla="*/ 65877 h 109288"/>
                  <a:gd name="connsiteX54" fmla="*/ 108480 w 108479"/>
                  <a:gd name="connsiteY54" fmla="*/ 58217 h 109288"/>
                  <a:gd name="connsiteX55" fmla="*/ 107841 w 108479"/>
                  <a:gd name="connsiteY55" fmla="*/ 47364 h 109288"/>
                  <a:gd name="connsiteX56" fmla="*/ 90588 w 108479"/>
                  <a:gd name="connsiteY56" fmla="*/ 56301 h 109288"/>
                  <a:gd name="connsiteX57" fmla="*/ 86754 w 108479"/>
                  <a:gd name="connsiteY57" fmla="*/ 60132 h 109288"/>
                  <a:gd name="connsiteX58" fmla="*/ 84198 w 108479"/>
                  <a:gd name="connsiteY58" fmla="*/ 69069 h 109288"/>
                  <a:gd name="connsiteX59" fmla="*/ 84837 w 108479"/>
                  <a:gd name="connsiteY59" fmla="*/ 74815 h 109288"/>
                  <a:gd name="connsiteX60" fmla="*/ 87393 w 108479"/>
                  <a:gd name="connsiteY60" fmla="*/ 78645 h 109288"/>
                  <a:gd name="connsiteX61" fmla="*/ 85476 w 108479"/>
                  <a:gd name="connsiteY61" fmla="*/ 81199 h 109288"/>
                  <a:gd name="connsiteX62" fmla="*/ 81003 w 108479"/>
                  <a:gd name="connsiteY62" fmla="*/ 79922 h 109288"/>
                  <a:gd name="connsiteX63" fmla="*/ 75252 w 108479"/>
                  <a:gd name="connsiteY63" fmla="*/ 80561 h 109288"/>
                  <a:gd name="connsiteX64" fmla="*/ 67584 w 108479"/>
                  <a:gd name="connsiteY64" fmla="*/ 85668 h 109288"/>
                  <a:gd name="connsiteX65" fmla="*/ 64389 w 108479"/>
                  <a:gd name="connsiteY65" fmla="*/ 90137 h 109288"/>
                  <a:gd name="connsiteX66" fmla="*/ 63750 w 108479"/>
                  <a:gd name="connsiteY66" fmla="*/ 94605 h 109288"/>
                  <a:gd name="connsiteX67" fmla="*/ 60555 w 108479"/>
                  <a:gd name="connsiteY67" fmla="*/ 95244 h 109288"/>
                  <a:gd name="connsiteX68" fmla="*/ 57999 w 108479"/>
                  <a:gd name="connsiteY68" fmla="*/ 91413 h 109288"/>
                  <a:gd name="connsiteX69" fmla="*/ 53526 w 108479"/>
                  <a:gd name="connsiteY69" fmla="*/ 88221 h 109288"/>
                  <a:gd name="connsiteX70" fmla="*/ 43941 w 108479"/>
                  <a:gd name="connsiteY70" fmla="*/ 86945 h 109288"/>
                  <a:gd name="connsiteX71" fmla="*/ 43302 w 108479"/>
                  <a:gd name="connsiteY71" fmla="*/ 86945 h 109288"/>
                  <a:gd name="connsiteX72" fmla="*/ 38829 w 108479"/>
                  <a:gd name="connsiteY72" fmla="*/ 88860 h 109288"/>
                  <a:gd name="connsiteX73" fmla="*/ 35634 w 108479"/>
                  <a:gd name="connsiteY73" fmla="*/ 92052 h 109288"/>
                  <a:gd name="connsiteX74" fmla="*/ 32439 w 108479"/>
                  <a:gd name="connsiteY74" fmla="*/ 90775 h 109288"/>
                  <a:gd name="connsiteX75" fmla="*/ 33078 w 108479"/>
                  <a:gd name="connsiteY75" fmla="*/ 86306 h 109288"/>
                  <a:gd name="connsiteX76" fmla="*/ 31800 w 108479"/>
                  <a:gd name="connsiteY76" fmla="*/ 81199 h 109288"/>
                  <a:gd name="connsiteX77" fmla="*/ 25410 w 108479"/>
                  <a:gd name="connsiteY77" fmla="*/ 74177 h 109288"/>
                  <a:gd name="connsiteX78" fmla="*/ 20299 w 108479"/>
                  <a:gd name="connsiteY78" fmla="*/ 72261 h 109288"/>
                  <a:gd name="connsiteX79" fmla="*/ 15187 w 108479"/>
                  <a:gd name="connsiteY79" fmla="*/ 72261 h 109288"/>
                  <a:gd name="connsiteX80" fmla="*/ 13909 w 108479"/>
                  <a:gd name="connsiteY80" fmla="*/ 69069 h 109288"/>
                  <a:gd name="connsiteX81" fmla="*/ 17743 w 108479"/>
                  <a:gd name="connsiteY81" fmla="*/ 65877 h 109288"/>
                  <a:gd name="connsiteX82" fmla="*/ 19659 w 108479"/>
                  <a:gd name="connsiteY82" fmla="*/ 60770 h 109288"/>
                  <a:gd name="connsiteX83" fmla="*/ 19659 w 108479"/>
                  <a:gd name="connsiteY83" fmla="*/ 51833 h 109288"/>
                  <a:gd name="connsiteX84" fmla="*/ 17104 w 108479"/>
                  <a:gd name="connsiteY84" fmla="*/ 46726 h 109288"/>
                  <a:gd name="connsiteX85" fmla="*/ 13270 w 108479"/>
                  <a:gd name="connsiteY85" fmla="*/ 44172 h 109288"/>
                  <a:gd name="connsiteX86" fmla="*/ 14548 w 108479"/>
                  <a:gd name="connsiteY86" fmla="*/ 40980 h 109288"/>
                  <a:gd name="connsiteX87" fmla="*/ 19659 w 108479"/>
                  <a:gd name="connsiteY87" fmla="*/ 40980 h 109288"/>
                  <a:gd name="connsiteX88" fmla="*/ 24772 w 108479"/>
                  <a:gd name="connsiteY88" fmla="*/ 38426 h 109288"/>
                  <a:gd name="connsiteX89" fmla="*/ 30522 w 108479"/>
                  <a:gd name="connsiteY89" fmla="*/ 31404 h 109288"/>
                  <a:gd name="connsiteX90" fmla="*/ 31800 w 108479"/>
                  <a:gd name="connsiteY90" fmla="*/ 25658 h 109288"/>
                  <a:gd name="connsiteX91" fmla="*/ 30522 w 108479"/>
                  <a:gd name="connsiteY91" fmla="*/ 21190 h 109288"/>
                  <a:gd name="connsiteX92" fmla="*/ 33078 w 108479"/>
                  <a:gd name="connsiteY92" fmla="*/ 19274 h 109288"/>
                  <a:gd name="connsiteX93" fmla="*/ 36912 w 108479"/>
                  <a:gd name="connsiteY93" fmla="*/ 22466 h 109288"/>
                  <a:gd name="connsiteX94" fmla="*/ 42024 w 108479"/>
                  <a:gd name="connsiteY94" fmla="*/ 23743 h 109288"/>
                  <a:gd name="connsiteX95" fmla="*/ 50970 w 108479"/>
                  <a:gd name="connsiteY95" fmla="*/ 21828 h 109288"/>
                  <a:gd name="connsiteX96" fmla="*/ 55443 w 108479"/>
                  <a:gd name="connsiteY96" fmla="*/ 18636 h 109288"/>
                  <a:gd name="connsiteX97" fmla="*/ 57360 w 108479"/>
                  <a:gd name="connsiteY97" fmla="*/ 14167 h 109288"/>
                  <a:gd name="connsiteX98" fmla="*/ 60555 w 108479"/>
                  <a:gd name="connsiteY98" fmla="*/ 14806 h 109288"/>
                  <a:gd name="connsiteX99" fmla="*/ 61194 w 108479"/>
                  <a:gd name="connsiteY99" fmla="*/ 19274 h 109288"/>
                  <a:gd name="connsiteX100" fmla="*/ 64389 w 108479"/>
                  <a:gd name="connsiteY100" fmla="*/ 23743 h 109288"/>
                  <a:gd name="connsiteX101" fmla="*/ 72696 w 108479"/>
                  <a:gd name="connsiteY101" fmla="*/ 28212 h 109288"/>
                  <a:gd name="connsiteX102" fmla="*/ 78447 w 108479"/>
                  <a:gd name="connsiteY102" fmla="*/ 28212 h 109288"/>
                  <a:gd name="connsiteX103" fmla="*/ 82920 w 108479"/>
                  <a:gd name="connsiteY103" fmla="*/ 26297 h 109288"/>
                  <a:gd name="connsiteX104" fmla="*/ 85476 w 108479"/>
                  <a:gd name="connsiteY104" fmla="*/ 28850 h 109288"/>
                  <a:gd name="connsiteX105" fmla="*/ 82920 w 108479"/>
                  <a:gd name="connsiteY105" fmla="*/ 33319 h 109288"/>
                  <a:gd name="connsiteX106" fmla="*/ 82920 w 108479"/>
                  <a:gd name="connsiteY106" fmla="*/ 39065 h 109288"/>
                  <a:gd name="connsiteX107" fmla="*/ 86754 w 108479"/>
                  <a:gd name="connsiteY107" fmla="*/ 48002 h 109288"/>
                  <a:gd name="connsiteX108" fmla="*/ 90588 w 108479"/>
                  <a:gd name="connsiteY108" fmla="*/ 51833 h 109288"/>
                  <a:gd name="connsiteX109" fmla="*/ 95061 w 108479"/>
                  <a:gd name="connsiteY109" fmla="*/ 53109 h 109288"/>
                  <a:gd name="connsiteX110" fmla="*/ 95061 w 108479"/>
                  <a:gd name="connsiteY110" fmla="*/ 56301 h 109288"/>
                  <a:gd name="connsiteX111" fmla="*/ 90588 w 108479"/>
                  <a:gd name="connsiteY111" fmla="*/ 56301 h 109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</a:cxnLst>
                <a:rect l="l" t="t" r="r" b="b"/>
                <a:pathLst>
                  <a:path w="108479" h="109288">
                    <a:moveTo>
                      <a:pt x="107841" y="47364"/>
                    </a:moveTo>
                    <a:cubicBezTo>
                      <a:pt x="107841" y="44172"/>
                      <a:pt x="105285" y="40980"/>
                      <a:pt x="102090" y="39703"/>
                    </a:cubicBezTo>
                    <a:lnTo>
                      <a:pt x="96978" y="38426"/>
                    </a:lnTo>
                    <a:lnTo>
                      <a:pt x="95700" y="35234"/>
                    </a:lnTo>
                    <a:lnTo>
                      <a:pt x="98256" y="30766"/>
                    </a:lnTo>
                    <a:cubicBezTo>
                      <a:pt x="100173" y="27574"/>
                      <a:pt x="99534" y="23743"/>
                      <a:pt x="96978" y="21190"/>
                    </a:cubicBezTo>
                    <a:lnTo>
                      <a:pt x="90588" y="14167"/>
                    </a:lnTo>
                    <a:cubicBezTo>
                      <a:pt x="88032" y="11614"/>
                      <a:pt x="84837" y="10975"/>
                      <a:pt x="81003" y="12252"/>
                    </a:cubicBezTo>
                    <a:lnTo>
                      <a:pt x="76530" y="14167"/>
                    </a:lnTo>
                    <a:lnTo>
                      <a:pt x="73974" y="12890"/>
                    </a:lnTo>
                    <a:lnTo>
                      <a:pt x="73335" y="7783"/>
                    </a:lnTo>
                    <a:cubicBezTo>
                      <a:pt x="72696" y="4591"/>
                      <a:pt x="70140" y="2038"/>
                      <a:pt x="66306" y="1399"/>
                    </a:cubicBezTo>
                    <a:lnTo>
                      <a:pt x="56721" y="122"/>
                    </a:lnTo>
                    <a:cubicBezTo>
                      <a:pt x="53526" y="-516"/>
                      <a:pt x="49692" y="1399"/>
                      <a:pt x="48414" y="4591"/>
                    </a:cubicBezTo>
                    <a:lnTo>
                      <a:pt x="45858" y="9060"/>
                    </a:lnTo>
                    <a:lnTo>
                      <a:pt x="42663" y="9698"/>
                    </a:lnTo>
                    <a:lnTo>
                      <a:pt x="38829" y="6506"/>
                    </a:lnTo>
                    <a:cubicBezTo>
                      <a:pt x="36273" y="4591"/>
                      <a:pt x="32439" y="3953"/>
                      <a:pt x="29244" y="5868"/>
                    </a:cubicBezTo>
                    <a:lnTo>
                      <a:pt x="20938" y="10975"/>
                    </a:lnTo>
                    <a:cubicBezTo>
                      <a:pt x="17743" y="12890"/>
                      <a:pt x="16465" y="16082"/>
                      <a:pt x="17104" y="19913"/>
                    </a:cubicBezTo>
                    <a:lnTo>
                      <a:pt x="18382" y="25020"/>
                    </a:lnTo>
                    <a:lnTo>
                      <a:pt x="16465" y="27574"/>
                    </a:lnTo>
                    <a:lnTo>
                      <a:pt x="11353" y="27574"/>
                    </a:lnTo>
                    <a:cubicBezTo>
                      <a:pt x="8158" y="27574"/>
                      <a:pt x="4963" y="30127"/>
                      <a:pt x="3685" y="33319"/>
                    </a:cubicBezTo>
                    <a:lnTo>
                      <a:pt x="490" y="42895"/>
                    </a:lnTo>
                    <a:cubicBezTo>
                      <a:pt x="-788" y="46087"/>
                      <a:pt x="490" y="49918"/>
                      <a:pt x="3685" y="51833"/>
                    </a:cubicBezTo>
                    <a:lnTo>
                      <a:pt x="7519" y="55025"/>
                    </a:lnTo>
                    <a:lnTo>
                      <a:pt x="7519" y="58217"/>
                    </a:lnTo>
                    <a:lnTo>
                      <a:pt x="3685" y="61409"/>
                    </a:lnTo>
                    <a:cubicBezTo>
                      <a:pt x="1129" y="63962"/>
                      <a:pt x="-149" y="67154"/>
                      <a:pt x="1768" y="70346"/>
                    </a:cubicBezTo>
                    <a:lnTo>
                      <a:pt x="5602" y="79284"/>
                    </a:lnTo>
                    <a:cubicBezTo>
                      <a:pt x="6880" y="82476"/>
                      <a:pt x="10075" y="84391"/>
                      <a:pt x="13270" y="84391"/>
                    </a:cubicBezTo>
                    <a:lnTo>
                      <a:pt x="18382" y="84391"/>
                    </a:lnTo>
                    <a:lnTo>
                      <a:pt x="20299" y="86945"/>
                    </a:lnTo>
                    <a:lnTo>
                      <a:pt x="19659" y="92052"/>
                    </a:lnTo>
                    <a:cubicBezTo>
                      <a:pt x="19020" y="95244"/>
                      <a:pt x="20938" y="99074"/>
                      <a:pt x="24133" y="100351"/>
                    </a:cubicBezTo>
                    <a:lnTo>
                      <a:pt x="33078" y="104820"/>
                    </a:lnTo>
                    <a:cubicBezTo>
                      <a:pt x="36273" y="106735"/>
                      <a:pt x="40107" y="106096"/>
                      <a:pt x="42663" y="103543"/>
                    </a:cubicBezTo>
                    <a:lnTo>
                      <a:pt x="46497" y="100351"/>
                    </a:lnTo>
                    <a:lnTo>
                      <a:pt x="49692" y="100989"/>
                    </a:lnTo>
                    <a:lnTo>
                      <a:pt x="52248" y="105458"/>
                    </a:lnTo>
                    <a:cubicBezTo>
                      <a:pt x="53526" y="108012"/>
                      <a:pt x="56082" y="109288"/>
                      <a:pt x="59277" y="109288"/>
                    </a:cubicBezTo>
                    <a:lnTo>
                      <a:pt x="61194" y="109288"/>
                    </a:lnTo>
                    <a:lnTo>
                      <a:pt x="70779" y="107373"/>
                    </a:lnTo>
                    <a:cubicBezTo>
                      <a:pt x="73974" y="106735"/>
                      <a:pt x="76530" y="103543"/>
                      <a:pt x="77169" y="100351"/>
                    </a:cubicBezTo>
                    <a:lnTo>
                      <a:pt x="77808" y="95244"/>
                    </a:lnTo>
                    <a:lnTo>
                      <a:pt x="80364" y="93329"/>
                    </a:lnTo>
                    <a:lnTo>
                      <a:pt x="85476" y="95244"/>
                    </a:lnTo>
                    <a:cubicBezTo>
                      <a:pt x="88671" y="96521"/>
                      <a:pt x="92505" y="95244"/>
                      <a:pt x="94422" y="92690"/>
                    </a:cubicBezTo>
                    <a:lnTo>
                      <a:pt x="100812" y="85029"/>
                    </a:lnTo>
                    <a:cubicBezTo>
                      <a:pt x="102729" y="82476"/>
                      <a:pt x="102729" y="78645"/>
                      <a:pt x="100812" y="75453"/>
                    </a:cubicBezTo>
                    <a:lnTo>
                      <a:pt x="98256" y="70985"/>
                    </a:lnTo>
                    <a:lnTo>
                      <a:pt x="98895" y="67793"/>
                    </a:lnTo>
                    <a:lnTo>
                      <a:pt x="103368" y="65877"/>
                    </a:lnTo>
                    <a:cubicBezTo>
                      <a:pt x="106563" y="64601"/>
                      <a:pt x="108480" y="61409"/>
                      <a:pt x="108480" y="58217"/>
                    </a:cubicBezTo>
                    <a:lnTo>
                      <a:pt x="107841" y="47364"/>
                    </a:lnTo>
                    <a:close/>
                    <a:moveTo>
                      <a:pt x="90588" y="56301"/>
                    </a:moveTo>
                    <a:cubicBezTo>
                      <a:pt x="88671" y="56940"/>
                      <a:pt x="87393" y="58217"/>
                      <a:pt x="86754" y="60132"/>
                    </a:cubicBezTo>
                    <a:lnTo>
                      <a:pt x="84198" y="69069"/>
                    </a:lnTo>
                    <a:cubicBezTo>
                      <a:pt x="83559" y="70985"/>
                      <a:pt x="84198" y="72900"/>
                      <a:pt x="84837" y="74815"/>
                    </a:cubicBezTo>
                    <a:lnTo>
                      <a:pt x="87393" y="78645"/>
                    </a:lnTo>
                    <a:lnTo>
                      <a:pt x="85476" y="81199"/>
                    </a:lnTo>
                    <a:lnTo>
                      <a:pt x="81003" y="79922"/>
                    </a:lnTo>
                    <a:cubicBezTo>
                      <a:pt x="79086" y="79284"/>
                      <a:pt x="77169" y="79284"/>
                      <a:pt x="75252" y="80561"/>
                    </a:cubicBezTo>
                    <a:lnTo>
                      <a:pt x="67584" y="85668"/>
                    </a:lnTo>
                    <a:cubicBezTo>
                      <a:pt x="65667" y="86945"/>
                      <a:pt x="65028" y="88221"/>
                      <a:pt x="64389" y="90137"/>
                    </a:cubicBezTo>
                    <a:lnTo>
                      <a:pt x="63750" y="94605"/>
                    </a:lnTo>
                    <a:lnTo>
                      <a:pt x="60555" y="95244"/>
                    </a:lnTo>
                    <a:lnTo>
                      <a:pt x="57999" y="91413"/>
                    </a:lnTo>
                    <a:cubicBezTo>
                      <a:pt x="56721" y="89498"/>
                      <a:pt x="55443" y="88860"/>
                      <a:pt x="53526" y="88221"/>
                    </a:cubicBezTo>
                    <a:lnTo>
                      <a:pt x="43941" y="86945"/>
                    </a:lnTo>
                    <a:lnTo>
                      <a:pt x="43302" y="86945"/>
                    </a:lnTo>
                    <a:cubicBezTo>
                      <a:pt x="41385" y="86945"/>
                      <a:pt x="40107" y="87583"/>
                      <a:pt x="38829" y="88860"/>
                    </a:cubicBezTo>
                    <a:lnTo>
                      <a:pt x="35634" y="92052"/>
                    </a:lnTo>
                    <a:lnTo>
                      <a:pt x="32439" y="90775"/>
                    </a:lnTo>
                    <a:lnTo>
                      <a:pt x="33078" y="86306"/>
                    </a:lnTo>
                    <a:cubicBezTo>
                      <a:pt x="33078" y="84391"/>
                      <a:pt x="33078" y="82476"/>
                      <a:pt x="31800" y="81199"/>
                    </a:cubicBezTo>
                    <a:lnTo>
                      <a:pt x="25410" y="74177"/>
                    </a:lnTo>
                    <a:cubicBezTo>
                      <a:pt x="24133" y="72900"/>
                      <a:pt x="22215" y="72261"/>
                      <a:pt x="20299" y="72261"/>
                    </a:cubicBezTo>
                    <a:lnTo>
                      <a:pt x="15187" y="72261"/>
                    </a:lnTo>
                    <a:lnTo>
                      <a:pt x="13909" y="69069"/>
                    </a:lnTo>
                    <a:lnTo>
                      <a:pt x="17743" y="65877"/>
                    </a:lnTo>
                    <a:cubicBezTo>
                      <a:pt x="19020" y="64601"/>
                      <a:pt x="20299" y="62685"/>
                      <a:pt x="19659" y="60770"/>
                    </a:cubicBezTo>
                    <a:lnTo>
                      <a:pt x="19659" y="51833"/>
                    </a:lnTo>
                    <a:cubicBezTo>
                      <a:pt x="19659" y="49918"/>
                      <a:pt x="18382" y="48002"/>
                      <a:pt x="17104" y="46726"/>
                    </a:cubicBezTo>
                    <a:lnTo>
                      <a:pt x="13270" y="44172"/>
                    </a:lnTo>
                    <a:lnTo>
                      <a:pt x="14548" y="40980"/>
                    </a:lnTo>
                    <a:lnTo>
                      <a:pt x="19659" y="40980"/>
                    </a:lnTo>
                    <a:cubicBezTo>
                      <a:pt x="21577" y="40980"/>
                      <a:pt x="23493" y="39703"/>
                      <a:pt x="24772" y="38426"/>
                    </a:cubicBezTo>
                    <a:lnTo>
                      <a:pt x="30522" y="31404"/>
                    </a:lnTo>
                    <a:cubicBezTo>
                      <a:pt x="31800" y="30127"/>
                      <a:pt x="32439" y="27574"/>
                      <a:pt x="31800" y="25658"/>
                    </a:cubicBezTo>
                    <a:lnTo>
                      <a:pt x="30522" y="21190"/>
                    </a:lnTo>
                    <a:lnTo>
                      <a:pt x="33078" y="19274"/>
                    </a:lnTo>
                    <a:lnTo>
                      <a:pt x="36912" y="22466"/>
                    </a:lnTo>
                    <a:cubicBezTo>
                      <a:pt x="38190" y="23743"/>
                      <a:pt x="40107" y="24382"/>
                      <a:pt x="42024" y="23743"/>
                    </a:cubicBezTo>
                    <a:lnTo>
                      <a:pt x="50970" y="21828"/>
                    </a:lnTo>
                    <a:cubicBezTo>
                      <a:pt x="52887" y="21190"/>
                      <a:pt x="54165" y="19913"/>
                      <a:pt x="55443" y="18636"/>
                    </a:cubicBezTo>
                    <a:lnTo>
                      <a:pt x="57360" y="14167"/>
                    </a:lnTo>
                    <a:lnTo>
                      <a:pt x="60555" y="14806"/>
                    </a:lnTo>
                    <a:lnTo>
                      <a:pt x="61194" y="19274"/>
                    </a:lnTo>
                    <a:cubicBezTo>
                      <a:pt x="61833" y="21190"/>
                      <a:pt x="63111" y="23105"/>
                      <a:pt x="64389" y="23743"/>
                    </a:cubicBezTo>
                    <a:lnTo>
                      <a:pt x="72696" y="28212"/>
                    </a:lnTo>
                    <a:cubicBezTo>
                      <a:pt x="74613" y="28850"/>
                      <a:pt x="76530" y="28850"/>
                      <a:pt x="78447" y="28212"/>
                    </a:cubicBezTo>
                    <a:lnTo>
                      <a:pt x="82920" y="26297"/>
                    </a:lnTo>
                    <a:lnTo>
                      <a:pt x="85476" y="28850"/>
                    </a:lnTo>
                    <a:lnTo>
                      <a:pt x="82920" y="33319"/>
                    </a:lnTo>
                    <a:cubicBezTo>
                      <a:pt x="82281" y="35234"/>
                      <a:pt x="81642" y="37150"/>
                      <a:pt x="82920" y="39065"/>
                    </a:cubicBezTo>
                    <a:lnTo>
                      <a:pt x="86754" y="48002"/>
                    </a:lnTo>
                    <a:cubicBezTo>
                      <a:pt x="87393" y="49918"/>
                      <a:pt x="88671" y="51194"/>
                      <a:pt x="90588" y="51833"/>
                    </a:cubicBezTo>
                    <a:lnTo>
                      <a:pt x="95061" y="53109"/>
                    </a:lnTo>
                    <a:lnTo>
                      <a:pt x="95061" y="56301"/>
                    </a:lnTo>
                    <a:lnTo>
                      <a:pt x="90588" y="56301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7" name="Graphic 4">
                <a:extLst>
                  <a:ext uri="{FF2B5EF4-FFF2-40B4-BE49-F238E27FC236}">
                    <a16:creationId xmlns:a16="http://schemas.microsoft.com/office/drawing/2014/main" id="{83E6B082-1AF6-7F5F-444B-574EFDDD2A97}"/>
                  </a:ext>
                </a:extLst>
              </p:cNvPr>
              <p:cNvSpPr/>
              <p:nvPr/>
            </p:nvSpPr>
            <p:spPr>
              <a:xfrm>
                <a:off x="1732290" y="2987227"/>
                <a:ext cx="65859" cy="66393"/>
              </a:xfrm>
              <a:custGeom>
                <a:avLst/>
                <a:gdLst>
                  <a:gd name="connsiteX0" fmla="*/ 31333 w 65859"/>
                  <a:gd name="connsiteY0" fmla="*/ 0 h 66393"/>
                  <a:gd name="connsiteX1" fmla="*/ 31333 w 65859"/>
                  <a:gd name="connsiteY1" fmla="*/ 0 h 66393"/>
                  <a:gd name="connsiteX2" fmla="*/ 22 w 65859"/>
                  <a:gd name="connsiteY2" fmla="*/ 35112 h 66393"/>
                  <a:gd name="connsiteX3" fmla="*/ 32611 w 65859"/>
                  <a:gd name="connsiteY3" fmla="*/ 66394 h 66393"/>
                  <a:gd name="connsiteX4" fmla="*/ 33888 w 65859"/>
                  <a:gd name="connsiteY4" fmla="*/ 66394 h 66393"/>
                  <a:gd name="connsiteX5" fmla="*/ 65838 w 65859"/>
                  <a:gd name="connsiteY5" fmla="*/ 32558 h 66393"/>
                  <a:gd name="connsiteX6" fmla="*/ 31972 w 65859"/>
                  <a:gd name="connsiteY6" fmla="*/ 638 h 66393"/>
                  <a:gd name="connsiteX7" fmla="*/ 31333 w 65859"/>
                  <a:gd name="connsiteY7" fmla="*/ 0 h 66393"/>
                  <a:gd name="connsiteX8" fmla="*/ 33888 w 65859"/>
                  <a:gd name="connsiteY8" fmla="*/ 52987 h 66393"/>
                  <a:gd name="connsiteX9" fmla="*/ 12802 w 65859"/>
                  <a:gd name="connsiteY9" fmla="*/ 33835 h 66393"/>
                  <a:gd name="connsiteX10" fmla="*/ 17914 w 65859"/>
                  <a:gd name="connsiteY10" fmla="*/ 19152 h 66393"/>
                  <a:gd name="connsiteX11" fmla="*/ 46668 w 65859"/>
                  <a:gd name="connsiteY11" fmla="*/ 17875 h 66393"/>
                  <a:gd name="connsiteX12" fmla="*/ 53058 w 65859"/>
                  <a:gd name="connsiteY12" fmla="*/ 31920 h 66393"/>
                  <a:gd name="connsiteX13" fmla="*/ 33888 w 65859"/>
                  <a:gd name="connsiteY13" fmla="*/ 52987 h 66393"/>
                  <a:gd name="connsiteX14" fmla="*/ 33888 w 65859"/>
                  <a:gd name="connsiteY14" fmla="*/ 52987 h 66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5859" h="66393">
                    <a:moveTo>
                      <a:pt x="31333" y="0"/>
                    </a:moveTo>
                    <a:lnTo>
                      <a:pt x="31333" y="0"/>
                    </a:lnTo>
                    <a:cubicBezTo>
                      <a:pt x="12802" y="1277"/>
                      <a:pt x="-617" y="16598"/>
                      <a:pt x="22" y="35112"/>
                    </a:cubicBezTo>
                    <a:cubicBezTo>
                      <a:pt x="1300" y="52349"/>
                      <a:pt x="15358" y="65755"/>
                      <a:pt x="32611" y="66394"/>
                    </a:cubicBezTo>
                    <a:lnTo>
                      <a:pt x="33888" y="66394"/>
                    </a:lnTo>
                    <a:cubicBezTo>
                      <a:pt x="52419" y="65755"/>
                      <a:pt x="66477" y="50434"/>
                      <a:pt x="65838" y="32558"/>
                    </a:cubicBezTo>
                    <a:cubicBezTo>
                      <a:pt x="65199" y="14045"/>
                      <a:pt x="49863" y="0"/>
                      <a:pt x="31972" y="638"/>
                    </a:cubicBezTo>
                    <a:cubicBezTo>
                      <a:pt x="31972" y="0"/>
                      <a:pt x="31333" y="0"/>
                      <a:pt x="31333" y="0"/>
                    </a:cubicBezTo>
                    <a:close/>
                    <a:moveTo>
                      <a:pt x="33888" y="52987"/>
                    </a:moveTo>
                    <a:cubicBezTo>
                      <a:pt x="22387" y="53626"/>
                      <a:pt x="13441" y="44688"/>
                      <a:pt x="12802" y="33835"/>
                    </a:cubicBezTo>
                    <a:cubicBezTo>
                      <a:pt x="12802" y="28728"/>
                      <a:pt x="14719" y="22982"/>
                      <a:pt x="17914" y="19152"/>
                    </a:cubicBezTo>
                    <a:cubicBezTo>
                      <a:pt x="25582" y="10853"/>
                      <a:pt x="38362" y="10214"/>
                      <a:pt x="46668" y="17875"/>
                    </a:cubicBezTo>
                    <a:cubicBezTo>
                      <a:pt x="50502" y="21706"/>
                      <a:pt x="53058" y="26813"/>
                      <a:pt x="53058" y="31920"/>
                    </a:cubicBezTo>
                    <a:cubicBezTo>
                      <a:pt x="53697" y="42773"/>
                      <a:pt x="44751" y="52349"/>
                      <a:pt x="33888" y="52987"/>
                    </a:cubicBezTo>
                    <a:lnTo>
                      <a:pt x="33888" y="52987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8" name="Graphic 4">
                <a:extLst>
                  <a:ext uri="{FF2B5EF4-FFF2-40B4-BE49-F238E27FC236}">
                    <a16:creationId xmlns:a16="http://schemas.microsoft.com/office/drawing/2014/main" id="{7A539D14-C33F-25BA-C476-64FA8BAD9F9C}"/>
                  </a:ext>
                </a:extLst>
              </p:cNvPr>
              <p:cNvSpPr/>
              <p:nvPr/>
            </p:nvSpPr>
            <p:spPr>
              <a:xfrm>
                <a:off x="1637251" y="3045838"/>
                <a:ext cx="108479" cy="109288"/>
              </a:xfrm>
              <a:custGeom>
                <a:avLst/>
                <a:gdLst>
                  <a:gd name="connsiteX0" fmla="*/ 102090 w 108479"/>
                  <a:gd name="connsiteY0" fmla="*/ 39703 h 109288"/>
                  <a:gd name="connsiteX1" fmla="*/ 96978 w 108479"/>
                  <a:gd name="connsiteY1" fmla="*/ 38426 h 109288"/>
                  <a:gd name="connsiteX2" fmla="*/ 95700 w 108479"/>
                  <a:gd name="connsiteY2" fmla="*/ 35234 h 109288"/>
                  <a:gd name="connsiteX3" fmla="*/ 98256 w 108479"/>
                  <a:gd name="connsiteY3" fmla="*/ 30765 h 109288"/>
                  <a:gd name="connsiteX4" fmla="*/ 96978 w 108479"/>
                  <a:gd name="connsiteY4" fmla="*/ 21189 h 109288"/>
                  <a:gd name="connsiteX5" fmla="*/ 90588 w 108479"/>
                  <a:gd name="connsiteY5" fmla="*/ 14167 h 109288"/>
                  <a:gd name="connsiteX6" fmla="*/ 81003 w 108479"/>
                  <a:gd name="connsiteY6" fmla="*/ 12252 h 109288"/>
                  <a:gd name="connsiteX7" fmla="*/ 76530 w 108479"/>
                  <a:gd name="connsiteY7" fmla="*/ 14167 h 109288"/>
                  <a:gd name="connsiteX8" fmla="*/ 73335 w 108479"/>
                  <a:gd name="connsiteY8" fmla="*/ 12890 h 109288"/>
                  <a:gd name="connsiteX9" fmla="*/ 72696 w 108479"/>
                  <a:gd name="connsiteY9" fmla="*/ 7783 h 109288"/>
                  <a:gd name="connsiteX10" fmla="*/ 65667 w 108479"/>
                  <a:gd name="connsiteY10" fmla="*/ 1399 h 109288"/>
                  <a:gd name="connsiteX11" fmla="*/ 56082 w 108479"/>
                  <a:gd name="connsiteY11" fmla="*/ 122 h 109288"/>
                  <a:gd name="connsiteX12" fmla="*/ 47775 w 108479"/>
                  <a:gd name="connsiteY12" fmla="*/ 4591 h 109288"/>
                  <a:gd name="connsiteX13" fmla="*/ 45219 w 108479"/>
                  <a:gd name="connsiteY13" fmla="*/ 9060 h 109288"/>
                  <a:gd name="connsiteX14" fmla="*/ 42024 w 108479"/>
                  <a:gd name="connsiteY14" fmla="*/ 9698 h 109288"/>
                  <a:gd name="connsiteX15" fmla="*/ 38190 w 108479"/>
                  <a:gd name="connsiteY15" fmla="*/ 6506 h 109288"/>
                  <a:gd name="connsiteX16" fmla="*/ 28606 w 108479"/>
                  <a:gd name="connsiteY16" fmla="*/ 5868 h 109288"/>
                  <a:gd name="connsiteX17" fmla="*/ 20299 w 108479"/>
                  <a:gd name="connsiteY17" fmla="*/ 10975 h 109288"/>
                  <a:gd name="connsiteX18" fmla="*/ 16465 w 108479"/>
                  <a:gd name="connsiteY18" fmla="*/ 19913 h 109288"/>
                  <a:gd name="connsiteX19" fmla="*/ 17743 w 108479"/>
                  <a:gd name="connsiteY19" fmla="*/ 25020 h 109288"/>
                  <a:gd name="connsiteX20" fmla="*/ 15826 w 108479"/>
                  <a:gd name="connsiteY20" fmla="*/ 27573 h 109288"/>
                  <a:gd name="connsiteX21" fmla="*/ 11353 w 108479"/>
                  <a:gd name="connsiteY21" fmla="*/ 27573 h 109288"/>
                  <a:gd name="connsiteX22" fmla="*/ 3685 w 108479"/>
                  <a:gd name="connsiteY22" fmla="*/ 33319 h 109288"/>
                  <a:gd name="connsiteX23" fmla="*/ 490 w 108479"/>
                  <a:gd name="connsiteY23" fmla="*/ 42895 h 109288"/>
                  <a:gd name="connsiteX24" fmla="*/ 3685 w 108479"/>
                  <a:gd name="connsiteY24" fmla="*/ 51833 h 109288"/>
                  <a:gd name="connsiteX25" fmla="*/ 7519 w 108479"/>
                  <a:gd name="connsiteY25" fmla="*/ 55025 h 109288"/>
                  <a:gd name="connsiteX26" fmla="*/ 7519 w 108479"/>
                  <a:gd name="connsiteY26" fmla="*/ 58217 h 109288"/>
                  <a:gd name="connsiteX27" fmla="*/ 3685 w 108479"/>
                  <a:gd name="connsiteY27" fmla="*/ 61409 h 109288"/>
                  <a:gd name="connsiteX28" fmla="*/ 1768 w 108479"/>
                  <a:gd name="connsiteY28" fmla="*/ 70346 h 109288"/>
                  <a:gd name="connsiteX29" fmla="*/ 5602 w 108479"/>
                  <a:gd name="connsiteY29" fmla="*/ 79284 h 109288"/>
                  <a:gd name="connsiteX30" fmla="*/ 13270 w 108479"/>
                  <a:gd name="connsiteY30" fmla="*/ 84391 h 109288"/>
                  <a:gd name="connsiteX31" fmla="*/ 18382 w 108479"/>
                  <a:gd name="connsiteY31" fmla="*/ 84391 h 109288"/>
                  <a:gd name="connsiteX32" fmla="*/ 20299 w 108479"/>
                  <a:gd name="connsiteY32" fmla="*/ 86945 h 109288"/>
                  <a:gd name="connsiteX33" fmla="*/ 19659 w 108479"/>
                  <a:gd name="connsiteY33" fmla="*/ 92052 h 109288"/>
                  <a:gd name="connsiteX34" fmla="*/ 24133 w 108479"/>
                  <a:gd name="connsiteY34" fmla="*/ 100351 h 109288"/>
                  <a:gd name="connsiteX35" fmla="*/ 33078 w 108479"/>
                  <a:gd name="connsiteY35" fmla="*/ 104820 h 109288"/>
                  <a:gd name="connsiteX36" fmla="*/ 42663 w 108479"/>
                  <a:gd name="connsiteY36" fmla="*/ 103543 h 109288"/>
                  <a:gd name="connsiteX37" fmla="*/ 46497 w 108479"/>
                  <a:gd name="connsiteY37" fmla="*/ 100351 h 109288"/>
                  <a:gd name="connsiteX38" fmla="*/ 49692 w 108479"/>
                  <a:gd name="connsiteY38" fmla="*/ 100989 h 109288"/>
                  <a:gd name="connsiteX39" fmla="*/ 52248 w 108479"/>
                  <a:gd name="connsiteY39" fmla="*/ 105458 h 109288"/>
                  <a:gd name="connsiteX40" fmla="*/ 59277 w 108479"/>
                  <a:gd name="connsiteY40" fmla="*/ 109288 h 109288"/>
                  <a:gd name="connsiteX41" fmla="*/ 61194 w 108479"/>
                  <a:gd name="connsiteY41" fmla="*/ 109288 h 109288"/>
                  <a:gd name="connsiteX42" fmla="*/ 70779 w 108479"/>
                  <a:gd name="connsiteY42" fmla="*/ 107373 h 109288"/>
                  <a:gd name="connsiteX43" fmla="*/ 77169 w 108479"/>
                  <a:gd name="connsiteY43" fmla="*/ 100351 h 109288"/>
                  <a:gd name="connsiteX44" fmla="*/ 77808 w 108479"/>
                  <a:gd name="connsiteY44" fmla="*/ 95244 h 109288"/>
                  <a:gd name="connsiteX45" fmla="*/ 80364 w 108479"/>
                  <a:gd name="connsiteY45" fmla="*/ 93329 h 109288"/>
                  <a:gd name="connsiteX46" fmla="*/ 85476 w 108479"/>
                  <a:gd name="connsiteY46" fmla="*/ 94605 h 109288"/>
                  <a:gd name="connsiteX47" fmla="*/ 94422 w 108479"/>
                  <a:gd name="connsiteY47" fmla="*/ 92052 h 109288"/>
                  <a:gd name="connsiteX48" fmla="*/ 100812 w 108479"/>
                  <a:gd name="connsiteY48" fmla="*/ 84391 h 109288"/>
                  <a:gd name="connsiteX49" fmla="*/ 100812 w 108479"/>
                  <a:gd name="connsiteY49" fmla="*/ 74815 h 109288"/>
                  <a:gd name="connsiteX50" fmla="*/ 98256 w 108479"/>
                  <a:gd name="connsiteY50" fmla="*/ 70346 h 109288"/>
                  <a:gd name="connsiteX51" fmla="*/ 98895 w 108479"/>
                  <a:gd name="connsiteY51" fmla="*/ 67154 h 109288"/>
                  <a:gd name="connsiteX52" fmla="*/ 103368 w 108479"/>
                  <a:gd name="connsiteY52" fmla="*/ 65239 h 109288"/>
                  <a:gd name="connsiteX53" fmla="*/ 108480 w 108479"/>
                  <a:gd name="connsiteY53" fmla="*/ 57578 h 109288"/>
                  <a:gd name="connsiteX54" fmla="*/ 107841 w 108479"/>
                  <a:gd name="connsiteY54" fmla="*/ 47364 h 109288"/>
                  <a:gd name="connsiteX55" fmla="*/ 102090 w 108479"/>
                  <a:gd name="connsiteY55" fmla="*/ 39703 h 109288"/>
                  <a:gd name="connsiteX56" fmla="*/ 91227 w 108479"/>
                  <a:gd name="connsiteY56" fmla="*/ 56301 h 109288"/>
                  <a:gd name="connsiteX57" fmla="*/ 87393 w 108479"/>
                  <a:gd name="connsiteY57" fmla="*/ 60132 h 109288"/>
                  <a:gd name="connsiteX58" fmla="*/ 84837 w 108479"/>
                  <a:gd name="connsiteY58" fmla="*/ 69069 h 109288"/>
                  <a:gd name="connsiteX59" fmla="*/ 85476 w 108479"/>
                  <a:gd name="connsiteY59" fmla="*/ 74815 h 109288"/>
                  <a:gd name="connsiteX60" fmla="*/ 88032 w 108479"/>
                  <a:gd name="connsiteY60" fmla="*/ 78645 h 109288"/>
                  <a:gd name="connsiteX61" fmla="*/ 86115 w 108479"/>
                  <a:gd name="connsiteY61" fmla="*/ 81199 h 109288"/>
                  <a:gd name="connsiteX62" fmla="*/ 81642 w 108479"/>
                  <a:gd name="connsiteY62" fmla="*/ 79922 h 109288"/>
                  <a:gd name="connsiteX63" fmla="*/ 75891 w 108479"/>
                  <a:gd name="connsiteY63" fmla="*/ 80561 h 109288"/>
                  <a:gd name="connsiteX64" fmla="*/ 68223 w 108479"/>
                  <a:gd name="connsiteY64" fmla="*/ 85668 h 109288"/>
                  <a:gd name="connsiteX65" fmla="*/ 65028 w 108479"/>
                  <a:gd name="connsiteY65" fmla="*/ 90137 h 109288"/>
                  <a:gd name="connsiteX66" fmla="*/ 64389 w 108479"/>
                  <a:gd name="connsiteY66" fmla="*/ 95244 h 109288"/>
                  <a:gd name="connsiteX67" fmla="*/ 61194 w 108479"/>
                  <a:gd name="connsiteY67" fmla="*/ 95882 h 109288"/>
                  <a:gd name="connsiteX68" fmla="*/ 58638 w 108479"/>
                  <a:gd name="connsiteY68" fmla="*/ 92052 h 109288"/>
                  <a:gd name="connsiteX69" fmla="*/ 54165 w 108479"/>
                  <a:gd name="connsiteY69" fmla="*/ 88860 h 109288"/>
                  <a:gd name="connsiteX70" fmla="*/ 45219 w 108479"/>
                  <a:gd name="connsiteY70" fmla="*/ 87583 h 109288"/>
                  <a:gd name="connsiteX71" fmla="*/ 44580 w 108479"/>
                  <a:gd name="connsiteY71" fmla="*/ 87583 h 109288"/>
                  <a:gd name="connsiteX72" fmla="*/ 40107 w 108479"/>
                  <a:gd name="connsiteY72" fmla="*/ 89498 h 109288"/>
                  <a:gd name="connsiteX73" fmla="*/ 36912 w 108479"/>
                  <a:gd name="connsiteY73" fmla="*/ 92690 h 109288"/>
                  <a:gd name="connsiteX74" fmla="*/ 33717 w 108479"/>
                  <a:gd name="connsiteY74" fmla="*/ 91413 h 109288"/>
                  <a:gd name="connsiteX75" fmla="*/ 34356 w 108479"/>
                  <a:gd name="connsiteY75" fmla="*/ 86306 h 109288"/>
                  <a:gd name="connsiteX76" fmla="*/ 33078 w 108479"/>
                  <a:gd name="connsiteY76" fmla="*/ 81199 h 109288"/>
                  <a:gd name="connsiteX77" fmla="*/ 26688 w 108479"/>
                  <a:gd name="connsiteY77" fmla="*/ 74177 h 109288"/>
                  <a:gd name="connsiteX78" fmla="*/ 21577 w 108479"/>
                  <a:gd name="connsiteY78" fmla="*/ 72261 h 109288"/>
                  <a:gd name="connsiteX79" fmla="*/ 16465 w 108479"/>
                  <a:gd name="connsiteY79" fmla="*/ 72261 h 109288"/>
                  <a:gd name="connsiteX80" fmla="*/ 15187 w 108479"/>
                  <a:gd name="connsiteY80" fmla="*/ 69069 h 109288"/>
                  <a:gd name="connsiteX81" fmla="*/ 19021 w 108479"/>
                  <a:gd name="connsiteY81" fmla="*/ 65877 h 109288"/>
                  <a:gd name="connsiteX82" fmla="*/ 20938 w 108479"/>
                  <a:gd name="connsiteY82" fmla="*/ 60770 h 109288"/>
                  <a:gd name="connsiteX83" fmla="*/ 20299 w 108479"/>
                  <a:gd name="connsiteY83" fmla="*/ 51194 h 109288"/>
                  <a:gd name="connsiteX84" fmla="*/ 17743 w 108479"/>
                  <a:gd name="connsiteY84" fmla="*/ 46087 h 109288"/>
                  <a:gd name="connsiteX85" fmla="*/ 13909 w 108479"/>
                  <a:gd name="connsiteY85" fmla="*/ 43533 h 109288"/>
                  <a:gd name="connsiteX86" fmla="*/ 15187 w 108479"/>
                  <a:gd name="connsiteY86" fmla="*/ 40341 h 109288"/>
                  <a:gd name="connsiteX87" fmla="*/ 20299 w 108479"/>
                  <a:gd name="connsiteY87" fmla="*/ 40341 h 109288"/>
                  <a:gd name="connsiteX88" fmla="*/ 25411 w 108479"/>
                  <a:gd name="connsiteY88" fmla="*/ 37788 h 109288"/>
                  <a:gd name="connsiteX89" fmla="*/ 31161 w 108479"/>
                  <a:gd name="connsiteY89" fmla="*/ 30765 h 109288"/>
                  <a:gd name="connsiteX90" fmla="*/ 32439 w 108479"/>
                  <a:gd name="connsiteY90" fmla="*/ 25020 h 109288"/>
                  <a:gd name="connsiteX91" fmla="*/ 31161 w 108479"/>
                  <a:gd name="connsiteY91" fmla="*/ 20551 h 109288"/>
                  <a:gd name="connsiteX92" fmla="*/ 33717 w 108479"/>
                  <a:gd name="connsiteY92" fmla="*/ 18636 h 109288"/>
                  <a:gd name="connsiteX93" fmla="*/ 37551 w 108479"/>
                  <a:gd name="connsiteY93" fmla="*/ 21828 h 109288"/>
                  <a:gd name="connsiteX94" fmla="*/ 42663 w 108479"/>
                  <a:gd name="connsiteY94" fmla="*/ 23105 h 109288"/>
                  <a:gd name="connsiteX95" fmla="*/ 51609 w 108479"/>
                  <a:gd name="connsiteY95" fmla="*/ 21189 h 109288"/>
                  <a:gd name="connsiteX96" fmla="*/ 56082 w 108479"/>
                  <a:gd name="connsiteY96" fmla="*/ 17997 h 109288"/>
                  <a:gd name="connsiteX97" fmla="*/ 57999 w 108479"/>
                  <a:gd name="connsiteY97" fmla="*/ 13529 h 109288"/>
                  <a:gd name="connsiteX98" fmla="*/ 61194 w 108479"/>
                  <a:gd name="connsiteY98" fmla="*/ 14167 h 109288"/>
                  <a:gd name="connsiteX99" fmla="*/ 61833 w 108479"/>
                  <a:gd name="connsiteY99" fmla="*/ 18636 h 109288"/>
                  <a:gd name="connsiteX100" fmla="*/ 65028 w 108479"/>
                  <a:gd name="connsiteY100" fmla="*/ 23105 h 109288"/>
                  <a:gd name="connsiteX101" fmla="*/ 73335 w 108479"/>
                  <a:gd name="connsiteY101" fmla="*/ 27573 h 109288"/>
                  <a:gd name="connsiteX102" fmla="*/ 79086 w 108479"/>
                  <a:gd name="connsiteY102" fmla="*/ 27573 h 109288"/>
                  <a:gd name="connsiteX103" fmla="*/ 83559 w 108479"/>
                  <a:gd name="connsiteY103" fmla="*/ 25658 h 109288"/>
                  <a:gd name="connsiteX104" fmla="*/ 86115 w 108479"/>
                  <a:gd name="connsiteY104" fmla="*/ 28212 h 109288"/>
                  <a:gd name="connsiteX105" fmla="*/ 83559 w 108479"/>
                  <a:gd name="connsiteY105" fmla="*/ 32681 h 109288"/>
                  <a:gd name="connsiteX106" fmla="*/ 83559 w 108479"/>
                  <a:gd name="connsiteY106" fmla="*/ 38426 h 109288"/>
                  <a:gd name="connsiteX107" fmla="*/ 87393 w 108479"/>
                  <a:gd name="connsiteY107" fmla="*/ 46725 h 109288"/>
                  <a:gd name="connsiteX108" fmla="*/ 91227 w 108479"/>
                  <a:gd name="connsiteY108" fmla="*/ 50556 h 109288"/>
                  <a:gd name="connsiteX109" fmla="*/ 95700 w 108479"/>
                  <a:gd name="connsiteY109" fmla="*/ 51833 h 109288"/>
                  <a:gd name="connsiteX110" fmla="*/ 95700 w 108479"/>
                  <a:gd name="connsiteY110" fmla="*/ 55025 h 109288"/>
                  <a:gd name="connsiteX111" fmla="*/ 91227 w 108479"/>
                  <a:gd name="connsiteY111" fmla="*/ 56301 h 109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</a:cxnLst>
                <a:rect l="l" t="t" r="r" b="b"/>
                <a:pathLst>
                  <a:path w="108479" h="109288">
                    <a:moveTo>
                      <a:pt x="102090" y="39703"/>
                    </a:moveTo>
                    <a:lnTo>
                      <a:pt x="96978" y="38426"/>
                    </a:lnTo>
                    <a:lnTo>
                      <a:pt x="95700" y="35234"/>
                    </a:lnTo>
                    <a:lnTo>
                      <a:pt x="98256" y="30765"/>
                    </a:lnTo>
                    <a:cubicBezTo>
                      <a:pt x="100173" y="27573"/>
                      <a:pt x="99534" y="23743"/>
                      <a:pt x="96978" y="21189"/>
                    </a:cubicBezTo>
                    <a:lnTo>
                      <a:pt x="90588" y="14167"/>
                    </a:lnTo>
                    <a:cubicBezTo>
                      <a:pt x="88032" y="11613"/>
                      <a:pt x="84837" y="10975"/>
                      <a:pt x="81003" y="12252"/>
                    </a:cubicBezTo>
                    <a:lnTo>
                      <a:pt x="76530" y="14167"/>
                    </a:lnTo>
                    <a:lnTo>
                      <a:pt x="73335" y="12890"/>
                    </a:lnTo>
                    <a:lnTo>
                      <a:pt x="72696" y="7783"/>
                    </a:lnTo>
                    <a:cubicBezTo>
                      <a:pt x="72057" y="4591"/>
                      <a:pt x="69501" y="2037"/>
                      <a:pt x="65667" y="1399"/>
                    </a:cubicBezTo>
                    <a:lnTo>
                      <a:pt x="56082" y="122"/>
                    </a:lnTo>
                    <a:cubicBezTo>
                      <a:pt x="52887" y="-516"/>
                      <a:pt x="49053" y="1399"/>
                      <a:pt x="47775" y="4591"/>
                    </a:cubicBezTo>
                    <a:lnTo>
                      <a:pt x="45219" y="9060"/>
                    </a:lnTo>
                    <a:lnTo>
                      <a:pt x="42024" y="9698"/>
                    </a:lnTo>
                    <a:lnTo>
                      <a:pt x="38190" y="6506"/>
                    </a:lnTo>
                    <a:cubicBezTo>
                      <a:pt x="35634" y="4591"/>
                      <a:pt x="31801" y="3953"/>
                      <a:pt x="28606" y="5868"/>
                    </a:cubicBezTo>
                    <a:lnTo>
                      <a:pt x="20299" y="10975"/>
                    </a:lnTo>
                    <a:cubicBezTo>
                      <a:pt x="17104" y="12890"/>
                      <a:pt x="15826" y="16082"/>
                      <a:pt x="16465" y="19913"/>
                    </a:cubicBezTo>
                    <a:lnTo>
                      <a:pt x="17743" y="25020"/>
                    </a:lnTo>
                    <a:lnTo>
                      <a:pt x="15826" y="27573"/>
                    </a:lnTo>
                    <a:lnTo>
                      <a:pt x="11353" y="27573"/>
                    </a:lnTo>
                    <a:cubicBezTo>
                      <a:pt x="8158" y="27573"/>
                      <a:pt x="4963" y="30127"/>
                      <a:pt x="3685" y="33319"/>
                    </a:cubicBezTo>
                    <a:lnTo>
                      <a:pt x="490" y="42895"/>
                    </a:lnTo>
                    <a:cubicBezTo>
                      <a:pt x="-788" y="46087"/>
                      <a:pt x="490" y="49917"/>
                      <a:pt x="3685" y="51833"/>
                    </a:cubicBezTo>
                    <a:lnTo>
                      <a:pt x="7519" y="55025"/>
                    </a:lnTo>
                    <a:lnTo>
                      <a:pt x="7519" y="58217"/>
                    </a:lnTo>
                    <a:lnTo>
                      <a:pt x="3685" y="61409"/>
                    </a:lnTo>
                    <a:cubicBezTo>
                      <a:pt x="1129" y="63962"/>
                      <a:pt x="490" y="67154"/>
                      <a:pt x="1768" y="70346"/>
                    </a:cubicBezTo>
                    <a:lnTo>
                      <a:pt x="5602" y="79284"/>
                    </a:lnTo>
                    <a:cubicBezTo>
                      <a:pt x="6880" y="82476"/>
                      <a:pt x="10075" y="84391"/>
                      <a:pt x="13270" y="84391"/>
                    </a:cubicBezTo>
                    <a:lnTo>
                      <a:pt x="18382" y="84391"/>
                    </a:lnTo>
                    <a:lnTo>
                      <a:pt x="20299" y="86945"/>
                    </a:lnTo>
                    <a:lnTo>
                      <a:pt x="19659" y="92052"/>
                    </a:lnTo>
                    <a:cubicBezTo>
                      <a:pt x="19021" y="95244"/>
                      <a:pt x="20938" y="99074"/>
                      <a:pt x="24133" y="100351"/>
                    </a:cubicBezTo>
                    <a:lnTo>
                      <a:pt x="33078" y="104820"/>
                    </a:lnTo>
                    <a:cubicBezTo>
                      <a:pt x="36273" y="106735"/>
                      <a:pt x="40107" y="106096"/>
                      <a:pt x="42663" y="103543"/>
                    </a:cubicBezTo>
                    <a:lnTo>
                      <a:pt x="46497" y="100351"/>
                    </a:lnTo>
                    <a:lnTo>
                      <a:pt x="49692" y="100989"/>
                    </a:lnTo>
                    <a:lnTo>
                      <a:pt x="52248" y="105458"/>
                    </a:lnTo>
                    <a:cubicBezTo>
                      <a:pt x="53526" y="108012"/>
                      <a:pt x="56082" y="109288"/>
                      <a:pt x="59277" y="109288"/>
                    </a:cubicBezTo>
                    <a:cubicBezTo>
                      <a:pt x="59916" y="109288"/>
                      <a:pt x="60555" y="109288"/>
                      <a:pt x="61194" y="109288"/>
                    </a:cubicBezTo>
                    <a:lnTo>
                      <a:pt x="70779" y="107373"/>
                    </a:lnTo>
                    <a:cubicBezTo>
                      <a:pt x="73974" y="106735"/>
                      <a:pt x="76530" y="103543"/>
                      <a:pt x="77169" y="100351"/>
                    </a:cubicBezTo>
                    <a:lnTo>
                      <a:pt x="77808" y="95244"/>
                    </a:lnTo>
                    <a:lnTo>
                      <a:pt x="80364" y="93329"/>
                    </a:lnTo>
                    <a:lnTo>
                      <a:pt x="85476" y="94605"/>
                    </a:lnTo>
                    <a:cubicBezTo>
                      <a:pt x="88671" y="95882"/>
                      <a:pt x="92505" y="94605"/>
                      <a:pt x="94422" y="92052"/>
                    </a:cubicBezTo>
                    <a:lnTo>
                      <a:pt x="100812" y="84391"/>
                    </a:lnTo>
                    <a:cubicBezTo>
                      <a:pt x="102729" y="81837"/>
                      <a:pt x="102729" y="78007"/>
                      <a:pt x="100812" y="74815"/>
                    </a:cubicBezTo>
                    <a:lnTo>
                      <a:pt x="98256" y="70346"/>
                    </a:lnTo>
                    <a:lnTo>
                      <a:pt x="98895" y="67154"/>
                    </a:lnTo>
                    <a:lnTo>
                      <a:pt x="103368" y="65239"/>
                    </a:lnTo>
                    <a:cubicBezTo>
                      <a:pt x="106563" y="63962"/>
                      <a:pt x="108480" y="60770"/>
                      <a:pt x="108480" y="57578"/>
                    </a:cubicBezTo>
                    <a:lnTo>
                      <a:pt x="107841" y="47364"/>
                    </a:lnTo>
                    <a:cubicBezTo>
                      <a:pt x="107841" y="43533"/>
                      <a:pt x="105924" y="40980"/>
                      <a:pt x="102090" y="39703"/>
                    </a:cubicBezTo>
                    <a:close/>
                    <a:moveTo>
                      <a:pt x="91227" y="56301"/>
                    </a:moveTo>
                    <a:cubicBezTo>
                      <a:pt x="89310" y="56940"/>
                      <a:pt x="88032" y="58217"/>
                      <a:pt x="87393" y="60132"/>
                    </a:cubicBezTo>
                    <a:lnTo>
                      <a:pt x="84837" y="69069"/>
                    </a:lnTo>
                    <a:cubicBezTo>
                      <a:pt x="84198" y="70985"/>
                      <a:pt x="84837" y="72900"/>
                      <a:pt x="85476" y="74815"/>
                    </a:cubicBezTo>
                    <a:lnTo>
                      <a:pt x="88032" y="78645"/>
                    </a:lnTo>
                    <a:lnTo>
                      <a:pt x="86115" y="81199"/>
                    </a:lnTo>
                    <a:lnTo>
                      <a:pt x="81642" y="79922"/>
                    </a:lnTo>
                    <a:cubicBezTo>
                      <a:pt x="79725" y="79284"/>
                      <a:pt x="77808" y="79284"/>
                      <a:pt x="75891" y="80561"/>
                    </a:cubicBezTo>
                    <a:lnTo>
                      <a:pt x="68223" y="85668"/>
                    </a:lnTo>
                    <a:cubicBezTo>
                      <a:pt x="66306" y="86945"/>
                      <a:pt x="65667" y="88221"/>
                      <a:pt x="65028" y="90137"/>
                    </a:cubicBezTo>
                    <a:lnTo>
                      <a:pt x="64389" y="95244"/>
                    </a:lnTo>
                    <a:lnTo>
                      <a:pt x="61194" y="95882"/>
                    </a:lnTo>
                    <a:lnTo>
                      <a:pt x="58638" y="92052"/>
                    </a:lnTo>
                    <a:cubicBezTo>
                      <a:pt x="57360" y="90137"/>
                      <a:pt x="56082" y="89498"/>
                      <a:pt x="54165" y="88860"/>
                    </a:cubicBezTo>
                    <a:lnTo>
                      <a:pt x="45219" y="87583"/>
                    </a:lnTo>
                    <a:lnTo>
                      <a:pt x="44580" y="87583"/>
                    </a:lnTo>
                    <a:cubicBezTo>
                      <a:pt x="42663" y="87583"/>
                      <a:pt x="41385" y="88221"/>
                      <a:pt x="40107" y="89498"/>
                    </a:cubicBezTo>
                    <a:lnTo>
                      <a:pt x="36912" y="92690"/>
                    </a:lnTo>
                    <a:lnTo>
                      <a:pt x="33717" y="91413"/>
                    </a:lnTo>
                    <a:lnTo>
                      <a:pt x="34356" y="86306"/>
                    </a:lnTo>
                    <a:cubicBezTo>
                      <a:pt x="34356" y="84391"/>
                      <a:pt x="34356" y="82476"/>
                      <a:pt x="33078" y="81199"/>
                    </a:cubicBezTo>
                    <a:lnTo>
                      <a:pt x="26688" y="74177"/>
                    </a:lnTo>
                    <a:cubicBezTo>
                      <a:pt x="25411" y="72900"/>
                      <a:pt x="23493" y="72261"/>
                      <a:pt x="21577" y="72261"/>
                    </a:cubicBezTo>
                    <a:lnTo>
                      <a:pt x="16465" y="72261"/>
                    </a:lnTo>
                    <a:lnTo>
                      <a:pt x="15187" y="69069"/>
                    </a:lnTo>
                    <a:lnTo>
                      <a:pt x="19021" y="65877"/>
                    </a:lnTo>
                    <a:cubicBezTo>
                      <a:pt x="20299" y="64601"/>
                      <a:pt x="21577" y="62685"/>
                      <a:pt x="20938" y="60770"/>
                    </a:cubicBezTo>
                    <a:lnTo>
                      <a:pt x="20299" y="51194"/>
                    </a:lnTo>
                    <a:cubicBezTo>
                      <a:pt x="20299" y="49279"/>
                      <a:pt x="19021" y="47364"/>
                      <a:pt x="17743" y="46087"/>
                    </a:cubicBezTo>
                    <a:lnTo>
                      <a:pt x="13909" y="43533"/>
                    </a:lnTo>
                    <a:lnTo>
                      <a:pt x="15187" y="40341"/>
                    </a:lnTo>
                    <a:lnTo>
                      <a:pt x="20299" y="40341"/>
                    </a:lnTo>
                    <a:cubicBezTo>
                      <a:pt x="22216" y="40341"/>
                      <a:pt x="24133" y="39065"/>
                      <a:pt x="25411" y="37788"/>
                    </a:cubicBezTo>
                    <a:lnTo>
                      <a:pt x="31161" y="30765"/>
                    </a:lnTo>
                    <a:cubicBezTo>
                      <a:pt x="32439" y="29489"/>
                      <a:pt x="33078" y="26935"/>
                      <a:pt x="32439" y="25020"/>
                    </a:cubicBezTo>
                    <a:lnTo>
                      <a:pt x="31161" y="20551"/>
                    </a:lnTo>
                    <a:lnTo>
                      <a:pt x="33717" y="18636"/>
                    </a:lnTo>
                    <a:lnTo>
                      <a:pt x="37551" y="21828"/>
                    </a:lnTo>
                    <a:cubicBezTo>
                      <a:pt x="38829" y="23105"/>
                      <a:pt x="40746" y="23743"/>
                      <a:pt x="42663" y="23105"/>
                    </a:cubicBezTo>
                    <a:lnTo>
                      <a:pt x="51609" y="21189"/>
                    </a:lnTo>
                    <a:cubicBezTo>
                      <a:pt x="53526" y="20551"/>
                      <a:pt x="54804" y="19274"/>
                      <a:pt x="56082" y="17997"/>
                    </a:cubicBezTo>
                    <a:lnTo>
                      <a:pt x="57999" y="13529"/>
                    </a:lnTo>
                    <a:lnTo>
                      <a:pt x="61194" y="14167"/>
                    </a:lnTo>
                    <a:lnTo>
                      <a:pt x="61833" y="18636"/>
                    </a:lnTo>
                    <a:cubicBezTo>
                      <a:pt x="62472" y="20551"/>
                      <a:pt x="63111" y="21828"/>
                      <a:pt x="65028" y="23105"/>
                    </a:cubicBezTo>
                    <a:lnTo>
                      <a:pt x="73335" y="27573"/>
                    </a:lnTo>
                    <a:cubicBezTo>
                      <a:pt x="75252" y="28212"/>
                      <a:pt x="77169" y="28212"/>
                      <a:pt x="79086" y="27573"/>
                    </a:cubicBezTo>
                    <a:lnTo>
                      <a:pt x="83559" y="25658"/>
                    </a:lnTo>
                    <a:lnTo>
                      <a:pt x="86115" y="28212"/>
                    </a:lnTo>
                    <a:lnTo>
                      <a:pt x="83559" y="32681"/>
                    </a:lnTo>
                    <a:cubicBezTo>
                      <a:pt x="82920" y="34596"/>
                      <a:pt x="82281" y="36511"/>
                      <a:pt x="83559" y="38426"/>
                    </a:cubicBezTo>
                    <a:lnTo>
                      <a:pt x="87393" y="46725"/>
                    </a:lnTo>
                    <a:cubicBezTo>
                      <a:pt x="88032" y="48641"/>
                      <a:pt x="89310" y="49917"/>
                      <a:pt x="91227" y="50556"/>
                    </a:cubicBezTo>
                    <a:lnTo>
                      <a:pt x="95700" y="51833"/>
                    </a:lnTo>
                    <a:lnTo>
                      <a:pt x="95700" y="55025"/>
                    </a:lnTo>
                    <a:lnTo>
                      <a:pt x="91227" y="56301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9" name="Graphic 4">
                <a:extLst>
                  <a:ext uri="{FF2B5EF4-FFF2-40B4-BE49-F238E27FC236}">
                    <a16:creationId xmlns:a16="http://schemas.microsoft.com/office/drawing/2014/main" id="{A61BD37B-909E-3BB0-ACC8-91F151C4A7F2}"/>
                  </a:ext>
                </a:extLst>
              </p:cNvPr>
              <p:cNvSpPr/>
              <p:nvPr/>
            </p:nvSpPr>
            <p:spPr>
              <a:xfrm>
                <a:off x="1658805" y="3067006"/>
                <a:ext cx="65221" cy="66414"/>
              </a:xfrm>
              <a:custGeom>
                <a:avLst/>
                <a:gdLst>
                  <a:gd name="connsiteX0" fmla="*/ 31333 w 65221"/>
                  <a:gd name="connsiteY0" fmla="*/ 21 h 66414"/>
                  <a:gd name="connsiteX1" fmla="*/ 22 w 65221"/>
                  <a:gd name="connsiteY1" fmla="*/ 35133 h 66414"/>
                  <a:gd name="connsiteX2" fmla="*/ 32611 w 65221"/>
                  <a:gd name="connsiteY2" fmla="*/ 66414 h 66414"/>
                  <a:gd name="connsiteX3" fmla="*/ 33888 w 65221"/>
                  <a:gd name="connsiteY3" fmla="*/ 66414 h 66414"/>
                  <a:gd name="connsiteX4" fmla="*/ 65199 w 65221"/>
                  <a:gd name="connsiteY4" fmla="*/ 31303 h 66414"/>
                  <a:gd name="connsiteX5" fmla="*/ 31333 w 65221"/>
                  <a:gd name="connsiteY5" fmla="*/ 21 h 66414"/>
                  <a:gd name="connsiteX6" fmla="*/ 33249 w 65221"/>
                  <a:gd name="connsiteY6" fmla="*/ 53647 h 66414"/>
                  <a:gd name="connsiteX7" fmla="*/ 12802 w 65221"/>
                  <a:gd name="connsiteY7" fmla="*/ 33218 h 66414"/>
                  <a:gd name="connsiteX8" fmla="*/ 31333 w 65221"/>
                  <a:gd name="connsiteY8" fmla="*/ 12789 h 66414"/>
                  <a:gd name="connsiteX9" fmla="*/ 31972 w 65221"/>
                  <a:gd name="connsiteY9" fmla="*/ 12789 h 66414"/>
                  <a:gd name="connsiteX10" fmla="*/ 52419 w 65221"/>
                  <a:gd name="connsiteY10" fmla="*/ 32579 h 66414"/>
                  <a:gd name="connsiteX11" fmla="*/ 33249 w 65221"/>
                  <a:gd name="connsiteY11" fmla="*/ 53647 h 66414"/>
                  <a:gd name="connsiteX12" fmla="*/ 33249 w 65221"/>
                  <a:gd name="connsiteY12" fmla="*/ 53647 h 66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5221" h="66414">
                    <a:moveTo>
                      <a:pt x="31333" y="21"/>
                    </a:moveTo>
                    <a:cubicBezTo>
                      <a:pt x="12802" y="1298"/>
                      <a:pt x="-617" y="16619"/>
                      <a:pt x="22" y="35133"/>
                    </a:cubicBezTo>
                    <a:cubicBezTo>
                      <a:pt x="1300" y="52370"/>
                      <a:pt x="15358" y="65776"/>
                      <a:pt x="32611" y="66414"/>
                    </a:cubicBezTo>
                    <a:lnTo>
                      <a:pt x="33888" y="66414"/>
                    </a:lnTo>
                    <a:cubicBezTo>
                      <a:pt x="52419" y="65138"/>
                      <a:pt x="65838" y="49816"/>
                      <a:pt x="65199" y="31303"/>
                    </a:cubicBezTo>
                    <a:cubicBezTo>
                      <a:pt x="64560" y="13427"/>
                      <a:pt x="49224" y="-617"/>
                      <a:pt x="31333" y="21"/>
                    </a:cubicBezTo>
                    <a:close/>
                    <a:moveTo>
                      <a:pt x="33249" y="53647"/>
                    </a:moveTo>
                    <a:cubicBezTo>
                      <a:pt x="21748" y="53647"/>
                      <a:pt x="12802" y="44709"/>
                      <a:pt x="12802" y="33218"/>
                    </a:cubicBezTo>
                    <a:cubicBezTo>
                      <a:pt x="12802" y="22365"/>
                      <a:pt x="21109" y="13427"/>
                      <a:pt x="31333" y="12789"/>
                    </a:cubicBezTo>
                    <a:lnTo>
                      <a:pt x="31972" y="12789"/>
                    </a:lnTo>
                    <a:cubicBezTo>
                      <a:pt x="43473" y="12789"/>
                      <a:pt x="52419" y="21727"/>
                      <a:pt x="52419" y="32579"/>
                    </a:cubicBezTo>
                    <a:cubicBezTo>
                      <a:pt x="52419" y="43432"/>
                      <a:pt x="44751" y="53647"/>
                      <a:pt x="33249" y="53647"/>
                    </a:cubicBezTo>
                    <a:lnTo>
                      <a:pt x="33249" y="53647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0" name="Graphic 4">
                <a:extLst>
                  <a:ext uri="{FF2B5EF4-FFF2-40B4-BE49-F238E27FC236}">
                    <a16:creationId xmlns:a16="http://schemas.microsoft.com/office/drawing/2014/main" id="{095A66F0-7357-3707-0C06-0105731C6DDE}"/>
                  </a:ext>
                </a:extLst>
              </p:cNvPr>
              <p:cNvSpPr/>
              <p:nvPr/>
            </p:nvSpPr>
            <p:spPr>
              <a:xfrm>
                <a:off x="1573681" y="2918430"/>
                <a:ext cx="135748" cy="135829"/>
              </a:xfrm>
              <a:custGeom>
                <a:avLst/>
                <a:gdLst>
                  <a:gd name="connsiteX0" fmla="*/ 83868 w 135748"/>
                  <a:gd name="connsiteY0" fmla="*/ 129446 h 135829"/>
                  <a:gd name="connsiteX1" fmla="*/ 85785 w 135748"/>
                  <a:gd name="connsiteY1" fmla="*/ 122423 h 135829"/>
                  <a:gd name="connsiteX2" fmla="*/ 91536 w 135748"/>
                  <a:gd name="connsiteY2" fmla="*/ 119870 h 135829"/>
                  <a:gd name="connsiteX3" fmla="*/ 97926 w 135748"/>
                  <a:gd name="connsiteY3" fmla="*/ 123700 h 135829"/>
                  <a:gd name="connsiteX4" fmla="*/ 108150 w 135748"/>
                  <a:gd name="connsiteY4" fmla="*/ 122423 h 135829"/>
                  <a:gd name="connsiteX5" fmla="*/ 117735 w 135748"/>
                  <a:gd name="connsiteY5" fmla="*/ 113486 h 135829"/>
                  <a:gd name="connsiteX6" fmla="*/ 119652 w 135748"/>
                  <a:gd name="connsiteY6" fmla="*/ 103910 h 135829"/>
                  <a:gd name="connsiteX7" fmla="*/ 116457 w 135748"/>
                  <a:gd name="connsiteY7" fmla="*/ 96887 h 135829"/>
                  <a:gd name="connsiteX8" fmla="*/ 119652 w 135748"/>
                  <a:gd name="connsiteY8" fmla="*/ 91780 h 135829"/>
                  <a:gd name="connsiteX9" fmla="*/ 126681 w 135748"/>
                  <a:gd name="connsiteY9" fmla="*/ 90503 h 135829"/>
                  <a:gd name="connsiteX10" fmla="*/ 133710 w 135748"/>
                  <a:gd name="connsiteY10" fmla="*/ 83481 h 135829"/>
                  <a:gd name="connsiteX11" fmla="*/ 135626 w 135748"/>
                  <a:gd name="connsiteY11" fmla="*/ 70713 h 135829"/>
                  <a:gd name="connsiteX12" fmla="*/ 131153 w 135748"/>
                  <a:gd name="connsiteY12" fmla="*/ 61776 h 135829"/>
                  <a:gd name="connsiteX13" fmla="*/ 124763 w 135748"/>
                  <a:gd name="connsiteY13" fmla="*/ 58584 h 135829"/>
                  <a:gd name="connsiteX14" fmla="*/ 123486 w 135748"/>
                  <a:gd name="connsiteY14" fmla="*/ 52838 h 135829"/>
                  <a:gd name="connsiteX15" fmla="*/ 127958 w 135748"/>
                  <a:gd name="connsiteY15" fmla="*/ 47092 h 135829"/>
                  <a:gd name="connsiteX16" fmla="*/ 128597 w 135748"/>
                  <a:gd name="connsiteY16" fmla="*/ 36878 h 135829"/>
                  <a:gd name="connsiteX17" fmla="*/ 121568 w 135748"/>
                  <a:gd name="connsiteY17" fmla="*/ 26025 h 135829"/>
                  <a:gd name="connsiteX18" fmla="*/ 111984 w 135748"/>
                  <a:gd name="connsiteY18" fmla="*/ 22195 h 135829"/>
                  <a:gd name="connsiteX19" fmla="*/ 104955 w 135748"/>
                  <a:gd name="connsiteY19" fmla="*/ 24110 h 135829"/>
                  <a:gd name="connsiteX20" fmla="*/ 100482 w 135748"/>
                  <a:gd name="connsiteY20" fmla="*/ 20280 h 135829"/>
                  <a:gd name="connsiteX21" fmla="*/ 100482 w 135748"/>
                  <a:gd name="connsiteY21" fmla="*/ 12619 h 135829"/>
                  <a:gd name="connsiteX22" fmla="*/ 94731 w 135748"/>
                  <a:gd name="connsiteY22" fmla="*/ 4320 h 135829"/>
                  <a:gd name="connsiteX23" fmla="*/ 82590 w 135748"/>
                  <a:gd name="connsiteY23" fmla="*/ 489 h 135829"/>
                  <a:gd name="connsiteX24" fmla="*/ 73005 w 135748"/>
                  <a:gd name="connsiteY24" fmla="*/ 3681 h 135829"/>
                  <a:gd name="connsiteX25" fmla="*/ 68532 w 135748"/>
                  <a:gd name="connsiteY25" fmla="*/ 9427 h 135829"/>
                  <a:gd name="connsiteX26" fmla="*/ 62781 w 135748"/>
                  <a:gd name="connsiteY26" fmla="*/ 9427 h 135829"/>
                  <a:gd name="connsiteX27" fmla="*/ 57669 w 135748"/>
                  <a:gd name="connsiteY27" fmla="*/ 3681 h 135829"/>
                  <a:gd name="connsiteX28" fmla="*/ 48084 w 135748"/>
                  <a:gd name="connsiteY28" fmla="*/ 1128 h 135829"/>
                  <a:gd name="connsiteX29" fmla="*/ 35943 w 135748"/>
                  <a:gd name="connsiteY29" fmla="*/ 6235 h 135829"/>
                  <a:gd name="connsiteX30" fmla="*/ 30831 w 135748"/>
                  <a:gd name="connsiteY30" fmla="*/ 14534 h 135829"/>
                  <a:gd name="connsiteX31" fmla="*/ 30831 w 135748"/>
                  <a:gd name="connsiteY31" fmla="*/ 21556 h 135829"/>
                  <a:gd name="connsiteX32" fmla="*/ 26358 w 135748"/>
                  <a:gd name="connsiteY32" fmla="*/ 25387 h 135829"/>
                  <a:gd name="connsiteX33" fmla="*/ 19330 w 135748"/>
                  <a:gd name="connsiteY33" fmla="*/ 24110 h 135829"/>
                  <a:gd name="connsiteX34" fmla="*/ 10384 w 135748"/>
                  <a:gd name="connsiteY34" fmla="*/ 28579 h 135829"/>
                  <a:gd name="connsiteX35" fmla="*/ 4633 w 135748"/>
                  <a:gd name="connsiteY35" fmla="*/ 40070 h 135829"/>
                  <a:gd name="connsiteX36" fmla="*/ 5911 w 135748"/>
                  <a:gd name="connsiteY36" fmla="*/ 50284 h 135829"/>
                  <a:gd name="connsiteX37" fmla="*/ 11023 w 135748"/>
                  <a:gd name="connsiteY37" fmla="*/ 56030 h 135829"/>
                  <a:gd name="connsiteX38" fmla="*/ 10384 w 135748"/>
                  <a:gd name="connsiteY38" fmla="*/ 61776 h 135829"/>
                  <a:gd name="connsiteX39" fmla="*/ 3994 w 135748"/>
                  <a:gd name="connsiteY39" fmla="*/ 65606 h 135829"/>
                  <a:gd name="connsiteX40" fmla="*/ 160 w 135748"/>
                  <a:gd name="connsiteY40" fmla="*/ 74544 h 135829"/>
                  <a:gd name="connsiteX41" fmla="*/ 2716 w 135748"/>
                  <a:gd name="connsiteY41" fmla="*/ 87312 h 135829"/>
                  <a:gd name="connsiteX42" fmla="*/ 10384 w 135748"/>
                  <a:gd name="connsiteY42" fmla="*/ 94334 h 135829"/>
                  <a:gd name="connsiteX43" fmla="*/ 18052 w 135748"/>
                  <a:gd name="connsiteY43" fmla="*/ 94972 h 135829"/>
                  <a:gd name="connsiteX44" fmla="*/ 21247 w 135748"/>
                  <a:gd name="connsiteY44" fmla="*/ 100079 h 135829"/>
                  <a:gd name="connsiteX45" fmla="*/ 18691 w 135748"/>
                  <a:gd name="connsiteY45" fmla="*/ 107102 h 135829"/>
                  <a:gd name="connsiteX46" fmla="*/ 21247 w 135748"/>
                  <a:gd name="connsiteY46" fmla="*/ 116678 h 135829"/>
                  <a:gd name="connsiteX47" fmla="*/ 31470 w 135748"/>
                  <a:gd name="connsiteY47" fmla="*/ 124339 h 135829"/>
                  <a:gd name="connsiteX48" fmla="*/ 41694 w 135748"/>
                  <a:gd name="connsiteY48" fmla="*/ 124977 h 135829"/>
                  <a:gd name="connsiteX49" fmla="*/ 48084 w 135748"/>
                  <a:gd name="connsiteY49" fmla="*/ 121147 h 135829"/>
                  <a:gd name="connsiteX50" fmla="*/ 53835 w 135748"/>
                  <a:gd name="connsiteY50" fmla="*/ 123062 h 135829"/>
                  <a:gd name="connsiteX51" fmla="*/ 56391 w 135748"/>
                  <a:gd name="connsiteY51" fmla="*/ 130084 h 135829"/>
                  <a:gd name="connsiteX52" fmla="*/ 64698 w 135748"/>
                  <a:gd name="connsiteY52" fmla="*/ 135830 h 135829"/>
                  <a:gd name="connsiteX53" fmla="*/ 64698 w 135748"/>
                  <a:gd name="connsiteY53" fmla="*/ 135830 h 135829"/>
                  <a:gd name="connsiteX54" fmla="*/ 77478 w 135748"/>
                  <a:gd name="connsiteY54" fmla="*/ 135191 h 135829"/>
                  <a:gd name="connsiteX55" fmla="*/ 83868 w 135748"/>
                  <a:gd name="connsiteY55" fmla="*/ 129446 h 135829"/>
                  <a:gd name="connsiteX56" fmla="*/ 72366 w 135748"/>
                  <a:gd name="connsiteY56" fmla="*/ 123062 h 135829"/>
                  <a:gd name="connsiteX57" fmla="*/ 65337 w 135748"/>
                  <a:gd name="connsiteY57" fmla="*/ 123062 h 135829"/>
                  <a:gd name="connsiteX58" fmla="*/ 62781 w 135748"/>
                  <a:gd name="connsiteY58" fmla="*/ 116039 h 135829"/>
                  <a:gd name="connsiteX59" fmla="*/ 58947 w 135748"/>
                  <a:gd name="connsiteY59" fmla="*/ 112209 h 135829"/>
                  <a:gd name="connsiteX60" fmla="*/ 47445 w 135748"/>
                  <a:gd name="connsiteY60" fmla="*/ 108379 h 135829"/>
                  <a:gd name="connsiteX61" fmla="*/ 45528 w 135748"/>
                  <a:gd name="connsiteY61" fmla="*/ 108379 h 135829"/>
                  <a:gd name="connsiteX62" fmla="*/ 41694 w 135748"/>
                  <a:gd name="connsiteY62" fmla="*/ 109655 h 135829"/>
                  <a:gd name="connsiteX63" fmla="*/ 35304 w 135748"/>
                  <a:gd name="connsiteY63" fmla="*/ 113486 h 135829"/>
                  <a:gd name="connsiteX64" fmla="*/ 29553 w 135748"/>
                  <a:gd name="connsiteY64" fmla="*/ 109017 h 135829"/>
                  <a:gd name="connsiteX65" fmla="*/ 32109 w 135748"/>
                  <a:gd name="connsiteY65" fmla="*/ 101995 h 135829"/>
                  <a:gd name="connsiteX66" fmla="*/ 31470 w 135748"/>
                  <a:gd name="connsiteY66" fmla="*/ 96249 h 135829"/>
                  <a:gd name="connsiteX67" fmla="*/ 25080 w 135748"/>
                  <a:gd name="connsiteY67" fmla="*/ 86035 h 135829"/>
                  <a:gd name="connsiteX68" fmla="*/ 20608 w 135748"/>
                  <a:gd name="connsiteY68" fmla="*/ 82843 h 135829"/>
                  <a:gd name="connsiteX69" fmla="*/ 12940 w 135748"/>
                  <a:gd name="connsiteY69" fmla="*/ 82204 h 135829"/>
                  <a:gd name="connsiteX70" fmla="*/ 11662 w 135748"/>
                  <a:gd name="connsiteY70" fmla="*/ 75182 h 135829"/>
                  <a:gd name="connsiteX71" fmla="*/ 18052 w 135748"/>
                  <a:gd name="connsiteY71" fmla="*/ 71352 h 135829"/>
                  <a:gd name="connsiteX72" fmla="*/ 21247 w 135748"/>
                  <a:gd name="connsiteY72" fmla="*/ 66883 h 135829"/>
                  <a:gd name="connsiteX73" fmla="*/ 23163 w 135748"/>
                  <a:gd name="connsiteY73" fmla="*/ 54753 h 135829"/>
                  <a:gd name="connsiteX74" fmla="*/ 21247 w 135748"/>
                  <a:gd name="connsiteY74" fmla="*/ 49646 h 135829"/>
                  <a:gd name="connsiteX75" fmla="*/ 16135 w 135748"/>
                  <a:gd name="connsiteY75" fmla="*/ 43900 h 135829"/>
                  <a:gd name="connsiteX76" fmla="*/ 19330 w 135748"/>
                  <a:gd name="connsiteY76" fmla="*/ 37516 h 135829"/>
                  <a:gd name="connsiteX77" fmla="*/ 26997 w 135748"/>
                  <a:gd name="connsiteY77" fmla="*/ 38793 h 135829"/>
                  <a:gd name="connsiteX78" fmla="*/ 32109 w 135748"/>
                  <a:gd name="connsiteY78" fmla="*/ 37516 h 135829"/>
                  <a:gd name="connsiteX79" fmla="*/ 41055 w 135748"/>
                  <a:gd name="connsiteY79" fmla="*/ 29217 h 135829"/>
                  <a:gd name="connsiteX80" fmla="*/ 42972 w 135748"/>
                  <a:gd name="connsiteY80" fmla="*/ 24110 h 135829"/>
                  <a:gd name="connsiteX81" fmla="*/ 42972 w 135748"/>
                  <a:gd name="connsiteY81" fmla="*/ 16449 h 135829"/>
                  <a:gd name="connsiteX82" fmla="*/ 49362 w 135748"/>
                  <a:gd name="connsiteY82" fmla="*/ 13896 h 135829"/>
                  <a:gd name="connsiteX83" fmla="*/ 54474 w 135748"/>
                  <a:gd name="connsiteY83" fmla="*/ 19641 h 135829"/>
                  <a:gd name="connsiteX84" fmla="*/ 59586 w 135748"/>
                  <a:gd name="connsiteY84" fmla="*/ 21556 h 135829"/>
                  <a:gd name="connsiteX85" fmla="*/ 71727 w 135748"/>
                  <a:gd name="connsiteY85" fmla="*/ 20918 h 135829"/>
                  <a:gd name="connsiteX86" fmla="*/ 76839 w 135748"/>
                  <a:gd name="connsiteY86" fmla="*/ 18364 h 135829"/>
                  <a:gd name="connsiteX87" fmla="*/ 81312 w 135748"/>
                  <a:gd name="connsiteY87" fmla="*/ 12619 h 135829"/>
                  <a:gd name="connsiteX88" fmla="*/ 87702 w 135748"/>
                  <a:gd name="connsiteY88" fmla="*/ 14534 h 135829"/>
                  <a:gd name="connsiteX89" fmla="*/ 87702 w 135748"/>
                  <a:gd name="connsiteY89" fmla="*/ 22195 h 135829"/>
                  <a:gd name="connsiteX90" fmla="*/ 90258 w 135748"/>
                  <a:gd name="connsiteY90" fmla="*/ 27302 h 135829"/>
                  <a:gd name="connsiteX91" fmla="*/ 99843 w 135748"/>
                  <a:gd name="connsiteY91" fmla="*/ 34963 h 135829"/>
                  <a:gd name="connsiteX92" fmla="*/ 105594 w 135748"/>
                  <a:gd name="connsiteY92" fmla="*/ 36240 h 135829"/>
                  <a:gd name="connsiteX93" fmla="*/ 112623 w 135748"/>
                  <a:gd name="connsiteY93" fmla="*/ 34324 h 135829"/>
                  <a:gd name="connsiteX94" fmla="*/ 116457 w 135748"/>
                  <a:gd name="connsiteY94" fmla="*/ 40070 h 135829"/>
                  <a:gd name="connsiteX95" fmla="*/ 111345 w 135748"/>
                  <a:gd name="connsiteY95" fmla="*/ 45816 h 135829"/>
                  <a:gd name="connsiteX96" fmla="*/ 110067 w 135748"/>
                  <a:gd name="connsiteY96" fmla="*/ 50923 h 135829"/>
                  <a:gd name="connsiteX97" fmla="*/ 112623 w 135748"/>
                  <a:gd name="connsiteY97" fmla="*/ 63052 h 135829"/>
                  <a:gd name="connsiteX98" fmla="*/ 115818 w 135748"/>
                  <a:gd name="connsiteY98" fmla="*/ 67521 h 135829"/>
                  <a:gd name="connsiteX99" fmla="*/ 122208 w 135748"/>
                  <a:gd name="connsiteY99" fmla="*/ 70713 h 135829"/>
                  <a:gd name="connsiteX100" fmla="*/ 121568 w 135748"/>
                  <a:gd name="connsiteY100" fmla="*/ 77736 h 135829"/>
                  <a:gd name="connsiteX101" fmla="*/ 113901 w 135748"/>
                  <a:gd name="connsiteY101" fmla="*/ 79012 h 135829"/>
                  <a:gd name="connsiteX102" fmla="*/ 109428 w 135748"/>
                  <a:gd name="connsiteY102" fmla="*/ 82204 h 135829"/>
                  <a:gd name="connsiteX103" fmla="*/ 103677 w 135748"/>
                  <a:gd name="connsiteY103" fmla="*/ 93057 h 135829"/>
                  <a:gd name="connsiteX104" fmla="*/ 103677 w 135748"/>
                  <a:gd name="connsiteY104" fmla="*/ 98803 h 135829"/>
                  <a:gd name="connsiteX105" fmla="*/ 106872 w 135748"/>
                  <a:gd name="connsiteY105" fmla="*/ 105825 h 135829"/>
                  <a:gd name="connsiteX106" fmla="*/ 101760 w 135748"/>
                  <a:gd name="connsiteY106" fmla="*/ 110294 h 135829"/>
                  <a:gd name="connsiteX107" fmla="*/ 95370 w 135748"/>
                  <a:gd name="connsiteY107" fmla="*/ 106463 h 135829"/>
                  <a:gd name="connsiteX108" fmla="*/ 89619 w 135748"/>
                  <a:gd name="connsiteY108" fmla="*/ 106463 h 135829"/>
                  <a:gd name="connsiteX109" fmla="*/ 78117 w 135748"/>
                  <a:gd name="connsiteY109" fmla="*/ 110932 h 135829"/>
                  <a:gd name="connsiteX110" fmla="*/ 74283 w 135748"/>
                  <a:gd name="connsiteY110" fmla="*/ 114763 h 135829"/>
                  <a:gd name="connsiteX111" fmla="*/ 72366 w 135748"/>
                  <a:gd name="connsiteY111" fmla="*/ 123062 h 135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</a:cxnLst>
                <a:rect l="l" t="t" r="r" b="b"/>
                <a:pathLst>
                  <a:path w="135748" h="135829">
                    <a:moveTo>
                      <a:pt x="83868" y="129446"/>
                    </a:moveTo>
                    <a:lnTo>
                      <a:pt x="85785" y="122423"/>
                    </a:lnTo>
                    <a:lnTo>
                      <a:pt x="91536" y="119870"/>
                    </a:lnTo>
                    <a:lnTo>
                      <a:pt x="97926" y="123700"/>
                    </a:lnTo>
                    <a:cubicBezTo>
                      <a:pt x="101121" y="125615"/>
                      <a:pt x="104955" y="124977"/>
                      <a:pt x="108150" y="122423"/>
                    </a:cubicBezTo>
                    <a:lnTo>
                      <a:pt x="117735" y="113486"/>
                    </a:lnTo>
                    <a:cubicBezTo>
                      <a:pt x="120291" y="110932"/>
                      <a:pt x="121568" y="107102"/>
                      <a:pt x="119652" y="103910"/>
                    </a:cubicBezTo>
                    <a:lnTo>
                      <a:pt x="116457" y="96887"/>
                    </a:lnTo>
                    <a:lnTo>
                      <a:pt x="119652" y="91780"/>
                    </a:lnTo>
                    <a:lnTo>
                      <a:pt x="126681" y="90503"/>
                    </a:lnTo>
                    <a:cubicBezTo>
                      <a:pt x="130515" y="89865"/>
                      <a:pt x="133070" y="86673"/>
                      <a:pt x="133710" y="83481"/>
                    </a:cubicBezTo>
                    <a:lnTo>
                      <a:pt x="135626" y="70713"/>
                    </a:lnTo>
                    <a:cubicBezTo>
                      <a:pt x="136265" y="66883"/>
                      <a:pt x="134348" y="63691"/>
                      <a:pt x="131153" y="61776"/>
                    </a:cubicBezTo>
                    <a:lnTo>
                      <a:pt x="124763" y="58584"/>
                    </a:lnTo>
                    <a:lnTo>
                      <a:pt x="123486" y="52838"/>
                    </a:lnTo>
                    <a:lnTo>
                      <a:pt x="127958" y="47092"/>
                    </a:lnTo>
                    <a:cubicBezTo>
                      <a:pt x="130515" y="44539"/>
                      <a:pt x="130515" y="40070"/>
                      <a:pt x="128597" y="36878"/>
                    </a:cubicBezTo>
                    <a:lnTo>
                      <a:pt x="121568" y="26025"/>
                    </a:lnTo>
                    <a:cubicBezTo>
                      <a:pt x="119652" y="22833"/>
                      <a:pt x="115818" y="21556"/>
                      <a:pt x="111984" y="22195"/>
                    </a:cubicBezTo>
                    <a:lnTo>
                      <a:pt x="104955" y="24110"/>
                    </a:lnTo>
                    <a:lnTo>
                      <a:pt x="100482" y="20280"/>
                    </a:lnTo>
                    <a:lnTo>
                      <a:pt x="100482" y="12619"/>
                    </a:lnTo>
                    <a:cubicBezTo>
                      <a:pt x="100482" y="8788"/>
                      <a:pt x="97926" y="5596"/>
                      <a:pt x="94731" y="4320"/>
                    </a:cubicBezTo>
                    <a:lnTo>
                      <a:pt x="82590" y="489"/>
                    </a:lnTo>
                    <a:cubicBezTo>
                      <a:pt x="79395" y="-788"/>
                      <a:pt x="74922" y="489"/>
                      <a:pt x="73005" y="3681"/>
                    </a:cubicBezTo>
                    <a:lnTo>
                      <a:pt x="68532" y="9427"/>
                    </a:lnTo>
                    <a:lnTo>
                      <a:pt x="62781" y="9427"/>
                    </a:lnTo>
                    <a:lnTo>
                      <a:pt x="57669" y="3681"/>
                    </a:lnTo>
                    <a:cubicBezTo>
                      <a:pt x="55113" y="1128"/>
                      <a:pt x="51279" y="-149"/>
                      <a:pt x="48084" y="1128"/>
                    </a:cubicBezTo>
                    <a:lnTo>
                      <a:pt x="35943" y="6235"/>
                    </a:lnTo>
                    <a:cubicBezTo>
                      <a:pt x="32748" y="7512"/>
                      <a:pt x="30192" y="11342"/>
                      <a:pt x="30831" y="14534"/>
                    </a:cubicBezTo>
                    <a:lnTo>
                      <a:pt x="30831" y="21556"/>
                    </a:lnTo>
                    <a:lnTo>
                      <a:pt x="26358" y="25387"/>
                    </a:lnTo>
                    <a:lnTo>
                      <a:pt x="19330" y="24110"/>
                    </a:lnTo>
                    <a:cubicBezTo>
                      <a:pt x="15496" y="23472"/>
                      <a:pt x="12301" y="25387"/>
                      <a:pt x="10384" y="28579"/>
                    </a:cubicBezTo>
                    <a:lnTo>
                      <a:pt x="4633" y="40070"/>
                    </a:lnTo>
                    <a:cubicBezTo>
                      <a:pt x="2716" y="43262"/>
                      <a:pt x="3355" y="47092"/>
                      <a:pt x="5911" y="50284"/>
                    </a:cubicBezTo>
                    <a:lnTo>
                      <a:pt x="11023" y="56030"/>
                    </a:lnTo>
                    <a:lnTo>
                      <a:pt x="10384" y="61776"/>
                    </a:lnTo>
                    <a:lnTo>
                      <a:pt x="3994" y="65606"/>
                    </a:lnTo>
                    <a:cubicBezTo>
                      <a:pt x="799" y="67521"/>
                      <a:pt x="-479" y="71352"/>
                      <a:pt x="160" y="74544"/>
                    </a:cubicBezTo>
                    <a:lnTo>
                      <a:pt x="2716" y="87312"/>
                    </a:lnTo>
                    <a:cubicBezTo>
                      <a:pt x="3355" y="91142"/>
                      <a:pt x="6550" y="93695"/>
                      <a:pt x="10384" y="94334"/>
                    </a:cubicBezTo>
                    <a:lnTo>
                      <a:pt x="18052" y="94972"/>
                    </a:lnTo>
                    <a:lnTo>
                      <a:pt x="21247" y="100079"/>
                    </a:lnTo>
                    <a:lnTo>
                      <a:pt x="18691" y="107102"/>
                    </a:lnTo>
                    <a:cubicBezTo>
                      <a:pt x="17413" y="110294"/>
                      <a:pt x="18691" y="114763"/>
                      <a:pt x="21247" y="116678"/>
                    </a:cubicBezTo>
                    <a:lnTo>
                      <a:pt x="31470" y="124339"/>
                    </a:lnTo>
                    <a:cubicBezTo>
                      <a:pt x="34665" y="126892"/>
                      <a:pt x="38499" y="126892"/>
                      <a:pt x="41694" y="124977"/>
                    </a:cubicBezTo>
                    <a:lnTo>
                      <a:pt x="48084" y="121147"/>
                    </a:lnTo>
                    <a:lnTo>
                      <a:pt x="53835" y="123062"/>
                    </a:lnTo>
                    <a:lnTo>
                      <a:pt x="56391" y="130084"/>
                    </a:lnTo>
                    <a:cubicBezTo>
                      <a:pt x="57669" y="133276"/>
                      <a:pt x="60864" y="135830"/>
                      <a:pt x="64698" y="135830"/>
                    </a:cubicBezTo>
                    <a:lnTo>
                      <a:pt x="64698" y="135830"/>
                    </a:lnTo>
                    <a:lnTo>
                      <a:pt x="77478" y="135191"/>
                    </a:lnTo>
                    <a:cubicBezTo>
                      <a:pt x="79395" y="135191"/>
                      <a:pt x="82590" y="133276"/>
                      <a:pt x="83868" y="129446"/>
                    </a:cubicBezTo>
                    <a:close/>
                    <a:moveTo>
                      <a:pt x="72366" y="123062"/>
                    </a:moveTo>
                    <a:lnTo>
                      <a:pt x="65337" y="123062"/>
                    </a:lnTo>
                    <a:lnTo>
                      <a:pt x="62781" y="116039"/>
                    </a:lnTo>
                    <a:cubicBezTo>
                      <a:pt x="62142" y="114124"/>
                      <a:pt x="60864" y="112847"/>
                      <a:pt x="58947" y="112209"/>
                    </a:cubicBezTo>
                    <a:lnTo>
                      <a:pt x="47445" y="108379"/>
                    </a:lnTo>
                    <a:cubicBezTo>
                      <a:pt x="46806" y="108379"/>
                      <a:pt x="46167" y="108379"/>
                      <a:pt x="45528" y="108379"/>
                    </a:cubicBezTo>
                    <a:cubicBezTo>
                      <a:pt x="44250" y="108379"/>
                      <a:pt x="42972" y="109017"/>
                      <a:pt x="41694" y="109655"/>
                    </a:cubicBezTo>
                    <a:lnTo>
                      <a:pt x="35304" y="113486"/>
                    </a:lnTo>
                    <a:lnTo>
                      <a:pt x="29553" y="109017"/>
                    </a:lnTo>
                    <a:lnTo>
                      <a:pt x="32109" y="101995"/>
                    </a:lnTo>
                    <a:cubicBezTo>
                      <a:pt x="32748" y="100079"/>
                      <a:pt x="32748" y="98164"/>
                      <a:pt x="31470" y="96249"/>
                    </a:cubicBezTo>
                    <a:lnTo>
                      <a:pt x="25080" y="86035"/>
                    </a:lnTo>
                    <a:cubicBezTo>
                      <a:pt x="23803" y="84120"/>
                      <a:pt x="22525" y="83481"/>
                      <a:pt x="20608" y="82843"/>
                    </a:cubicBezTo>
                    <a:lnTo>
                      <a:pt x="12940" y="82204"/>
                    </a:lnTo>
                    <a:lnTo>
                      <a:pt x="11662" y="75182"/>
                    </a:lnTo>
                    <a:lnTo>
                      <a:pt x="18052" y="71352"/>
                    </a:lnTo>
                    <a:cubicBezTo>
                      <a:pt x="19969" y="70075"/>
                      <a:pt x="20608" y="68798"/>
                      <a:pt x="21247" y="66883"/>
                    </a:cubicBezTo>
                    <a:lnTo>
                      <a:pt x="23163" y="54753"/>
                    </a:lnTo>
                    <a:cubicBezTo>
                      <a:pt x="23163" y="52838"/>
                      <a:pt x="22525" y="50923"/>
                      <a:pt x="21247" y="49646"/>
                    </a:cubicBezTo>
                    <a:lnTo>
                      <a:pt x="16135" y="43900"/>
                    </a:lnTo>
                    <a:lnTo>
                      <a:pt x="19330" y="37516"/>
                    </a:lnTo>
                    <a:lnTo>
                      <a:pt x="26997" y="38793"/>
                    </a:lnTo>
                    <a:cubicBezTo>
                      <a:pt x="28914" y="38793"/>
                      <a:pt x="30831" y="38793"/>
                      <a:pt x="32109" y="37516"/>
                    </a:cubicBezTo>
                    <a:lnTo>
                      <a:pt x="41055" y="29217"/>
                    </a:lnTo>
                    <a:cubicBezTo>
                      <a:pt x="42333" y="27940"/>
                      <a:pt x="42972" y="26025"/>
                      <a:pt x="42972" y="24110"/>
                    </a:cubicBezTo>
                    <a:lnTo>
                      <a:pt x="42972" y="16449"/>
                    </a:lnTo>
                    <a:lnTo>
                      <a:pt x="49362" y="13896"/>
                    </a:lnTo>
                    <a:lnTo>
                      <a:pt x="54474" y="19641"/>
                    </a:lnTo>
                    <a:cubicBezTo>
                      <a:pt x="55752" y="20918"/>
                      <a:pt x="57669" y="22195"/>
                      <a:pt x="59586" y="21556"/>
                    </a:cubicBezTo>
                    <a:lnTo>
                      <a:pt x="71727" y="20918"/>
                    </a:lnTo>
                    <a:cubicBezTo>
                      <a:pt x="73644" y="20918"/>
                      <a:pt x="75561" y="19641"/>
                      <a:pt x="76839" y="18364"/>
                    </a:cubicBezTo>
                    <a:lnTo>
                      <a:pt x="81312" y="12619"/>
                    </a:lnTo>
                    <a:lnTo>
                      <a:pt x="87702" y="14534"/>
                    </a:lnTo>
                    <a:lnTo>
                      <a:pt x="87702" y="22195"/>
                    </a:lnTo>
                    <a:cubicBezTo>
                      <a:pt x="87702" y="24110"/>
                      <a:pt x="88341" y="26025"/>
                      <a:pt x="90258" y="27302"/>
                    </a:cubicBezTo>
                    <a:lnTo>
                      <a:pt x="99843" y="34963"/>
                    </a:lnTo>
                    <a:cubicBezTo>
                      <a:pt x="101121" y="36240"/>
                      <a:pt x="103677" y="36878"/>
                      <a:pt x="105594" y="36240"/>
                    </a:cubicBezTo>
                    <a:lnTo>
                      <a:pt x="112623" y="34324"/>
                    </a:lnTo>
                    <a:lnTo>
                      <a:pt x="116457" y="40070"/>
                    </a:lnTo>
                    <a:lnTo>
                      <a:pt x="111345" y="45816"/>
                    </a:lnTo>
                    <a:cubicBezTo>
                      <a:pt x="110067" y="47092"/>
                      <a:pt x="109428" y="49008"/>
                      <a:pt x="110067" y="50923"/>
                    </a:cubicBezTo>
                    <a:lnTo>
                      <a:pt x="112623" y="63052"/>
                    </a:lnTo>
                    <a:cubicBezTo>
                      <a:pt x="113262" y="64968"/>
                      <a:pt x="114540" y="66244"/>
                      <a:pt x="115818" y="67521"/>
                    </a:cubicBezTo>
                    <a:lnTo>
                      <a:pt x="122208" y="70713"/>
                    </a:lnTo>
                    <a:lnTo>
                      <a:pt x="121568" y="77736"/>
                    </a:lnTo>
                    <a:lnTo>
                      <a:pt x="113901" y="79012"/>
                    </a:lnTo>
                    <a:cubicBezTo>
                      <a:pt x="111984" y="79651"/>
                      <a:pt x="110067" y="80289"/>
                      <a:pt x="109428" y="82204"/>
                    </a:cubicBezTo>
                    <a:lnTo>
                      <a:pt x="103677" y="93057"/>
                    </a:lnTo>
                    <a:cubicBezTo>
                      <a:pt x="103038" y="94972"/>
                      <a:pt x="103038" y="96887"/>
                      <a:pt x="103677" y="98803"/>
                    </a:cubicBezTo>
                    <a:lnTo>
                      <a:pt x="106872" y="105825"/>
                    </a:lnTo>
                    <a:lnTo>
                      <a:pt x="101760" y="110294"/>
                    </a:lnTo>
                    <a:lnTo>
                      <a:pt x="95370" y="106463"/>
                    </a:lnTo>
                    <a:cubicBezTo>
                      <a:pt x="93453" y="105825"/>
                      <a:pt x="91536" y="105187"/>
                      <a:pt x="89619" y="106463"/>
                    </a:cubicBezTo>
                    <a:lnTo>
                      <a:pt x="78117" y="110932"/>
                    </a:lnTo>
                    <a:cubicBezTo>
                      <a:pt x="76200" y="111571"/>
                      <a:pt x="74922" y="112847"/>
                      <a:pt x="74283" y="114763"/>
                    </a:cubicBezTo>
                    <a:lnTo>
                      <a:pt x="72366" y="123062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1" name="Graphic 4">
                <a:extLst>
                  <a:ext uri="{FF2B5EF4-FFF2-40B4-BE49-F238E27FC236}">
                    <a16:creationId xmlns:a16="http://schemas.microsoft.com/office/drawing/2014/main" id="{BFD67040-8DE0-57ED-B0CE-B69A5FF747F9}"/>
                  </a:ext>
                </a:extLst>
              </p:cNvPr>
              <p:cNvSpPr/>
              <p:nvPr/>
            </p:nvSpPr>
            <p:spPr>
              <a:xfrm>
                <a:off x="1596936" y="2942006"/>
                <a:ext cx="87205" cy="86717"/>
              </a:xfrm>
              <a:custGeom>
                <a:avLst/>
                <a:gdLst>
                  <a:gd name="connsiteX0" fmla="*/ 86812 w 87205"/>
                  <a:gd name="connsiteY0" fmla="*/ 49691 h 86717"/>
                  <a:gd name="connsiteX1" fmla="*/ 49750 w 87205"/>
                  <a:gd name="connsiteY1" fmla="*/ 534 h 86717"/>
                  <a:gd name="connsiteX2" fmla="*/ 548 w 87205"/>
                  <a:gd name="connsiteY2" fmla="*/ 37561 h 86717"/>
                  <a:gd name="connsiteX3" fmla="*/ 8855 w 87205"/>
                  <a:gd name="connsiteY3" fmla="*/ 69481 h 86717"/>
                  <a:gd name="connsiteX4" fmla="*/ 37610 w 87205"/>
                  <a:gd name="connsiteY4" fmla="*/ 86079 h 86717"/>
                  <a:gd name="connsiteX5" fmla="*/ 43999 w 87205"/>
                  <a:gd name="connsiteY5" fmla="*/ 86718 h 86717"/>
                  <a:gd name="connsiteX6" fmla="*/ 86812 w 87205"/>
                  <a:gd name="connsiteY6" fmla="*/ 49691 h 86717"/>
                  <a:gd name="connsiteX7" fmla="*/ 86812 w 87205"/>
                  <a:gd name="connsiteY7" fmla="*/ 49691 h 86717"/>
                  <a:gd name="connsiteX8" fmla="*/ 61891 w 87205"/>
                  <a:gd name="connsiteY8" fmla="*/ 68204 h 86717"/>
                  <a:gd name="connsiteX9" fmla="*/ 19079 w 87205"/>
                  <a:gd name="connsiteY9" fmla="*/ 62459 h 86717"/>
                  <a:gd name="connsiteX10" fmla="*/ 24830 w 87205"/>
                  <a:gd name="connsiteY10" fmla="*/ 19686 h 86717"/>
                  <a:gd name="connsiteX11" fmla="*/ 43361 w 87205"/>
                  <a:gd name="connsiteY11" fmla="*/ 13302 h 86717"/>
                  <a:gd name="connsiteX12" fmla="*/ 47833 w 87205"/>
                  <a:gd name="connsiteY12" fmla="*/ 13302 h 86717"/>
                  <a:gd name="connsiteX13" fmla="*/ 74032 w 87205"/>
                  <a:gd name="connsiteY13" fmla="*/ 47776 h 86717"/>
                  <a:gd name="connsiteX14" fmla="*/ 61891 w 87205"/>
                  <a:gd name="connsiteY14" fmla="*/ 68204 h 86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87205" h="86717">
                    <a:moveTo>
                      <a:pt x="86812" y="49691"/>
                    </a:moveTo>
                    <a:cubicBezTo>
                      <a:pt x="90007" y="26070"/>
                      <a:pt x="73393" y="4364"/>
                      <a:pt x="49750" y="534"/>
                    </a:cubicBezTo>
                    <a:cubicBezTo>
                      <a:pt x="26108" y="-3296"/>
                      <a:pt x="4382" y="13940"/>
                      <a:pt x="548" y="37561"/>
                    </a:cubicBezTo>
                    <a:cubicBezTo>
                      <a:pt x="-1369" y="49052"/>
                      <a:pt x="1826" y="60543"/>
                      <a:pt x="8855" y="69481"/>
                    </a:cubicBezTo>
                    <a:cubicBezTo>
                      <a:pt x="15884" y="78419"/>
                      <a:pt x="26108" y="84803"/>
                      <a:pt x="37610" y="86079"/>
                    </a:cubicBezTo>
                    <a:cubicBezTo>
                      <a:pt x="39527" y="86079"/>
                      <a:pt x="42082" y="86718"/>
                      <a:pt x="43999" y="86718"/>
                    </a:cubicBezTo>
                    <a:cubicBezTo>
                      <a:pt x="65086" y="86718"/>
                      <a:pt x="83617" y="71396"/>
                      <a:pt x="86812" y="49691"/>
                    </a:cubicBezTo>
                    <a:lnTo>
                      <a:pt x="86812" y="49691"/>
                    </a:lnTo>
                    <a:close/>
                    <a:moveTo>
                      <a:pt x="61891" y="68204"/>
                    </a:moveTo>
                    <a:cubicBezTo>
                      <a:pt x="48472" y="78419"/>
                      <a:pt x="29303" y="75865"/>
                      <a:pt x="19079" y="62459"/>
                    </a:cubicBezTo>
                    <a:cubicBezTo>
                      <a:pt x="8855" y="49052"/>
                      <a:pt x="11411" y="29900"/>
                      <a:pt x="24830" y="19686"/>
                    </a:cubicBezTo>
                    <a:cubicBezTo>
                      <a:pt x="29942" y="15856"/>
                      <a:pt x="36332" y="13302"/>
                      <a:pt x="43361" y="13302"/>
                    </a:cubicBezTo>
                    <a:cubicBezTo>
                      <a:pt x="44638" y="13302"/>
                      <a:pt x="46556" y="13302"/>
                      <a:pt x="47833" y="13302"/>
                    </a:cubicBezTo>
                    <a:cubicBezTo>
                      <a:pt x="64447" y="15856"/>
                      <a:pt x="75949" y="31177"/>
                      <a:pt x="74032" y="47776"/>
                    </a:cubicBezTo>
                    <a:cubicBezTo>
                      <a:pt x="72754" y="56075"/>
                      <a:pt x="68281" y="63097"/>
                      <a:pt x="61891" y="68204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52" name="Graphic 4">
              <a:extLst>
                <a:ext uri="{FF2B5EF4-FFF2-40B4-BE49-F238E27FC236}">
                  <a16:creationId xmlns:a16="http://schemas.microsoft.com/office/drawing/2014/main" id="{90C009AF-8869-95A6-21AD-D7793DB3D0C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437955" y="1607042"/>
              <a:ext cx="606895" cy="606324"/>
              <a:chOff x="4660820" y="1403361"/>
              <a:chExt cx="362312" cy="361971"/>
            </a:xfrm>
            <a:solidFill>
              <a:schemeClr val="accent1"/>
            </a:solidFill>
          </p:grpSpPr>
          <p:sp>
            <p:nvSpPr>
              <p:cNvPr id="153" name="Graphic 4">
                <a:extLst>
                  <a:ext uri="{FF2B5EF4-FFF2-40B4-BE49-F238E27FC236}">
                    <a16:creationId xmlns:a16="http://schemas.microsoft.com/office/drawing/2014/main" id="{6D5C2711-4EC4-FB57-9480-56B12F918F55}"/>
                  </a:ext>
                </a:extLst>
              </p:cNvPr>
              <p:cNvSpPr/>
              <p:nvPr/>
            </p:nvSpPr>
            <p:spPr>
              <a:xfrm>
                <a:off x="4660820" y="1403361"/>
                <a:ext cx="362312" cy="361971"/>
              </a:xfrm>
              <a:custGeom>
                <a:avLst/>
                <a:gdLst>
                  <a:gd name="connsiteX0" fmla="*/ 181474 w 362312"/>
                  <a:gd name="connsiteY0" fmla="*/ 0 h 361971"/>
                  <a:gd name="connsiteX1" fmla="*/ 0 w 362312"/>
                  <a:gd name="connsiteY1" fmla="*/ 180667 h 361971"/>
                  <a:gd name="connsiteX2" fmla="*/ 180835 w 362312"/>
                  <a:gd name="connsiteY2" fmla="*/ 361972 h 361971"/>
                  <a:gd name="connsiteX3" fmla="*/ 362309 w 362312"/>
                  <a:gd name="connsiteY3" fmla="*/ 181305 h 361971"/>
                  <a:gd name="connsiteX4" fmla="*/ 362309 w 362312"/>
                  <a:gd name="connsiteY4" fmla="*/ 181305 h 361971"/>
                  <a:gd name="connsiteX5" fmla="*/ 181474 w 362312"/>
                  <a:gd name="connsiteY5" fmla="*/ 0 h 361971"/>
                  <a:gd name="connsiteX6" fmla="*/ 181474 w 362312"/>
                  <a:gd name="connsiteY6" fmla="*/ 349204 h 361971"/>
                  <a:gd name="connsiteX7" fmla="*/ 12780 w 362312"/>
                  <a:gd name="connsiteY7" fmla="*/ 181305 h 361971"/>
                  <a:gd name="connsiteX8" fmla="*/ 180835 w 362312"/>
                  <a:gd name="connsiteY8" fmla="*/ 12768 h 361971"/>
                  <a:gd name="connsiteX9" fmla="*/ 349529 w 362312"/>
                  <a:gd name="connsiteY9" fmla="*/ 180667 h 361971"/>
                  <a:gd name="connsiteX10" fmla="*/ 349529 w 362312"/>
                  <a:gd name="connsiteY10" fmla="*/ 180667 h 361971"/>
                  <a:gd name="connsiteX11" fmla="*/ 181474 w 362312"/>
                  <a:gd name="connsiteY11" fmla="*/ 349204 h 361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2312" h="361971">
                    <a:moveTo>
                      <a:pt x="181474" y="0"/>
                    </a:moveTo>
                    <a:cubicBezTo>
                      <a:pt x="81152" y="0"/>
                      <a:pt x="0" y="81077"/>
                      <a:pt x="0" y="180667"/>
                    </a:cubicBezTo>
                    <a:cubicBezTo>
                      <a:pt x="0" y="280257"/>
                      <a:pt x="81152" y="361972"/>
                      <a:pt x="180835" y="361972"/>
                    </a:cubicBezTo>
                    <a:cubicBezTo>
                      <a:pt x="281157" y="361972"/>
                      <a:pt x="362309" y="280895"/>
                      <a:pt x="362309" y="181305"/>
                    </a:cubicBezTo>
                    <a:cubicBezTo>
                      <a:pt x="362309" y="181305"/>
                      <a:pt x="362309" y="181305"/>
                      <a:pt x="362309" y="181305"/>
                    </a:cubicBezTo>
                    <a:cubicBezTo>
                      <a:pt x="362948" y="81077"/>
                      <a:pt x="281796" y="0"/>
                      <a:pt x="181474" y="0"/>
                    </a:cubicBezTo>
                    <a:close/>
                    <a:moveTo>
                      <a:pt x="181474" y="349204"/>
                    </a:moveTo>
                    <a:cubicBezTo>
                      <a:pt x="88181" y="349204"/>
                      <a:pt x="12780" y="273873"/>
                      <a:pt x="12780" y="181305"/>
                    </a:cubicBezTo>
                    <a:cubicBezTo>
                      <a:pt x="12780" y="88737"/>
                      <a:pt x="88181" y="12768"/>
                      <a:pt x="180835" y="12768"/>
                    </a:cubicBezTo>
                    <a:cubicBezTo>
                      <a:pt x="274128" y="12768"/>
                      <a:pt x="349529" y="88099"/>
                      <a:pt x="349529" y="180667"/>
                    </a:cubicBezTo>
                    <a:cubicBezTo>
                      <a:pt x="349529" y="180667"/>
                      <a:pt x="349529" y="180667"/>
                      <a:pt x="349529" y="180667"/>
                    </a:cubicBezTo>
                    <a:cubicBezTo>
                      <a:pt x="349529" y="273873"/>
                      <a:pt x="274767" y="348565"/>
                      <a:pt x="181474" y="349204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4" name="Graphic 4">
                <a:extLst>
                  <a:ext uri="{FF2B5EF4-FFF2-40B4-BE49-F238E27FC236}">
                    <a16:creationId xmlns:a16="http://schemas.microsoft.com/office/drawing/2014/main" id="{D13DD8BF-A57A-82F2-5630-E349925DD834}"/>
                  </a:ext>
                </a:extLst>
              </p:cNvPr>
              <p:cNvSpPr/>
              <p:nvPr/>
            </p:nvSpPr>
            <p:spPr>
              <a:xfrm>
                <a:off x="4812900" y="1555939"/>
                <a:ext cx="58787" cy="58732"/>
              </a:xfrm>
              <a:custGeom>
                <a:avLst/>
                <a:gdLst>
                  <a:gd name="connsiteX0" fmla="*/ 58788 w 58787"/>
                  <a:gd name="connsiteY0" fmla="*/ 29366 h 58732"/>
                  <a:gd name="connsiteX1" fmla="*/ 29394 w 58787"/>
                  <a:gd name="connsiteY1" fmla="*/ 0 h 58732"/>
                  <a:gd name="connsiteX2" fmla="*/ 0 w 58787"/>
                  <a:gd name="connsiteY2" fmla="*/ 29366 h 58732"/>
                  <a:gd name="connsiteX3" fmla="*/ 29394 w 58787"/>
                  <a:gd name="connsiteY3" fmla="*/ 58733 h 58732"/>
                  <a:gd name="connsiteX4" fmla="*/ 29394 w 58787"/>
                  <a:gd name="connsiteY4" fmla="*/ 58733 h 58732"/>
                  <a:gd name="connsiteX5" fmla="*/ 58788 w 58787"/>
                  <a:gd name="connsiteY5" fmla="*/ 29366 h 58732"/>
                  <a:gd name="connsiteX6" fmla="*/ 13419 w 58787"/>
                  <a:gd name="connsiteY6" fmla="*/ 29366 h 58732"/>
                  <a:gd name="connsiteX7" fmla="*/ 30033 w 58787"/>
                  <a:gd name="connsiteY7" fmla="*/ 12768 h 58732"/>
                  <a:gd name="connsiteX8" fmla="*/ 46646 w 58787"/>
                  <a:gd name="connsiteY8" fmla="*/ 29366 h 58732"/>
                  <a:gd name="connsiteX9" fmla="*/ 30033 w 58787"/>
                  <a:gd name="connsiteY9" fmla="*/ 45965 h 58732"/>
                  <a:gd name="connsiteX10" fmla="*/ 30033 w 58787"/>
                  <a:gd name="connsiteY10" fmla="*/ 45965 h 58732"/>
                  <a:gd name="connsiteX11" fmla="*/ 13419 w 58787"/>
                  <a:gd name="connsiteY11" fmla="*/ 29366 h 58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8787" h="58732">
                    <a:moveTo>
                      <a:pt x="58788" y="29366"/>
                    </a:moveTo>
                    <a:cubicBezTo>
                      <a:pt x="58788" y="13406"/>
                      <a:pt x="46008" y="0"/>
                      <a:pt x="29394" y="0"/>
                    </a:cubicBezTo>
                    <a:cubicBezTo>
                      <a:pt x="13419" y="0"/>
                      <a:pt x="0" y="12768"/>
                      <a:pt x="0" y="29366"/>
                    </a:cubicBezTo>
                    <a:cubicBezTo>
                      <a:pt x="0" y="45965"/>
                      <a:pt x="12780" y="58733"/>
                      <a:pt x="29394" y="58733"/>
                    </a:cubicBezTo>
                    <a:cubicBezTo>
                      <a:pt x="29394" y="58733"/>
                      <a:pt x="29394" y="58733"/>
                      <a:pt x="29394" y="58733"/>
                    </a:cubicBezTo>
                    <a:cubicBezTo>
                      <a:pt x="45368" y="58733"/>
                      <a:pt x="58788" y="45326"/>
                      <a:pt x="58788" y="29366"/>
                    </a:cubicBezTo>
                    <a:close/>
                    <a:moveTo>
                      <a:pt x="13419" y="29366"/>
                    </a:moveTo>
                    <a:cubicBezTo>
                      <a:pt x="13419" y="20429"/>
                      <a:pt x="20448" y="12768"/>
                      <a:pt x="30033" y="12768"/>
                    </a:cubicBezTo>
                    <a:cubicBezTo>
                      <a:pt x="39618" y="12768"/>
                      <a:pt x="46646" y="19790"/>
                      <a:pt x="46646" y="29366"/>
                    </a:cubicBezTo>
                    <a:cubicBezTo>
                      <a:pt x="46646" y="38942"/>
                      <a:pt x="39618" y="45965"/>
                      <a:pt x="30033" y="45965"/>
                    </a:cubicBezTo>
                    <a:lnTo>
                      <a:pt x="30033" y="45965"/>
                    </a:lnTo>
                    <a:cubicBezTo>
                      <a:pt x="20448" y="45965"/>
                      <a:pt x="13419" y="38304"/>
                      <a:pt x="13419" y="29366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5" name="Graphic 4">
                <a:extLst>
                  <a:ext uri="{FF2B5EF4-FFF2-40B4-BE49-F238E27FC236}">
                    <a16:creationId xmlns:a16="http://schemas.microsoft.com/office/drawing/2014/main" id="{5994947F-9D35-E0EC-C05E-DAF90471E08E}"/>
                  </a:ext>
                </a:extLst>
              </p:cNvPr>
              <p:cNvSpPr/>
              <p:nvPr/>
            </p:nvSpPr>
            <p:spPr>
              <a:xfrm>
                <a:off x="4729831" y="1472308"/>
                <a:ext cx="224862" cy="222260"/>
              </a:xfrm>
              <a:custGeom>
                <a:avLst/>
                <a:gdLst>
                  <a:gd name="connsiteX0" fmla="*/ 189781 w 224862"/>
                  <a:gd name="connsiteY0" fmla="*/ 40219 h 222260"/>
                  <a:gd name="connsiteX1" fmla="*/ 189142 w 224862"/>
                  <a:gd name="connsiteY1" fmla="*/ 49157 h 222260"/>
                  <a:gd name="connsiteX2" fmla="*/ 189142 w 224862"/>
                  <a:gd name="connsiteY2" fmla="*/ 49157 h 222260"/>
                  <a:gd name="connsiteX3" fmla="*/ 187225 w 224862"/>
                  <a:gd name="connsiteY3" fmla="*/ 178752 h 222260"/>
                  <a:gd name="connsiteX4" fmla="*/ 164221 w 224862"/>
                  <a:gd name="connsiteY4" fmla="*/ 155769 h 222260"/>
                  <a:gd name="connsiteX5" fmla="*/ 155275 w 224862"/>
                  <a:gd name="connsiteY5" fmla="*/ 61286 h 222260"/>
                  <a:gd name="connsiteX6" fmla="*/ 118853 w 224862"/>
                  <a:gd name="connsiteY6" fmla="*/ 45965 h 222260"/>
                  <a:gd name="connsiteX7" fmla="*/ 118853 w 224862"/>
                  <a:gd name="connsiteY7" fmla="*/ 13406 h 222260"/>
                  <a:gd name="connsiteX8" fmla="*/ 155275 w 224862"/>
                  <a:gd name="connsiteY8" fmla="*/ 22344 h 222260"/>
                  <a:gd name="connsiteX9" fmla="*/ 163582 w 224862"/>
                  <a:gd name="connsiteY9" fmla="*/ 18514 h 222260"/>
                  <a:gd name="connsiteX10" fmla="*/ 161027 w 224862"/>
                  <a:gd name="connsiteY10" fmla="*/ 10853 h 222260"/>
                  <a:gd name="connsiteX11" fmla="*/ 113102 w 224862"/>
                  <a:gd name="connsiteY11" fmla="*/ 0 h 222260"/>
                  <a:gd name="connsiteX12" fmla="*/ 0 w 224862"/>
                  <a:gd name="connsiteY12" fmla="*/ 111720 h 222260"/>
                  <a:gd name="connsiteX13" fmla="*/ 88820 w 224862"/>
                  <a:gd name="connsiteY13" fmla="*/ 222163 h 222260"/>
                  <a:gd name="connsiteX14" fmla="*/ 90098 w 224862"/>
                  <a:gd name="connsiteY14" fmla="*/ 222163 h 222260"/>
                  <a:gd name="connsiteX15" fmla="*/ 97127 w 224862"/>
                  <a:gd name="connsiteY15" fmla="*/ 216417 h 222260"/>
                  <a:gd name="connsiteX16" fmla="*/ 91376 w 224862"/>
                  <a:gd name="connsiteY16" fmla="*/ 209395 h 222260"/>
                  <a:gd name="connsiteX17" fmla="*/ 15336 w 224862"/>
                  <a:gd name="connsiteY17" fmla="*/ 90653 h 222260"/>
                  <a:gd name="connsiteX18" fmla="*/ 106712 w 224862"/>
                  <a:gd name="connsiteY18" fmla="*/ 12768 h 222260"/>
                  <a:gd name="connsiteX19" fmla="*/ 106712 w 224862"/>
                  <a:gd name="connsiteY19" fmla="*/ 45326 h 222260"/>
                  <a:gd name="connsiteX20" fmla="*/ 51119 w 224862"/>
                  <a:gd name="connsiteY20" fmla="*/ 86822 h 222260"/>
                  <a:gd name="connsiteX21" fmla="*/ 54314 w 224862"/>
                  <a:gd name="connsiteY21" fmla="*/ 95121 h 222260"/>
                  <a:gd name="connsiteX22" fmla="*/ 62621 w 224862"/>
                  <a:gd name="connsiteY22" fmla="*/ 91291 h 222260"/>
                  <a:gd name="connsiteX23" fmla="*/ 133549 w 224862"/>
                  <a:gd name="connsiteY23" fmla="*/ 61286 h 222260"/>
                  <a:gd name="connsiteX24" fmla="*/ 163582 w 224862"/>
                  <a:gd name="connsiteY24" fmla="*/ 132148 h 222260"/>
                  <a:gd name="connsiteX25" fmla="*/ 92654 w 224862"/>
                  <a:gd name="connsiteY25" fmla="*/ 162153 h 222260"/>
                  <a:gd name="connsiteX26" fmla="*/ 62621 w 224862"/>
                  <a:gd name="connsiteY26" fmla="*/ 132148 h 222260"/>
                  <a:gd name="connsiteX27" fmla="*/ 54314 w 224862"/>
                  <a:gd name="connsiteY27" fmla="*/ 128318 h 222260"/>
                  <a:gd name="connsiteX28" fmla="*/ 50480 w 224862"/>
                  <a:gd name="connsiteY28" fmla="*/ 136617 h 222260"/>
                  <a:gd name="connsiteX29" fmla="*/ 50480 w 224862"/>
                  <a:gd name="connsiteY29" fmla="*/ 137256 h 222260"/>
                  <a:gd name="connsiteX30" fmla="*/ 138022 w 224862"/>
                  <a:gd name="connsiteY30" fmla="*/ 174283 h 222260"/>
                  <a:gd name="connsiteX31" fmla="*/ 155275 w 224862"/>
                  <a:gd name="connsiteY31" fmla="*/ 164068 h 222260"/>
                  <a:gd name="connsiteX32" fmla="*/ 178279 w 224862"/>
                  <a:gd name="connsiteY32" fmla="*/ 187051 h 222260"/>
                  <a:gd name="connsiteX33" fmla="*/ 133549 w 224862"/>
                  <a:gd name="connsiteY33" fmla="*/ 209395 h 222260"/>
                  <a:gd name="connsiteX34" fmla="*/ 127799 w 224862"/>
                  <a:gd name="connsiteY34" fmla="*/ 216417 h 222260"/>
                  <a:gd name="connsiteX35" fmla="*/ 134828 w 224862"/>
                  <a:gd name="connsiteY35" fmla="*/ 222163 h 222260"/>
                  <a:gd name="connsiteX36" fmla="*/ 136106 w 224862"/>
                  <a:gd name="connsiteY36" fmla="*/ 222163 h 222260"/>
                  <a:gd name="connsiteX37" fmla="*/ 190420 w 224862"/>
                  <a:gd name="connsiteY37" fmla="*/ 192158 h 222260"/>
                  <a:gd name="connsiteX38" fmla="*/ 191698 w 224862"/>
                  <a:gd name="connsiteY38" fmla="*/ 191519 h 222260"/>
                  <a:gd name="connsiteX39" fmla="*/ 192337 w 224862"/>
                  <a:gd name="connsiteY39" fmla="*/ 190881 h 222260"/>
                  <a:gd name="connsiteX40" fmla="*/ 198727 w 224862"/>
                  <a:gd name="connsiteY40" fmla="*/ 40219 h 222260"/>
                  <a:gd name="connsiteX41" fmla="*/ 189781 w 224862"/>
                  <a:gd name="connsiteY41" fmla="*/ 40219 h 222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24862" h="222260">
                    <a:moveTo>
                      <a:pt x="189781" y="40219"/>
                    </a:moveTo>
                    <a:cubicBezTo>
                      <a:pt x="187225" y="42773"/>
                      <a:pt x="186586" y="46603"/>
                      <a:pt x="189142" y="49157"/>
                    </a:cubicBezTo>
                    <a:cubicBezTo>
                      <a:pt x="189142" y="49157"/>
                      <a:pt x="189142" y="49157"/>
                      <a:pt x="189142" y="49157"/>
                    </a:cubicBezTo>
                    <a:cubicBezTo>
                      <a:pt x="221092" y="86822"/>
                      <a:pt x="220453" y="142363"/>
                      <a:pt x="187225" y="178752"/>
                    </a:cubicBezTo>
                    <a:lnTo>
                      <a:pt x="164221" y="155769"/>
                    </a:lnTo>
                    <a:cubicBezTo>
                      <a:pt x="187864" y="127041"/>
                      <a:pt x="184030" y="84907"/>
                      <a:pt x="155275" y="61286"/>
                    </a:cubicBezTo>
                    <a:cubicBezTo>
                      <a:pt x="145052" y="52987"/>
                      <a:pt x="132272" y="47241"/>
                      <a:pt x="118853" y="45965"/>
                    </a:cubicBezTo>
                    <a:lnTo>
                      <a:pt x="118853" y="13406"/>
                    </a:lnTo>
                    <a:cubicBezTo>
                      <a:pt x="131633" y="14045"/>
                      <a:pt x="143774" y="17237"/>
                      <a:pt x="155275" y="22344"/>
                    </a:cubicBezTo>
                    <a:cubicBezTo>
                      <a:pt x="158470" y="23621"/>
                      <a:pt x="162304" y="21706"/>
                      <a:pt x="163582" y="18514"/>
                    </a:cubicBezTo>
                    <a:cubicBezTo>
                      <a:pt x="164860" y="15322"/>
                      <a:pt x="163582" y="12130"/>
                      <a:pt x="161027" y="10853"/>
                    </a:cubicBezTo>
                    <a:cubicBezTo>
                      <a:pt x="145690" y="3830"/>
                      <a:pt x="129716" y="0"/>
                      <a:pt x="113102" y="0"/>
                    </a:cubicBezTo>
                    <a:cubicBezTo>
                      <a:pt x="51119" y="0"/>
                      <a:pt x="639" y="49795"/>
                      <a:pt x="0" y="111720"/>
                    </a:cubicBezTo>
                    <a:cubicBezTo>
                      <a:pt x="0" y="164707"/>
                      <a:pt x="36423" y="210671"/>
                      <a:pt x="88820" y="222163"/>
                    </a:cubicBezTo>
                    <a:lnTo>
                      <a:pt x="90098" y="222163"/>
                    </a:lnTo>
                    <a:cubicBezTo>
                      <a:pt x="93932" y="222801"/>
                      <a:pt x="96488" y="220247"/>
                      <a:pt x="97127" y="216417"/>
                    </a:cubicBezTo>
                    <a:cubicBezTo>
                      <a:pt x="97766" y="212587"/>
                      <a:pt x="95210" y="210033"/>
                      <a:pt x="91376" y="209395"/>
                    </a:cubicBezTo>
                    <a:cubicBezTo>
                      <a:pt x="37700" y="197903"/>
                      <a:pt x="3195" y="144278"/>
                      <a:pt x="15336" y="90653"/>
                    </a:cubicBezTo>
                    <a:cubicBezTo>
                      <a:pt x="24921" y="47241"/>
                      <a:pt x="61982" y="15322"/>
                      <a:pt x="106712" y="12768"/>
                    </a:cubicBezTo>
                    <a:lnTo>
                      <a:pt x="106712" y="45326"/>
                    </a:lnTo>
                    <a:cubicBezTo>
                      <a:pt x="81791" y="47880"/>
                      <a:pt x="60065" y="63840"/>
                      <a:pt x="51119" y="86822"/>
                    </a:cubicBezTo>
                    <a:cubicBezTo>
                      <a:pt x="49841" y="90014"/>
                      <a:pt x="51119" y="93845"/>
                      <a:pt x="54314" y="95121"/>
                    </a:cubicBezTo>
                    <a:cubicBezTo>
                      <a:pt x="57509" y="96398"/>
                      <a:pt x="61343" y="95121"/>
                      <a:pt x="62621" y="91291"/>
                    </a:cubicBezTo>
                    <a:cubicBezTo>
                      <a:pt x="74123" y="63840"/>
                      <a:pt x="105434" y="50433"/>
                      <a:pt x="133549" y="61286"/>
                    </a:cubicBezTo>
                    <a:cubicBezTo>
                      <a:pt x="161027" y="72777"/>
                      <a:pt x="174445" y="104059"/>
                      <a:pt x="163582" y="132148"/>
                    </a:cubicBezTo>
                    <a:cubicBezTo>
                      <a:pt x="152719" y="160238"/>
                      <a:pt x="120770" y="173006"/>
                      <a:pt x="92654" y="162153"/>
                    </a:cubicBezTo>
                    <a:cubicBezTo>
                      <a:pt x="79235" y="156408"/>
                      <a:pt x="68372" y="145555"/>
                      <a:pt x="62621" y="132148"/>
                    </a:cubicBezTo>
                    <a:cubicBezTo>
                      <a:pt x="61343" y="128956"/>
                      <a:pt x="58148" y="127041"/>
                      <a:pt x="54314" y="128318"/>
                    </a:cubicBezTo>
                    <a:cubicBezTo>
                      <a:pt x="51119" y="129595"/>
                      <a:pt x="49203" y="132787"/>
                      <a:pt x="50480" y="136617"/>
                    </a:cubicBezTo>
                    <a:cubicBezTo>
                      <a:pt x="50480" y="136617"/>
                      <a:pt x="50480" y="137256"/>
                      <a:pt x="50480" y="137256"/>
                    </a:cubicBezTo>
                    <a:cubicBezTo>
                      <a:pt x="64538" y="171729"/>
                      <a:pt x="103517" y="188327"/>
                      <a:pt x="138022" y="174283"/>
                    </a:cubicBezTo>
                    <a:cubicBezTo>
                      <a:pt x="144412" y="171729"/>
                      <a:pt x="150164" y="167899"/>
                      <a:pt x="155275" y="164068"/>
                    </a:cubicBezTo>
                    <a:lnTo>
                      <a:pt x="178279" y="187051"/>
                    </a:lnTo>
                    <a:cubicBezTo>
                      <a:pt x="165499" y="198542"/>
                      <a:pt x="150164" y="206203"/>
                      <a:pt x="133549" y="209395"/>
                    </a:cubicBezTo>
                    <a:cubicBezTo>
                      <a:pt x="129716" y="210033"/>
                      <a:pt x="127160" y="213225"/>
                      <a:pt x="127799" y="216417"/>
                    </a:cubicBezTo>
                    <a:cubicBezTo>
                      <a:pt x="128438" y="220247"/>
                      <a:pt x="131633" y="222801"/>
                      <a:pt x="134828" y="222163"/>
                    </a:cubicBezTo>
                    <a:lnTo>
                      <a:pt x="136106" y="222163"/>
                    </a:lnTo>
                    <a:cubicBezTo>
                      <a:pt x="156553" y="217694"/>
                      <a:pt x="175723" y="207479"/>
                      <a:pt x="190420" y="192158"/>
                    </a:cubicBezTo>
                    <a:lnTo>
                      <a:pt x="191698" y="191519"/>
                    </a:lnTo>
                    <a:lnTo>
                      <a:pt x="192337" y="190881"/>
                    </a:lnTo>
                    <a:cubicBezTo>
                      <a:pt x="233233" y="150024"/>
                      <a:pt x="235788" y="84269"/>
                      <a:pt x="198727" y="40219"/>
                    </a:cubicBezTo>
                    <a:cubicBezTo>
                      <a:pt x="196171" y="38304"/>
                      <a:pt x="192337" y="37665"/>
                      <a:pt x="189781" y="40219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56" name="Freeform 821">
              <a:extLst>
                <a:ext uri="{FF2B5EF4-FFF2-40B4-BE49-F238E27FC236}">
                  <a16:creationId xmlns:a16="http://schemas.microsoft.com/office/drawing/2014/main" id="{48F02AFC-9D3A-5CD9-B31D-C43A4FE0538E}"/>
                </a:ext>
              </a:extLst>
            </p:cNvPr>
            <p:cNvSpPr/>
            <p:nvPr/>
          </p:nvSpPr>
          <p:spPr>
            <a:xfrm>
              <a:off x="3462269" y="3332870"/>
              <a:ext cx="585385" cy="446605"/>
            </a:xfrm>
            <a:custGeom>
              <a:avLst/>
              <a:gdLst>
                <a:gd name="connsiteX0" fmla="*/ 203549 w 215051"/>
                <a:gd name="connsiteY0" fmla="*/ 1915 h 164068"/>
                <a:gd name="connsiteX1" fmla="*/ 62971 w 215051"/>
                <a:gd name="connsiteY1" fmla="*/ 148109 h 164068"/>
                <a:gd name="connsiteX2" fmla="*/ 11212 w 215051"/>
                <a:gd name="connsiteY2" fmla="*/ 95760 h 164068"/>
                <a:gd name="connsiteX3" fmla="*/ 2266 w 215051"/>
                <a:gd name="connsiteY3" fmla="*/ 95121 h 164068"/>
                <a:gd name="connsiteX4" fmla="*/ 1627 w 215051"/>
                <a:gd name="connsiteY4" fmla="*/ 104059 h 164068"/>
                <a:gd name="connsiteX5" fmla="*/ 2266 w 215051"/>
                <a:gd name="connsiteY5" fmla="*/ 104697 h 164068"/>
                <a:gd name="connsiteX6" fmla="*/ 58498 w 215051"/>
                <a:gd name="connsiteY6" fmla="*/ 162153 h 164068"/>
                <a:gd name="connsiteX7" fmla="*/ 62971 w 215051"/>
                <a:gd name="connsiteY7" fmla="*/ 164069 h 164068"/>
                <a:gd name="connsiteX8" fmla="*/ 62971 w 215051"/>
                <a:gd name="connsiteY8" fmla="*/ 164069 h 164068"/>
                <a:gd name="connsiteX9" fmla="*/ 67443 w 215051"/>
                <a:gd name="connsiteY9" fmla="*/ 162153 h 164068"/>
                <a:gd name="connsiteX10" fmla="*/ 213134 w 215051"/>
                <a:gd name="connsiteY10" fmla="*/ 10853 h 164068"/>
                <a:gd name="connsiteX11" fmla="*/ 213134 w 215051"/>
                <a:gd name="connsiteY11" fmla="*/ 1915 h 164068"/>
                <a:gd name="connsiteX12" fmla="*/ 203549 w 215051"/>
                <a:gd name="connsiteY12" fmla="*/ 1915 h 164068"/>
                <a:gd name="connsiteX13" fmla="*/ 203549 w 215051"/>
                <a:gd name="connsiteY13" fmla="*/ 1915 h 164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5051" h="164068">
                  <a:moveTo>
                    <a:pt x="203549" y="1915"/>
                  </a:moveTo>
                  <a:lnTo>
                    <a:pt x="62971" y="148109"/>
                  </a:lnTo>
                  <a:lnTo>
                    <a:pt x="11212" y="95760"/>
                  </a:lnTo>
                  <a:cubicBezTo>
                    <a:pt x="8656" y="93206"/>
                    <a:pt x="4822" y="92568"/>
                    <a:pt x="2266" y="95121"/>
                  </a:cubicBezTo>
                  <a:cubicBezTo>
                    <a:pt x="-290" y="97675"/>
                    <a:pt x="-929" y="101505"/>
                    <a:pt x="1627" y="104059"/>
                  </a:cubicBezTo>
                  <a:lnTo>
                    <a:pt x="2266" y="104697"/>
                  </a:lnTo>
                  <a:lnTo>
                    <a:pt x="58498" y="162153"/>
                  </a:lnTo>
                  <a:cubicBezTo>
                    <a:pt x="59776" y="163430"/>
                    <a:pt x="61054" y="164069"/>
                    <a:pt x="62971" y="164069"/>
                  </a:cubicBezTo>
                  <a:lnTo>
                    <a:pt x="62971" y="164069"/>
                  </a:lnTo>
                  <a:cubicBezTo>
                    <a:pt x="64888" y="164069"/>
                    <a:pt x="66166" y="163430"/>
                    <a:pt x="67443" y="162153"/>
                  </a:cubicBezTo>
                  <a:lnTo>
                    <a:pt x="213134" y="10853"/>
                  </a:lnTo>
                  <a:cubicBezTo>
                    <a:pt x="215690" y="8299"/>
                    <a:pt x="215690" y="4469"/>
                    <a:pt x="213134" y="1915"/>
                  </a:cubicBezTo>
                  <a:cubicBezTo>
                    <a:pt x="210578" y="-638"/>
                    <a:pt x="206105" y="-638"/>
                    <a:pt x="203549" y="1915"/>
                  </a:cubicBezTo>
                  <a:lnTo>
                    <a:pt x="203549" y="1915"/>
                  </a:lnTo>
                  <a:close/>
                </a:path>
              </a:pathLst>
            </a:custGeom>
            <a:solidFill>
              <a:schemeClr val="accent3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eform 821">
              <a:extLst>
                <a:ext uri="{FF2B5EF4-FFF2-40B4-BE49-F238E27FC236}">
                  <a16:creationId xmlns:a16="http://schemas.microsoft.com/office/drawing/2014/main" id="{1EEDC19A-CEA1-6DD8-9E57-CED708F8C566}"/>
                </a:ext>
              </a:extLst>
            </p:cNvPr>
            <p:cNvSpPr/>
            <p:nvPr/>
          </p:nvSpPr>
          <p:spPr>
            <a:xfrm>
              <a:off x="7237109" y="3332869"/>
              <a:ext cx="585385" cy="446605"/>
            </a:xfrm>
            <a:custGeom>
              <a:avLst/>
              <a:gdLst>
                <a:gd name="connsiteX0" fmla="*/ 203549 w 215051"/>
                <a:gd name="connsiteY0" fmla="*/ 1915 h 164068"/>
                <a:gd name="connsiteX1" fmla="*/ 62971 w 215051"/>
                <a:gd name="connsiteY1" fmla="*/ 148109 h 164068"/>
                <a:gd name="connsiteX2" fmla="*/ 11212 w 215051"/>
                <a:gd name="connsiteY2" fmla="*/ 95760 h 164068"/>
                <a:gd name="connsiteX3" fmla="*/ 2266 w 215051"/>
                <a:gd name="connsiteY3" fmla="*/ 95121 h 164068"/>
                <a:gd name="connsiteX4" fmla="*/ 1627 w 215051"/>
                <a:gd name="connsiteY4" fmla="*/ 104059 h 164068"/>
                <a:gd name="connsiteX5" fmla="*/ 2266 w 215051"/>
                <a:gd name="connsiteY5" fmla="*/ 104697 h 164068"/>
                <a:gd name="connsiteX6" fmla="*/ 58498 w 215051"/>
                <a:gd name="connsiteY6" fmla="*/ 162153 h 164068"/>
                <a:gd name="connsiteX7" fmla="*/ 62971 w 215051"/>
                <a:gd name="connsiteY7" fmla="*/ 164069 h 164068"/>
                <a:gd name="connsiteX8" fmla="*/ 62971 w 215051"/>
                <a:gd name="connsiteY8" fmla="*/ 164069 h 164068"/>
                <a:gd name="connsiteX9" fmla="*/ 67443 w 215051"/>
                <a:gd name="connsiteY9" fmla="*/ 162153 h 164068"/>
                <a:gd name="connsiteX10" fmla="*/ 213134 w 215051"/>
                <a:gd name="connsiteY10" fmla="*/ 10853 h 164068"/>
                <a:gd name="connsiteX11" fmla="*/ 213134 w 215051"/>
                <a:gd name="connsiteY11" fmla="*/ 1915 h 164068"/>
                <a:gd name="connsiteX12" fmla="*/ 203549 w 215051"/>
                <a:gd name="connsiteY12" fmla="*/ 1915 h 164068"/>
                <a:gd name="connsiteX13" fmla="*/ 203549 w 215051"/>
                <a:gd name="connsiteY13" fmla="*/ 1915 h 164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5051" h="164068">
                  <a:moveTo>
                    <a:pt x="203549" y="1915"/>
                  </a:moveTo>
                  <a:lnTo>
                    <a:pt x="62971" y="148109"/>
                  </a:lnTo>
                  <a:lnTo>
                    <a:pt x="11212" y="95760"/>
                  </a:lnTo>
                  <a:cubicBezTo>
                    <a:pt x="8656" y="93206"/>
                    <a:pt x="4822" y="92568"/>
                    <a:pt x="2266" y="95121"/>
                  </a:cubicBezTo>
                  <a:cubicBezTo>
                    <a:pt x="-290" y="97675"/>
                    <a:pt x="-929" y="101505"/>
                    <a:pt x="1627" y="104059"/>
                  </a:cubicBezTo>
                  <a:lnTo>
                    <a:pt x="2266" y="104697"/>
                  </a:lnTo>
                  <a:lnTo>
                    <a:pt x="58498" y="162153"/>
                  </a:lnTo>
                  <a:cubicBezTo>
                    <a:pt x="59776" y="163430"/>
                    <a:pt x="61054" y="164069"/>
                    <a:pt x="62971" y="164069"/>
                  </a:cubicBezTo>
                  <a:lnTo>
                    <a:pt x="62971" y="164069"/>
                  </a:lnTo>
                  <a:cubicBezTo>
                    <a:pt x="64888" y="164069"/>
                    <a:pt x="66166" y="163430"/>
                    <a:pt x="67443" y="162153"/>
                  </a:cubicBezTo>
                  <a:lnTo>
                    <a:pt x="213134" y="10853"/>
                  </a:lnTo>
                  <a:cubicBezTo>
                    <a:pt x="215690" y="8299"/>
                    <a:pt x="215690" y="4469"/>
                    <a:pt x="213134" y="1915"/>
                  </a:cubicBezTo>
                  <a:cubicBezTo>
                    <a:pt x="210578" y="-638"/>
                    <a:pt x="206105" y="-638"/>
                    <a:pt x="203549" y="1915"/>
                  </a:cubicBezTo>
                  <a:lnTo>
                    <a:pt x="203549" y="1915"/>
                  </a:lnTo>
                  <a:close/>
                </a:path>
              </a:pathLst>
            </a:custGeom>
            <a:solidFill>
              <a:schemeClr val="accent3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eform 821">
              <a:extLst>
                <a:ext uri="{FF2B5EF4-FFF2-40B4-BE49-F238E27FC236}">
                  <a16:creationId xmlns:a16="http://schemas.microsoft.com/office/drawing/2014/main" id="{B1781A3E-63F1-2BFC-6C73-4B5F3FBEEFA3}"/>
                </a:ext>
              </a:extLst>
            </p:cNvPr>
            <p:cNvSpPr/>
            <p:nvPr/>
          </p:nvSpPr>
          <p:spPr>
            <a:xfrm>
              <a:off x="10869360" y="3332869"/>
              <a:ext cx="585385" cy="446605"/>
            </a:xfrm>
            <a:custGeom>
              <a:avLst/>
              <a:gdLst>
                <a:gd name="connsiteX0" fmla="*/ 203549 w 215051"/>
                <a:gd name="connsiteY0" fmla="*/ 1915 h 164068"/>
                <a:gd name="connsiteX1" fmla="*/ 62971 w 215051"/>
                <a:gd name="connsiteY1" fmla="*/ 148109 h 164068"/>
                <a:gd name="connsiteX2" fmla="*/ 11212 w 215051"/>
                <a:gd name="connsiteY2" fmla="*/ 95760 h 164068"/>
                <a:gd name="connsiteX3" fmla="*/ 2266 w 215051"/>
                <a:gd name="connsiteY3" fmla="*/ 95121 h 164068"/>
                <a:gd name="connsiteX4" fmla="*/ 1627 w 215051"/>
                <a:gd name="connsiteY4" fmla="*/ 104059 h 164068"/>
                <a:gd name="connsiteX5" fmla="*/ 2266 w 215051"/>
                <a:gd name="connsiteY5" fmla="*/ 104697 h 164068"/>
                <a:gd name="connsiteX6" fmla="*/ 58498 w 215051"/>
                <a:gd name="connsiteY6" fmla="*/ 162153 h 164068"/>
                <a:gd name="connsiteX7" fmla="*/ 62971 w 215051"/>
                <a:gd name="connsiteY7" fmla="*/ 164069 h 164068"/>
                <a:gd name="connsiteX8" fmla="*/ 62971 w 215051"/>
                <a:gd name="connsiteY8" fmla="*/ 164069 h 164068"/>
                <a:gd name="connsiteX9" fmla="*/ 67443 w 215051"/>
                <a:gd name="connsiteY9" fmla="*/ 162153 h 164068"/>
                <a:gd name="connsiteX10" fmla="*/ 213134 w 215051"/>
                <a:gd name="connsiteY10" fmla="*/ 10853 h 164068"/>
                <a:gd name="connsiteX11" fmla="*/ 213134 w 215051"/>
                <a:gd name="connsiteY11" fmla="*/ 1915 h 164068"/>
                <a:gd name="connsiteX12" fmla="*/ 203549 w 215051"/>
                <a:gd name="connsiteY12" fmla="*/ 1915 h 164068"/>
                <a:gd name="connsiteX13" fmla="*/ 203549 w 215051"/>
                <a:gd name="connsiteY13" fmla="*/ 1915 h 164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5051" h="164068">
                  <a:moveTo>
                    <a:pt x="203549" y="1915"/>
                  </a:moveTo>
                  <a:lnTo>
                    <a:pt x="62971" y="148109"/>
                  </a:lnTo>
                  <a:lnTo>
                    <a:pt x="11212" y="95760"/>
                  </a:lnTo>
                  <a:cubicBezTo>
                    <a:pt x="8656" y="93206"/>
                    <a:pt x="4822" y="92568"/>
                    <a:pt x="2266" y="95121"/>
                  </a:cubicBezTo>
                  <a:cubicBezTo>
                    <a:pt x="-290" y="97675"/>
                    <a:pt x="-929" y="101505"/>
                    <a:pt x="1627" y="104059"/>
                  </a:cubicBezTo>
                  <a:lnTo>
                    <a:pt x="2266" y="104697"/>
                  </a:lnTo>
                  <a:lnTo>
                    <a:pt x="58498" y="162153"/>
                  </a:lnTo>
                  <a:cubicBezTo>
                    <a:pt x="59776" y="163430"/>
                    <a:pt x="61054" y="164069"/>
                    <a:pt x="62971" y="164069"/>
                  </a:cubicBezTo>
                  <a:lnTo>
                    <a:pt x="62971" y="164069"/>
                  </a:lnTo>
                  <a:cubicBezTo>
                    <a:pt x="64888" y="164069"/>
                    <a:pt x="66166" y="163430"/>
                    <a:pt x="67443" y="162153"/>
                  </a:cubicBezTo>
                  <a:lnTo>
                    <a:pt x="213134" y="10853"/>
                  </a:lnTo>
                  <a:cubicBezTo>
                    <a:pt x="215690" y="8299"/>
                    <a:pt x="215690" y="4469"/>
                    <a:pt x="213134" y="1915"/>
                  </a:cubicBezTo>
                  <a:cubicBezTo>
                    <a:pt x="210578" y="-638"/>
                    <a:pt x="206105" y="-638"/>
                    <a:pt x="203549" y="1915"/>
                  </a:cubicBezTo>
                  <a:lnTo>
                    <a:pt x="203549" y="1915"/>
                  </a:lnTo>
                  <a:close/>
                </a:path>
              </a:pathLst>
            </a:custGeom>
            <a:solidFill>
              <a:schemeClr val="accent3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FCEE6D02-455D-89C4-E964-0B7A4E24E3B0}"/>
              </a:ext>
            </a:extLst>
          </p:cNvPr>
          <p:cNvGrpSpPr/>
          <p:nvPr/>
        </p:nvGrpSpPr>
        <p:grpSpPr>
          <a:xfrm>
            <a:off x="930900" y="5742684"/>
            <a:ext cx="10243561" cy="599109"/>
            <a:chOff x="930900" y="5742684"/>
            <a:chExt cx="10243561" cy="599109"/>
          </a:xfrm>
        </p:grpSpPr>
        <p:sp>
          <p:nvSpPr>
            <p:cNvPr id="80" name="Text Placeholder 33">
              <a:extLst>
                <a:ext uri="{FF2B5EF4-FFF2-40B4-BE49-F238E27FC236}">
                  <a16:creationId xmlns:a16="http://schemas.microsoft.com/office/drawing/2014/main" id="{ADBC6FC3-0852-DB5F-B070-6AF619FA0F9D}"/>
                </a:ext>
              </a:extLst>
            </p:cNvPr>
            <p:cNvSpPr txBox="1">
              <a:spLocks/>
            </p:cNvSpPr>
            <p:nvPr/>
          </p:nvSpPr>
          <p:spPr>
            <a:xfrm>
              <a:off x="930900" y="5748301"/>
              <a:ext cx="1407317" cy="593492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txBody>
            <a:bodyPr anchor="ctr"/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SzPct val="100000"/>
                <a:buFontTx/>
                <a:buNone/>
                <a:defRPr sz="1200" b="0" kern="120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1pPr>
              <a:lvl2pPr marL="1397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200" b="0" kern="1200" dirty="0" smtClean="0">
                  <a:solidFill>
                    <a:schemeClr val="tx1"/>
                  </a:solidFill>
                  <a:latin typeface="+mj-lt"/>
                  <a:ea typeface="+mn-ea"/>
                  <a:cs typeface="Calibri Light" panose="020F0302020204030204" pitchFamily="34" charset="0"/>
                </a:defRPr>
              </a:lvl2pPr>
              <a:lvl3pPr marL="3048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−"/>
                <a:defRPr lang="en-US" sz="1200" kern="120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3pPr>
              <a:lvl4pPr marL="4699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◦"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4pPr>
              <a:lvl5pPr marL="635000" indent="-139700" algn="l" defTabSz="798513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−"/>
                <a:tabLst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5pPr>
              <a:lvl6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hu-HU" sz="1400" b="1" dirty="0"/>
                <a:t>Társadalmi</a:t>
              </a:r>
              <a:endParaRPr lang="en-US" sz="1400" dirty="0"/>
            </a:p>
          </p:txBody>
        </p:sp>
        <p:sp>
          <p:nvSpPr>
            <p:cNvPr id="86" name="Text Placeholder 34">
              <a:extLst>
                <a:ext uri="{FF2B5EF4-FFF2-40B4-BE49-F238E27FC236}">
                  <a16:creationId xmlns:a16="http://schemas.microsoft.com/office/drawing/2014/main" id="{4223E226-875C-2877-C13B-04E0D5E500D8}"/>
                </a:ext>
              </a:extLst>
            </p:cNvPr>
            <p:cNvSpPr txBox="1">
              <a:spLocks/>
            </p:cNvSpPr>
            <p:nvPr/>
          </p:nvSpPr>
          <p:spPr>
            <a:xfrm>
              <a:off x="6821730" y="5742684"/>
              <a:ext cx="1407317" cy="593492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txBody>
            <a:bodyPr anchor="ctr"/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SzPct val="100000"/>
                <a:buFontTx/>
                <a:buNone/>
                <a:defRPr sz="1200" b="0" kern="120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1pPr>
              <a:lvl2pPr marL="1397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200" b="0" kern="1200" dirty="0" smtClean="0">
                  <a:solidFill>
                    <a:schemeClr val="tx1"/>
                  </a:solidFill>
                  <a:latin typeface="+mj-lt"/>
                  <a:ea typeface="+mn-ea"/>
                  <a:cs typeface="Calibri Light" panose="020F0302020204030204" pitchFamily="34" charset="0"/>
                </a:defRPr>
              </a:lvl2pPr>
              <a:lvl3pPr marL="3048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−"/>
                <a:defRPr lang="en-US" sz="1200" kern="120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3pPr>
              <a:lvl4pPr marL="4699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◦"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4pPr>
              <a:lvl5pPr marL="635000" indent="-139700" algn="l" defTabSz="798513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−"/>
                <a:tabLst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5pPr>
              <a:lvl6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hu-HU" sz="1400" b="1" dirty="0"/>
                <a:t>Regionális</a:t>
              </a:r>
              <a:endParaRPr lang="en-US" sz="1400" b="1" dirty="0"/>
            </a:p>
          </p:txBody>
        </p:sp>
        <p:sp>
          <p:nvSpPr>
            <p:cNvPr id="159" name="Text Placeholder 33">
              <a:extLst>
                <a:ext uri="{FF2B5EF4-FFF2-40B4-BE49-F238E27FC236}">
                  <a16:creationId xmlns:a16="http://schemas.microsoft.com/office/drawing/2014/main" id="{AB75AF01-9845-AAB7-B213-3567AF099FE7}"/>
                </a:ext>
              </a:extLst>
            </p:cNvPr>
            <p:cNvSpPr txBox="1">
              <a:spLocks/>
            </p:cNvSpPr>
            <p:nvPr/>
          </p:nvSpPr>
          <p:spPr>
            <a:xfrm>
              <a:off x="3876314" y="5748301"/>
              <a:ext cx="1407317" cy="593492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txBody>
            <a:bodyPr anchor="ctr"/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SzPct val="100000"/>
                <a:buFontTx/>
                <a:buNone/>
                <a:defRPr sz="1200" b="0" kern="120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1pPr>
              <a:lvl2pPr marL="1397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200" b="0" kern="1200" dirty="0" smtClean="0">
                  <a:solidFill>
                    <a:schemeClr val="tx1"/>
                  </a:solidFill>
                  <a:latin typeface="+mj-lt"/>
                  <a:ea typeface="+mn-ea"/>
                  <a:cs typeface="Calibri Light" panose="020F0302020204030204" pitchFamily="34" charset="0"/>
                </a:defRPr>
              </a:lvl2pPr>
              <a:lvl3pPr marL="3048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−"/>
                <a:defRPr lang="en-US" sz="1200" kern="120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3pPr>
              <a:lvl4pPr marL="4699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◦"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4pPr>
              <a:lvl5pPr marL="635000" indent="-139700" algn="l" defTabSz="798513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−"/>
                <a:tabLst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5pPr>
              <a:lvl6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hu-HU" sz="1400" b="1" dirty="0"/>
                <a:t>Gazdasági</a:t>
              </a:r>
              <a:endParaRPr lang="en-AU" sz="1400" b="1" dirty="0"/>
            </a:p>
          </p:txBody>
        </p:sp>
        <p:sp>
          <p:nvSpPr>
            <p:cNvPr id="160" name="Text Placeholder 34">
              <a:extLst>
                <a:ext uri="{FF2B5EF4-FFF2-40B4-BE49-F238E27FC236}">
                  <a16:creationId xmlns:a16="http://schemas.microsoft.com/office/drawing/2014/main" id="{ECA5E4E0-6566-F683-0D2F-415D35BE632A}"/>
                </a:ext>
              </a:extLst>
            </p:cNvPr>
            <p:cNvSpPr txBox="1">
              <a:spLocks/>
            </p:cNvSpPr>
            <p:nvPr/>
          </p:nvSpPr>
          <p:spPr>
            <a:xfrm>
              <a:off x="9767144" y="5742684"/>
              <a:ext cx="1407317" cy="593492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txBody>
            <a:bodyPr anchor="ctr"/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SzPct val="100000"/>
                <a:buFontTx/>
                <a:buNone/>
                <a:defRPr sz="1200" b="0" kern="120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1pPr>
              <a:lvl2pPr marL="1397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200" b="0" kern="1200" dirty="0" smtClean="0">
                  <a:solidFill>
                    <a:schemeClr val="tx1"/>
                  </a:solidFill>
                  <a:latin typeface="+mj-lt"/>
                  <a:ea typeface="+mn-ea"/>
                  <a:cs typeface="Calibri Light" panose="020F0302020204030204" pitchFamily="34" charset="0"/>
                </a:defRPr>
              </a:lvl2pPr>
              <a:lvl3pPr marL="3048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−"/>
                <a:defRPr lang="en-US" sz="1200" kern="120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3pPr>
              <a:lvl4pPr marL="4699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◦"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4pPr>
              <a:lvl5pPr marL="635000" indent="-139700" algn="l" defTabSz="798513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−"/>
                <a:tabLst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5pPr>
              <a:lvl6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hu-HU" sz="1400" b="1" dirty="0"/>
                <a:t>Politikai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685520122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AD2270-E335-4B25-9479-9641996328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7083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AD2270-E335-4B25-9479-964199632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CF5878-E500-4DEF-AB4F-0DA9187B5E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 pitchFamily="50" charset="0"/>
              <a:ea typeface="+mn-ea"/>
              <a:cs typeface="+mn-cs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22F353-239C-4F9C-9C2B-0006F1686A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hu-HU" dirty="0"/>
              <a:t>Rendszerintegráció a technológiában I.</a:t>
            </a:r>
            <a:endParaRPr lang="en-US" dirty="0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1179820-E7F2-4C85-A213-45371D280723}"/>
              </a:ext>
            </a:extLst>
          </p:cNvPr>
          <p:cNvSpPr/>
          <p:nvPr/>
        </p:nvSpPr>
        <p:spPr bwMode="gray">
          <a:xfrm>
            <a:off x="354180" y="1218056"/>
            <a:ext cx="11425723" cy="1655260"/>
          </a:xfrm>
          <a:prstGeom prst="rect">
            <a:avLst/>
          </a:prstGeom>
          <a:solidFill>
            <a:srgbClr val="F2F2F2"/>
          </a:solidFill>
          <a:ln w="19050" algn="ctr">
            <a:noFill/>
            <a:miter lim="800000"/>
            <a:headEnd/>
            <a:tailEnd/>
          </a:ln>
        </p:spPr>
        <p:txBody>
          <a:bodyPr wrap="square" lIns="65303" tIns="65303" rIns="65303" bIns="65303" rtlCol="0" anchor="ctr"/>
          <a:lstStyle/>
          <a:p>
            <a:pPr marL="0" marR="0" lvl="0" indent="0" algn="ctr" defTabSz="671718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75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 Book" charset="0"/>
              <a:ea typeface="ヒラギノ角ゴ ProN W3" charset="0"/>
              <a:cs typeface="+mn-cs"/>
              <a:sym typeface="Gotham Book" charset="0"/>
            </a:endParaRPr>
          </a:p>
        </p:txBody>
      </p:sp>
      <p:sp>
        <p:nvSpPr>
          <p:cNvPr id="72" name="AutoShape 12">
            <a:extLst>
              <a:ext uri="{FF2B5EF4-FFF2-40B4-BE49-F238E27FC236}">
                <a16:creationId xmlns:a16="http://schemas.microsoft.com/office/drawing/2014/main" id="{1EB6104C-9D38-4057-8FE4-F2D4DC3C1DD0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4855369" y="-3170515"/>
            <a:ext cx="2481264" cy="11425726"/>
          </a:xfrm>
          <a:prstGeom prst="homePlate">
            <a:avLst>
              <a:gd name="adj" fmla="val 100000"/>
            </a:avLst>
          </a:prstGeom>
          <a:solidFill>
            <a:srgbClr val="F2F2F2"/>
          </a:solidFill>
          <a:ln w="6350" algn="ctr">
            <a:noFill/>
            <a:miter lim="800000"/>
            <a:headEnd/>
            <a:tailEnd/>
          </a:ln>
        </p:spPr>
        <p:txBody>
          <a:bodyPr wrap="square" lIns="65303" tIns="65303" rIns="65303" bIns="65303" anchor="ctr"/>
          <a:lstStyle/>
          <a:p>
            <a:pPr marL="0" marR="0" lvl="0" indent="0" algn="ctr" defTabSz="6717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28" b="0" i="0" u="none" strike="noStrike" kern="1200" cap="none" spc="0" normalizeH="0" baseline="0" noProof="0" dirty="0">
              <a:ln>
                <a:noFill/>
              </a:ln>
              <a:solidFill>
                <a:srgbClr val="343434"/>
              </a:solidFill>
              <a:effectLst/>
              <a:uLnTx/>
              <a:uFillTx/>
              <a:latin typeface="Gotham Book" charset="0"/>
              <a:ea typeface="ヒラギノ角ゴ ProN W3" charset="0"/>
              <a:cs typeface="+mn-cs"/>
              <a:sym typeface="Gotham Book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41B2F016-3973-4880-B91C-7978ADE650BD}"/>
              </a:ext>
            </a:extLst>
          </p:cNvPr>
          <p:cNvSpPr txBox="1"/>
          <p:nvPr/>
        </p:nvSpPr>
        <p:spPr>
          <a:xfrm>
            <a:off x="582061" y="2422953"/>
            <a:ext cx="250423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142609" rtl="0" eaLnBrk="1" fontAlgn="auto" latinLnBrk="0" hangingPunct="1">
              <a:lnSpc>
                <a:spcPct val="100000"/>
              </a:lnSpc>
              <a:spcBef>
                <a:spcPts val="562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hu-HU" b="1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ea typeface="ヒラギノ角ゴ ProN W3" charset="0"/>
                <a:cs typeface="+mn-cs"/>
                <a:sym typeface="Gotham Book" charset="0"/>
              </a:rPr>
              <a:t>Rendszer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ea typeface="ヒラギノ角ゴ ProN W3" charset="0"/>
              <a:cs typeface="+mn-cs"/>
              <a:sym typeface="Gotham Book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74AA53EA-B607-4FBC-B116-F7170BF0F010}"/>
              </a:ext>
            </a:extLst>
          </p:cNvPr>
          <p:cNvSpPr txBox="1"/>
          <p:nvPr/>
        </p:nvSpPr>
        <p:spPr>
          <a:xfrm>
            <a:off x="8928982" y="2422956"/>
            <a:ext cx="250423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 defTabSz="1142609">
              <a:spcBef>
                <a:spcPts val="562"/>
              </a:spcBef>
              <a:buSzPct val="100000"/>
              <a:defRPr/>
            </a:pPr>
            <a:r>
              <a:rPr lang="hu-HU" b="1" kern="0" dirty="0">
                <a:solidFill>
                  <a:schemeClr val="accent3"/>
                </a:solidFill>
                <a:ea typeface="ヒラギノ角ゴ ProN W3" charset="0"/>
                <a:sym typeface="Gotham Book" charset="0"/>
              </a:rPr>
              <a:t>Szoftver</a:t>
            </a:r>
            <a:endParaRPr lang="en-US" b="1" kern="0" dirty="0">
              <a:solidFill>
                <a:schemeClr val="accent3"/>
              </a:solidFill>
              <a:ea typeface="ヒラギノ角ゴ ProN W3" charset="0"/>
              <a:sym typeface="Gotham Book" charset="0"/>
            </a:endParaRPr>
          </a:p>
        </p:txBody>
      </p: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CF11CC7D-FFC0-4BF1-A5E8-C1618E72F2DC}"/>
              </a:ext>
            </a:extLst>
          </p:cNvPr>
          <p:cNvCxnSpPr/>
          <p:nvPr/>
        </p:nvCxnSpPr>
        <p:spPr>
          <a:xfrm>
            <a:off x="412097" y="1773317"/>
            <a:ext cx="906377" cy="0"/>
          </a:xfrm>
          <a:prstGeom prst="line">
            <a:avLst/>
          </a:prstGeom>
          <a:noFill/>
          <a:ln w="9525" cap="flat" cmpd="sng" algn="ctr">
            <a:solidFill>
              <a:srgbClr val="53565A"/>
            </a:solidFill>
            <a:prstDash val="dash"/>
          </a:ln>
          <a:effectLst/>
        </p:spPr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8231BDE8-2A3F-488A-90E7-45BF40F7FFC2}"/>
              </a:ext>
            </a:extLst>
          </p:cNvPr>
          <p:cNvCxnSpPr>
            <a:cxnSpLocks/>
          </p:cNvCxnSpPr>
          <p:nvPr/>
        </p:nvCxnSpPr>
        <p:spPr>
          <a:xfrm>
            <a:off x="2368900" y="1773317"/>
            <a:ext cx="3234919" cy="0"/>
          </a:xfrm>
          <a:prstGeom prst="line">
            <a:avLst/>
          </a:prstGeom>
          <a:noFill/>
          <a:ln w="9525" cap="flat" cmpd="sng" algn="ctr">
            <a:solidFill>
              <a:srgbClr val="53565A"/>
            </a:solidFill>
            <a:prstDash val="dash"/>
          </a:ln>
          <a:effectLst/>
        </p:spPr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3CE3B8CB-062A-41B2-91A7-EBD688EDA8FD}"/>
              </a:ext>
            </a:extLst>
          </p:cNvPr>
          <p:cNvSpPr txBox="1"/>
          <p:nvPr/>
        </p:nvSpPr>
        <p:spPr>
          <a:xfrm>
            <a:off x="4863048" y="2422953"/>
            <a:ext cx="250423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 defTabSz="1142609">
              <a:spcBef>
                <a:spcPts val="562"/>
              </a:spcBef>
              <a:buSzPct val="100000"/>
              <a:defRPr/>
            </a:pPr>
            <a:r>
              <a:rPr lang="hu-HU" b="1" kern="0" dirty="0">
                <a:solidFill>
                  <a:schemeClr val="accent3"/>
                </a:solidFill>
                <a:ea typeface="ヒラギノ角ゴ ProN W3" charset="0"/>
                <a:sym typeface="Gotham Book" charset="0"/>
              </a:rPr>
              <a:t>Alkalmazás</a:t>
            </a:r>
            <a:endParaRPr lang="en-US" b="1" kern="0" dirty="0">
              <a:solidFill>
                <a:schemeClr val="accent3"/>
              </a:solidFill>
              <a:ea typeface="ヒラギノ角ゴ ProN W3" charset="0"/>
              <a:sym typeface="Gotham Book" charset="0"/>
            </a:endParaRP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6D1200C9-41D3-40A9-9028-0DE19FEC8607}"/>
              </a:ext>
            </a:extLst>
          </p:cNvPr>
          <p:cNvCxnSpPr>
            <a:cxnSpLocks/>
          </p:cNvCxnSpPr>
          <p:nvPr/>
        </p:nvCxnSpPr>
        <p:spPr>
          <a:xfrm flipV="1">
            <a:off x="6638791" y="1762487"/>
            <a:ext cx="3091863" cy="10830"/>
          </a:xfrm>
          <a:prstGeom prst="line">
            <a:avLst/>
          </a:prstGeom>
          <a:noFill/>
          <a:ln w="9525" cap="flat" cmpd="sng" algn="ctr">
            <a:solidFill>
              <a:srgbClr val="53565A"/>
            </a:solidFill>
            <a:prstDash val="dash"/>
          </a:ln>
          <a:effectLst/>
        </p:spPr>
      </p:cxnSp>
      <p:pic>
        <p:nvPicPr>
          <p:cNvPr id="13" name="Picture 4" descr="KÃ©ptalÃ¡lat a kÃ¶vetkezÅre: ânuclear fission pictureâ">
            <a:extLst>
              <a:ext uri="{FF2B5EF4-FFF2-40B4-BE49-F238E27FC236}">
                <a16:creationId xmlns:a16="http://schemas.microsoft.com/office/drawing/2014/main" id="{A3C5AA7D-AF2C-5432-6977-C2F415B6B8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6220" y="3869049"/>
            <a:ext cx="3297885" cy="207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80F5BC7-9644-8D7A-5694-B88D095D0578}"/>
              </a:ext>
            </a:extLst>
          </p:cNvPr>
          <p:cNvSpPr/>
          <p:nvPr/>
        </p:nvSpPr>
        <p:spPr bwMode="gray">
          <a:xfrm>
            <a:off x="4466220" y="3869049"/>
            <a:ext cx="3297885" cy="2070338"/>
          </a:xfrm>
          <a:prstGeom prst="rect">
            <a:avLst/>
          </a:prstGeom>
          <a:noFill/>
          <a:ln w="3810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 defTabSz="685800"/>
            <a:endParaRPr lang="hu-HU" sz="1350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7AC3986-738C-3379-F782-B5CA1517BA72}"/>
              </a:ext>
            </a:extLst>
          </p:cNvPr>
          <p:cNvSpPr/>
          <p:nvPr/>
        </p:nvSpPr>
        <p:spPr bwMode="gray">
          <a:xfrm>
            <a:off x="1115600" y="3994553"/>
            <a:ext cx="2870759" cy="161485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91440" tIns="91440" rIns="91440" bIns="91440" rtlCol="0" anchor="t"/>
          <a:lstStyle/>
          <a:p>
            <a:r>
              <a:rPr lang="hu-HU" b="1" dirty="0"/>
              <a:t>Korai bekebelezés után </a:t>
            </a:r>
          </a:p>
          <a:p>
            <a:r>
              <a:rPr lang="hu-HU" b="1" dirty="0"/>
              <a:t>funkcionálisan osztódás </a:t>
            </a:r>
          </a:p>
          <a:p>
            <a:r>
              <a:rPr lang="hu-HU" b="1" dirty="0"/>
              <a:t>az alkalmazások evolúciója </a:t>
            </a:r>
            <a:br>
              <a:rPr lang="hu-HU" b="1" dirty="0"/>
            </a:br>
            <a:r>
              <a:rPr lang="hu-HU" b="1" dirty="0"/>
              <a:t>során.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EADA788-AF44-6BE9-FE88-005A4C2D87E7}"/>
              </a:ext>
            </a:extLst>
          </p:cNvPr>
          <p:cNvSpPr/>
          <p:nvPr/>
        </p:nvSpPr>
        <p:spPr bwMode="gray">
          <a:xfrm>
            <a:off x="1428937" y="5513702"/>
            <a:ext cx="2252494" cy="73055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91440" tIns="91440" r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" name="Graphic 4">
            <a:extLst>
              <a:ext uri="{FF2B5EF4-FFF2-40B4-BE49-F238E27FC236}">
                <a16:creationId xmlns:a16="http://schemas.microsoft.com/office/drawing/2014/main" id="{314250F8-CCBD-F15E-9E2D-ABE663A4AC3F}"/>
              </a:ext>
            </a:extLst>
          </p:cNvPr>
          <p:cNvSpPr/>
          <p:nvPr/>
        </p:nvSpPr>
        <p:spPr>
          <a:xfrm>
            <a:off x="3805522" y="1596098"/>
            <a:ext cx="361674" cy="361333"/>
          </a:xfrm>
          <a:custGeom>
            <a:avLst/>
            <a:gdLst>
              <a:gd name="connsiteX0" fmla="*/ 180835 w 361674"/>
              <a:gd name="connsiteY0" fmla="*/ 0 h 361333"/>
              <a:gd name="connsiteX1" fmla="*/ 0 w 361674"/>
              <a:gd name="connsiteY1" fmla="*/ 180667 h 361333"/>
              <a:gd name="connsiteX2" fmla="*/ 180835 w 361674"/>
              <a:gd name="connsiteY2" fmla="*/ 361333 h 361333"/>
              <a:gd name="connsiteX3" fmla="*/ 361670 w 361674"/>
              <a:gd name="connsiteY3" fmla="*/ 180667 h 361333"/>
              <a:gd name="connsiteX4" fmla="*/ 180835 w 361674"/>
              <a:gd name="connsiteY4" fmla="*/ 0 h 361333"/>
              <a:gd name="connsiteX5" fmla="*/ 265821 w 361674"/>
              <a:gd name="connsiteY5" fmla="*/ 229823 h 361333"/>
              <a:gd name="connsiteX6" fmla="*/ 96488 w 361674"/>
              <a:gd name="connsiteY6" fmla="*/ 229823 h 361333"/>
              <a:gd name="connsiteX7" fmla="*/ 90098 w 361674"/>
              <a:gd name="connsiteY7" fmla="*/ 223439 h 361333"/>
              <a:gd name="connsiteX8" fmla="*/ 96488 w 361674"/>
              <a:gd name="connsiteY8" fmla="*/ 217055 h 361333"/>
              <a:gd name="connsiteX9" fmla="*/ 265821 w 361674"/>
              <a:gd name="connsiteY9" fmla="*/ 217055 h 361333"/>
              <a:gd name="connsiteX10" fmla="*/ 272211 w 361674"/>
              <a:gd name="connsiteY10" fmla="*/ 223439 h 361333"/>
              <a:gd name="connsiteX11" fmla="*/ 265821 w 361674"/>
              <a:gd name="connsiteY11" fmla="*/ 229823 h 361333"/>
              <a:gd name="connsiteX12" fmla="*/ 265821 w 361674"/>
              <a:gd name="connsiteY12" fmla="*/ 145555 h 361333"/>
              <a:gd name="connsiteX13" fmla="*/ 96488 w 361674"/>
              <a:gd name="connsiteY13" fmla="*/ 145555 h 361333"/>
              <a:gd name="connsiteX14" fmla="*/ 90098 w 361674"/>
              <a:gd name="connsiteY14" fmla="*/ 139171 h 361333"/>
              <a:gd name="connsiteX15" fmla="*/ 96488 w 361674"/>
              <a:gd name="connsiteY15" fmla="*/ 132787 h 361333"/>
              <a:gd name="connsiteX16" fmla="*/ 265821 w 361674"/>
              <a:gd name="connsiteY16" fmla="*/ 132787 h 361333"/>
              <a:gd name="connsiteX17" fmla="*/ 272211 w 361674"/>
              <a:gd name="connsiteY17" fmla="*/ 139171 h 361333"/>
              <a:gd name="connsiteX18" fmla="*/ 265821 w 361674"/>
              <a:gd name="connsiteY18" fmla="*/ 145555 h 361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61674" h="361333">
                <a:moveTo>
                  <a:pt x="180835" y="0"/>
                </a:moveTo>
                <a:cubicBezTo>
                  <a:pt x="80513" y="0"/>
                  <a:pt x="0" y="81077"/>
                  <a:pt x="0" y="180667"/>
                </a:cubicBezTo>
                <a:cubicBezTo>
                  <a:pt x="0" y="280895"/>
                  <a:pt x="81152" y="361333"/>
                  <a:pt x="180835" y="361333"/>
                </a:cubicBezTo>
                <a:cubicBezTo>
                  <a:pt x="280518" y="361333"/>
                  <a:pt x="361670" y="280257"/>
                  <a:pt x="361670" y="180667"/>
                </a:cubicBezTo>
                <a:cubicBezTo>
                  <a:pt x="362309" y="81077"/>
                  <a:pt x="281157" y="0"/>
                  <a:pt x="180835" y="0"/>
                </a:cubicBezTo>
                <a:close/>
                <a:moveTo>
                  <a:pt x="265821" y="229823"/>
                </a:moveTo>
                <a:lnTo>
                  <a:pt x="96488" y="229823"/>
                </a:lnTo>
                <a:cubicBezTo>
                  <a:pt x="92654" y="229823"/>
                  <a:pt x="90098" y="227270"/>
                  <a:pt x="90098" y="223439"/>
                </a:cubicBezTo>
                <a:cubicBezTo>
                  <a:pt x="90098" y="219609"/>
                  <a:pt x="92654" y="217055"/>
                  <a:pt x="96488" y="217055"/>
                </a:cubicBezTo>
                <a:lnTo>
                  <a:pt x="265821" y="217055"/>
                </a:lnTo>
                <a:cubicBezTo>
                  <a:pt x="269655" y="217055"/>
                  <a:pt x="272211" y="219609"/>
                  <a:pt x="272211" y="223439"/>
                </a:cubicBezTo>
                <a:cubicBezTo>
                  <a:pt x="272211" y="227270"/>
                  <a:pt x="269016" y="229823"/>
                  <a:pt x="265821" y="229823"/>
                </a:cubicBezTo>
                <a:close/>
                <a:moveTo>
                  <a:pt x="265821" y="145555"/>
                </a:moveTo>
                <a:lnTo>
                  <a:pt x="96488" y="145555"/>
                </a:lnTo>
                <a:cubicBezTo>
                  <a:pt x="92654" y="145555"/>
                  <a:pt x="90098" y="143001"/>
                  <a:pt x="90098" y="139171"/>
                </a:cubicBezTo>
                <a:cubicBezTo>
                  <a:pt x="90098" y="135341"/>
                  <a:pt x="92654" y="132787"/>
                  <a:pt x="96488" y="132787"/>
                </a:cubicBezTo>
                <a:lnTo>
                  <a:pt x="265821" y="132787"/>
                </a:lnTo>
                <a:cubicBezTo>
                  <a:pt x="269655" y="132787"/>
                  <a:pt x="272211" y="135341"/>
                  <a:pt x="272211" y="139171"/>
                </a:cubicBezTo>
                <a:cubicBezTo>
                  <a:pt x="272211" y="143001"/>
                  <a:pt x="269016" y="145555"/>
                  <a:pt x="265821" y="145555"/>
                </a:cubicBezTo>
                <a:close/>
              </a:path>
            </a:pathLst>
          </a:custGeom>
          <a:solidFill>
            <a:schemeClr val="accent1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" name="Graphic 4">
            <a:extLst>
              <a:ext uri="{FF2B5EF4-FFF2-40B4-BE49-F238E27FC236}">
                <a16:creationId xmlns:a16="http://schemas.microsoft.com/office/drawing/2014/main" id="{20F46424-16AD-C740-B5CE-97F32324EE3C}"/>
              </a:ext>
            </a:extLst>
          </p:cNvPr>
          <p:cNvSpPr/>
          <p:nvPr/>
        </p:nvSpPr>
        <p:spPr>
          <a:xfrm>
            <a:off x="7958454" y="1596099"/>
            <a:ext cx="361674" cy="361333"/>
          </a:xfrm>
          <a:custGeom>
            <a:avLst/>
            <a:gdLst>
              <a:gd name="connsiteX0" fmla="*/ 180835 w 361674"/>
              <a:gd name="connsiteY0" fmla="*/ 0 h 361333"/>
              <a:gd name="connsiteX1" fmla="*/ 0 w 361674"/>
              <a:gd name="connsiteY1" fmla="*/ 180667 h 361333"/>
              <a:gd name="connsiteX2" fmla="*/ 180835 w 361674"/>
              <a:gd name="connsiteY2" fmla="*/ 361333 h 361333"/>
              <a:gd name="connsiteX3" fmla="*/ 361670 w 361674"/>
              <a:gd name="connsiteY3" fmla="*/ 180667 h 361333"/>
              <a:gd name="connsiteX4" fmla="*/ 180835 w 361674"/>
              <a:gd name="connsiteY4" fmla="*/ 0 h 361333"/>
              <a:gd name="connsiteX5" fmla="*/ 265821 w 361674"/>
              <a:gd name="connsiteY5" fmla="*/ 229823 h 361333"/>
              <a:gd name="connsiteX6" fmla="*/ 96488 w 361674"/>
              <a:gd name="connsiteY6" fmla="*/ 229823 h 361333"/>
              <a:gd name="connsiteX7" fmla="*/ 90098 w 361674"/>
              <a:gd name="connsiteY7" fmla="*/ 223439 h 361333"/>
              <a:gd name="connsiteX8" fmla="*/ 96488 w 361674"/>
              <a:gd name="connsiteY8" fmla="*/ 217055 h 361333"/>
              <a:gd name="connsiteX9" fmla="*/ 265821 w 361674"/>
              <a:gd name="connsiteY9" fmla="*/ 217055 h 361333"/>
              <a:gd name="connsiteX10" fmla="*/ 272211 w 361674"/>
              <a:gd name="connsiteY10" fmla="*/ 223439 h 361333"/>
              <a:gd name="connsiteX11" fmla="*/ 265821 w 361674"/>
              <a:gd name="connsiteY11" fmla="*/ 229823 h 361333"/>
              <a:gd name="connsiteX12" fmla="*/ 265821 w 361674"/>
              <a:gd name="connsiteY12" fmla="*/ 145555 h 361333"/>
              <a:gd name="connsiteX13" fmla="*/ 96488 w 361674"/>
              <a:gd name="connsiteY13" fmla="*/ 145555 h 361333"/>
              <a:gd name="connsiteX14" fmla="*/ 90098 w 361674"/>
              <a:gd name="connsiteY14" fmla="*/ 139171 h 361333"/>
              <a:gd name="connsiteX15" fmla="*/ 96488 w 361674"/>
              <a:gd name="connsiteY15" fmla="*/ 132787 h 361333"/>
              <a:gd name="connsiteX16" fmla="*/ 265821 w 361674"/>
              <a:gd name="connsiteY16" fmla="*/ 132787 h 361333"/>
              <a:gd name="connsiteX17" fmla="*/ 272211 w 361674"/>
              <a:gd name="connsiteY17" fmla="*/ 139171 h 361333"/>
              <a:gd name="connsiteX18" fmla="*/ 265821 w 361674"/>
              <a:gd name="connsiteY18" fmla="*/ 145555 h 361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61674" h="361333">
                <a:moveTo>
                  <a:pt x="180835" y="0"/>
                </a:moveTo>
                <a:cubicBezTo>
                  <a:pt x="80513" y="0"/>
                  <a:pt x="0" y="81077"/>
                  <a:pt x="0" y="180667"/>
                </a:cubicBezTo>
                <a:cubicBezTo>
                  <a:pt x="0" y="280895"/>
                  <a:pt x="81152" y="361333"/>
                  <a:pt x="180835" y="361333"/>
                </a:cubicBezTo>
                <a:cubicBezTo>
                  <a:pt x="280518" y="361333"/>
                  <a:pt x="361670" y="280257"/>
                  <a:pt x="361670" y="180667"/>
                </a:cubicBezTo>
                <a:cubicBezTo>
                  <a:pt x="362309" y="81077"/>
                  <a:pt x="281157" y="0"/>
                  <a:pt x="180835" y="0"/>
                </a:cubicBezTo>
                <a:close/>
                <a:moveTo>
                  <a:pt x="265821" y="229823"/>
                </a:moveTo>
                <a:lnTo>
                  <a:pt x="96488" y="229823"/>
                </a:lnTo>
                <a:cubicBezTo>
                  <a:pt x="92654" y="229823"/>
                  <a:pt x="90098" y="227270"/>
                  <a:pt x="90098" y="223439"/>
                </a:cubicBezTo>
                <a:cubicBezTo>
                  <a:pt x="90098" y="219609"/>
                  <a:pt x="92654" y="217055"/>
                  <a:pt x="96488" y="217055"/>
                </a:cubicBezTo>
                <a:lnTo>
                  <a:pt x="265821" y="217055"/>
                </a:lnTo>
                <a:cubicBezTo>
                  <a:pt x="269655" y="217055"/>
                  <a:pt x="272211" y="219609"/>
                  <a:pt x="272211" y="223439"/>
                </a:cubicBezTo>
                <a:cubicBezTo>
                  <a:pt x="272211" y="227270"/>
                  <a:pt x="269016" y="229823"/>
                  <a:pt x="265821" y="229823"/>
                </a:cubicBezTo>
                <a:close/>
                <a:moveTo>
                  <a:pt x="265821" y="145555"/>
                </a:moveTo>
                <a:lnTo>
                  <a:pt x="96488" y="145555"/>
                </a:lnTo>
                <a:cubicBezTo>
                  <a:pt x="92654" y="145555"/>
                  <a:pt x="90098" y="143001"/>
                  <a:pt x="90098" y="139171"/>
                </a:cubicBezTo>
                <a:cubicBezTo>
                  <a:pt x="90098" y="135341"/>
                  <a:pt x="92654" y="132787"/>
                  <a:pt x="96488" y="132787"/>
                </a:cubicBezTo>
                <a:lnTo>
                  <a:pt x="265821" y="132787"/>
                </a:lnTo>
                <a:cubicBezTo>
                  <a:pt x="269655" y="132787"/>
                  <a:pt x="272211" y="135341"/>
                  <a:pt x="272211" y="139171"/>
                </a:cubicBezTo>
                <a:cubicBezTo>
                  <a:pt x="272211" y="143001"/>
                  <a:pt x="269016" y="145555"/>
                  <a:pt x="265821" y="145555"/>
                </a:cubicBezTo>
                <a:close/>
              </a:path>
            </a:pathLst>
          </a:custGeom>
          <a:solidFill>
            <a:schemeClr val="accent1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F536E79-081A-CDE7-B09D-7303EB3517CC}"/>
              </a:ext>
            </a:extLst>
          </p:cNvPr>
          <p:cNvSpPr/>
          <p:nvPr/>
        </p:nvSpPr>
        <p:spPr bwMode="gray">
          <a:xfrm>
            <a:off x="8439754" y="3994556"/>
            <a:ext cx="2870759" cy="161485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91440" tIns="91440" rIns="91440" bIns="91440" rtlCol="0" anchor="t"/>
          <a:lstStyle/>
          <a:p>
            <a:r>
              <a:rPr lang="hu-HU" b="1" dirty="0"/>
              <a:t>A sok-sok funkcionálisan szétrepülő példánykapcsolat (vezérlés, információmegosztás)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6299AD4-CB11-983B-40CD-72D1F9917610}"/>
              </a:ext>
            </a:extLst>
          </p:cNvPr>
          <p:cNvSpPr/>
          <p:nvPr/>
        </p:nvSpPr>
        <p:spPr bwMode="gray">
          <a:xfrm>
            <a:off x="8753091" y="5513702"/>
            <a:ext cx="2252494" cy="73055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91440" tIns="91440" r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0" name="Graphic 1100">
            <a:extLst>
              <a:ext uri="{FF2B5EF4-FFF2-40B4-BE49-F238E27FC236}">
                <a16:creationId xmlns:a16="http://schemas.microsoft.com/office/drawing/2014/main" id="{8F261D9A-3A43-63E6-82C9-D13B3C574D62}"/>
              </a:ext>
            </a:extLst>
          </p:cNvPr>
          <p:cNvSpPr/>
          <p:nvPr/>
        </p:nvSpPr>
        <p:spPr>
          <a:xfrm>
            <a:off x="1341995" y="1275339"/>
            <a:ext cx="984362" cy="983443"/>
          </a:xfrm>
          <a:custGeom>
            <a:avLst/>
            <a:gdLst>
              <a:gd name="connsiteX0" fmla="*/ 181474 w 362309"/>
              <a:gd name="connsiteY0" fmla="*/ 0 h 361971"/>
              <a:gd name="connsiteX1" fmla="*/ 0 w 362309"/>
              <a:gd name="connsiteY1" fmla="*/ 180667 h 361971"/>
              <a:gd name="connsiteX2" fmla="*/ 180835 w 362309"/>
              <a:gd name="connsiteY2" fmla="*/ 361972 h 361971"/>
              <a:gd name="connsiteX3" fmla="*/ 362309 w 362309"/>
              <a:gd name="connsiteY3" fmla="*/ 181305 h 361971"/>
              <a:gd name="connsiteX4" fmla="*/ 362309 w 362309"/>
              <a:gd name="connsiteY4" fmla="*/ 181305 h 361971"/>
              <a:gd name="connsiteX5" fmla="*/ 181474 w 362309"/>
              <a:gd name="connsiteY5" fmla="*/ 0 h 361971"/>
              <a:gd name="connsiteX6" fmla="*/ 181474 w 362309"/>
              <a:gd name="connsiteY6" fmla="*/ 349204 h 361971"/>
              <a:gd name="connsiteX7" fmla="*/ 12780 w 362309"/>
              <a:gd name="connsiteY7" fmla="*/ 181305 h 361971"/>
              <a:gd name="connsiteX8" fmla="*/ 180835 w 362309"/>
              <a:gd name="connsiteY8" fmla="*/ 12768 h 361971"/>
              <a:gd name="connsiteX9" fmla="*/ 349529 w 362309"/>
              <a:gd name="connsiteY9" fmla="*/ 180667 h 361971"/>
              <a:gd name="connsiteX10" fmla="*/ 349529 w 362309"/>
              <a:gd name="connsiteY10" fmla="*/ 180667 h 361971"/>
              <a:gd name="connsiteX11" fmla="*/ 181474 w 362309"/>
              <a:gd name="connsiteY11" fmla="*/ 349204 h 361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62309" h="361971">
                <a:moveTo>
                  <a:pt x="181474" y="0"/>
                </a:moveTo>
                <a:cubicBezTo>
                  <a:pt x="81152" y="0"/>
                  <a:pt x="0" y="81076"/>
                  <a:pt x="0" y="180667"/>
                </a:cubicBezTo>
                <a:cubicBezTo>
                  <a:pt x="0" y="280895"/>
                  <a:pt x="81152" y="361972"/>
                  <a:pt x="180835" y="361972"/>
                </a:cubicBezTo>
                <a:cubicBezTo>
                  <a:pt x="281157" y="361972"/>
                  <a:pt x="362309" y="280895"/>
                  <a:pt x="362309" y="181305"/>
                </a:cubicBezTo>
                <a:cubicBezTo>
                  <a:pt x="362309" y="181305"/>
                  <a:pt x="362309" y="181305"/>
                  <a:pt x="362309" y="181305"/>
                </a:cubicBezTo>
                <a:cubicBezTo>
                  <a:pt x="362309" y="81076"/>
                  <a:pt x="281157" y="0"/>
                  <a:pt x="181474" y="0"/>
                </a:cubicBezTo>
                <a:close/>
                <a:moveTo>
                  <a:pt x="181474" y="349204"/>
                </a:moveTo>
                <a:cubicBezTo>
                  <a:pt x="88181" y="349204"/>
                  <a:pt x="12780" y="273873"/>
                  <a:pt x="12780" y="181305"/>
                </a:cubicBezTo>
                <a:cubicBezTo>
                  <a:pt x="12780" y="88737"/>
                  <a:pt x="88181" y="12768"/>
                  <a:pt x="180835" y="12768"/>
                </a:cubicBezTo>
                <a:cubicBezTo>
                  <a:pt x="274128" y="12768"/>
                  <a:pt x="349529" y="88099"/>
                  <a:pt x="349529" y="180667"/>
                </a:cubicBezTo>
                <a:cubicBezTo>
                  <a:pt x="349529" y="180667"/>
                  <a:pt x="349529" y="180667"/>
                  <a:pt x="349529" y="180667"/>
                </a:cubicBezTo>
                <a:cubicBezTo>
                  <a:pt x="349529" y="273234"/>
                  <a:pt x="274128" y="348565"/>
                  <a:pt x="181474" y="349204"/>
                </a:cubicBezTo>
                <a:close/>
              </a:path>
            </a:pathLst>
          </a:custGeom>
          <a:solidFill>
            <a:schemeClr val="accent3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Graphic 1100">
            <a:extLst>
              <a:ext uri="{FF2B5EF4-FFF2-40B4-BE49-F238E27FC236}">
                <a16:creationId xmlns:a16="http://schemas.microsoft.com/office/drawing/2014/main" id="{C580A9E0-D40A-4514-877B-994F376D3158}"/>
              </a:ext>
            </a:extLst>
          </p:cNvPr>
          <p:cNvSpPr/>
          <p:nvPr/>
        </p:nvSpPr>
        <p:spPr>
          <a:xfrm>
            <a:off x="1578103" y="1471334"/>
            <a:ext cx="512146" cy="589719"/>
          </a:xfrm>
          <a:custGeom>
            <a:avLst/>
            <a:gdLst>
              <a:gd name="connsiteX0" fmla="*/ 182113 w 188503"/>
              <a:gd name="connsiteY0" fmla="*/ 638 h 217055"/>
              <a:gd name="connsiteX1" fmla="*/ 6390 w 188503"/>
              <a:gd name="connsiteY1" fmla="*/ 0 h 217055"/>
              <a:gd name="connsiteX2" fmla="*/ 6390 w 188503"/>
              <a:gd name="connsiteY2" fmla="*/ 0 h 217055"/>
              <a:gd name="connsiteX3" fmla="*/ 0 w 188503"/>
              <a:gd name="connsiteY3" fmla="*/ 6384 h 217055"/>
              <a:gd name="connsiteX4" fmla="*/ 0 w 188503"/>
              <a:gd name="connsiteY4" fmla="*/ 210671 h 217055"/>
              <a:gd name="connsiteX5" fmla="*/ 6390 w 188503"/>
              <a:gd name="connsiteY5" fmla="*/ 217055 h 217055"/>
              <a:gd name="connsiteX6" fmla="*/ 182113 w 188503"/>
              <a:gd name="connsiteY6" fmla="*/ 217055 h 217055"/>
              <a:gd name="connsiteX7" fmla="*/ 188503 w 188503"/>
              <a:gd name="connsiteY7" fmla="*/ 210671 h 217055"/>
              <a:gd name="connsiteX8" fmla="*/ 188503 w 188503"/>
              <a:gd name="connsiteY8" fmla="*/ 7022 h 217055"/>
              <a:gd name="connsiteX9" fmla="*/ 182113 w 188503"/>
              <a:gd name="connsiteY9" fmla="*/ 638 h 217055"/>
              <a:gd name="connsiteX10" fmla="*/ 12780 w 188503"/>
              <a:gd name="connsiteY10" fmla="*/ 81077 h 217055"/>
              <a:gd name="connsiteX11" fmla="*/ 175723 w 188503"/>
              <a:gd name="connsiteY11" fmla="*/ 81077 h 217055"/>
              <a:gd name="connsiteX12" fmla="*/ 175723 w 188503"/>
              <a:gd name="connsiteY12" fmla="*/ 136617 h 217055"/>
              <a:gd name="connsiteX13" fmla="*/ 12780 w 188503"/>
              <a:gd name="connsiteY13" fmla="*/ 136617 h 217055"/>
              <a:gd name="connsiteX14" fmla="*/ 12780 w 188503"/>
              <a:gd name="connsiteY14" fmla="*/ 81077 h 217055"/>
              <a:gd name="connsiteX15" fmla="*/ 33867 w 188503"/>
              <a:gd name="connsiteY15" fmla="*/ 12768 h 217055"/>
              <a:gd name="connsiteX16" fmla="*/ 175723 w 188503"/>
              <a:gd name="connsiteY16" fmla="*/ 13406 h 217055"/>
              <a:gd name="connsiteX17" fmla="*/ 175723 w 188503"/>
              <a:gd name="connsiteY17" fmla="*/ 68309 h 217055"/>
              <a:gd name="connsiteX18" fmla="*/ 12780 w 188503"/>
              <a:gd name="connsiteY18" fmla="*/ 68309 h 217055"/>
              <a:gd name="connsiteX19" fmla="*/ 12780 w 188503"/>
              <a:gd name="connsiteY19" fmla="*/ 12768 h 217055"/>
              <a:gd name="connsiteX20" fmla="*/ 33867 w 188503"/>
              <a:gd name="connsiteY20" fmla="*/ 12768 h 217055"/>
              <a:gd name="connsiteX21" fmla="*/ 12780 w 188503"/>
              <a:gd name="connsiteY21" fmla="*/ 204287 h 217055"/>
              <a:gd name="connsiteX22" fmla="*/ 12780 w 188503"/>
              <a:gd name="connsiteY22" fmla="*/ 148747 h 217055"/>
              <a:gd name="connsiteX23" fmla="*/ 175723 w 188503"/>
              <a:gd name="connsiteY23" fmla="*/ 148747 h 217055"/>
              <a:gd name="connsiteX24" fmla="*/ 175723 w 188503"/>
              <a:gd name="connsiteY24" fmla="*/ 204287 h 217055"/>
              <a:gd name="connsiteX25" fmla="*/ 12780 w 188503"/>
              <a:gd name="connsiteY25" fmla="*/ 204287 h 217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88503" h="217055">
                <a:moveTo>
                  <a:pt x="182113" y="638"/>
                </a:moveTo>
                <a:lnTo>
                  <a:pt x="6390" y="0"/>
                </a:lnTo>
                <a:lnTo>
                  <a:pt x="6390" y="0"/>
                </a:lnTo>
                <a:cubicBezTo>
                  <a:pt x="2556" y="0"/>
                  <a:pt x="0" y="2554"/>
                  <a:pt x="0" y="6384"/>
                </a:cubicBezTo>
                <a:lnTo>
                  <a:pt x="0" y="210671"/>
                </a:lnTo>
                <a:cubicBezTo>
                  <a:pt x="0" y="214502"/>
                  <a:pt x="2556" y="217055"/>
                  <a:pt x="6390" y="217055"/>
                </a:cubicBezTo>
                <a:lnTo>
                  <a:pt x="182113" y="217055"/>
                </a:lnTo>
                <a:cubicBezTo>
                  <a:pt x="185947" y="217055"/>
                  <a:pt x="188503" y="214502"/>
                  <a:pt x="188503" y="210671"/>
                </a:cubicBezTo>
                <a:lnTo>
                  <a:pt x="188503" y="7022"/>
                </a:lnTo>
                <a:cubicBezTo>
                  <a:pt x="188503" y="3830"/>
                  <a:pt x="185947" y="638"/>
                  <a:pt x="182113" y="638"/>
                </a:cubicBezTo>
                <a:close/>
                <a:moveTo>
                  <a:pt x="12780" y="81077"/>
                </a:moveTo>
                <a:lnTo>
                  <a:pt x="175723" y="81077"/>
                </a:lnTo>
                <a:lnTo>
                  <a:pt x="175723" y="136617"/>
                </a:lnTo>
                <a:lnTo>
                  <a:pt x="12780" y="136617"/>
                </a:lnTo>
                <a:lnTo>
                  <a:pt x="12780" y="81077"/>
                </a:lnTo>
                <a:close/>
                <a:moveTo>
                  <a:pt x="33867" y="12768"/>
                </a:moveTo>
                <a:lnTo>
                  <a:pt x="175723" y="13406"/>
                </a:lnTo>
                <a:lnTo>
                  <a:pt x="175723" y="68309"/>
                </a:lnTo>
                <a:lnTo>
                  <a:pt x="12780" y="68309"/>
                </a:lnTo>
                <a:lnTo>
                  <a:pt x="12780" y="12768"/>
                </a:lnTo>
                <a:cubicBezTo>
                  <a:pt x="17892" y="12768"/>
                  <a:pt x="24282" y="12768"/>
                  <a:pt x="33867" y="12768"/>
                </a:cubicBezTo>
                <a:close/>
                <a:moveTo>
                  <a:pt x="12780" y="204287"/>
                </a:moveTo>
                <a:lnTo>
                  <a:pt x="12780" y="148747"/>
                </a:lnTo>
                <a:lnTo>
                  <a:pt x="175723" y="148747"/>
                </a:lnTo>
                <a:lnTo>
                  <a:pt x="175723" y="204287"/>
                </a:lnTo>
                <a:lnTo>
                  <a:pt x="12780" y="204287"/>
                </a:lnTo>
                <a:close/>
              </a:path>
            </a:pathLst>
          </a:custGeom>
          <a:solidFill>
            <a:schemeClr val="accent3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2" name="Graphic 1100">
            <a:extLst>
              <a:ext uri="{FF2B5EF4-FFF2-40B4-BE49-F238E27FC236}">
                <a16:creationId xmlns:a16="http://schemas.microsoft.com/office/drawing/2014/main" id="{39682A89-9C45-2391-D588-853923C62015}"/>
              </a:ext>
            </a:extLst>
          </p:cNvPr>
          <p:cNvSpPr/>
          <p:nvPr/>
        </p:nvSpPr>
        <p:spPr>
          <a:xfrm>
            <a:off x="1965252" y="1743648"/>
            <a:ext cx="45136" cy="45095"/>
          </a:xfrm>
          <a:custGeom>
            <a:avLst/>
            <a:gdLst>
              <a:gd name="connsiteX0" fmla="*/ 8307 w 16613"/>
              <a:gd name="connsiteY0" fmla="*/ 0 h 16598"/>
              <a:gd name="connsiteX1" fmla="*/ 0 w 16613"/>
              <a:gd name="connsiteY1" fmla="*/ 8299 h 16598"/>
              <a:gd name="connsiteX2" fmla="*/ 8307 w 16613"/>
              <a:gd name="connsiteY2" fmla="*/ 16598 h 16598"/>
              <a:gd name="connsiteX3" fmla="*/ 16614 w 16613"/>
              <a:gd name="connsiteY3" fmla="*/ 8299 h 16598"/>
              <a:gd name="connsiteX4" fmla="*/ 16614 w 16613"/>
              <a:gd name="connsiteY4" fmla="*/ 8299 h 16598"/>
              <a:gd name="connsiteX5" fmla="*/ 8307 w 16613"/>
              <a:gd name="connsiteY5" fmla="*/ 0 h 16598"/>
              <a:gd name="connsiteX6" fmla="*/ 8307 w 16613"/>
              <a:gd name="connsiteY6" fmla="*/ 0 h 16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613" h="16598">
                <a:moveTo>
                  <a:pt x="8307" y="0"/>
                </a:moveTo>
                <a:cubicBezTo>
                  <a:pt x="3834" y="0"/>
                  <a:pt x="0" y="3830"/>
                  <a:pt x="0" y="8299"/>
                </a:cubicBezTo>
                <a:cubicBezTo>
                  <a:pt x="0" y="12768"/>
                  <a:pt x="3834" y="16598"/>
                  <a:pt x="8307" y="16598"/>
                </a:cubicBezTo>
                <a:cubicBezTo>
                  <a:pt x="12780" y="16598"/>
                  <a:pt x="16614" y="12768"/>
                  <a:pt x="16614" y="8299"/>
                </a:cubicBezTo>
                <a:cubicBezTo>
                  <a:pt x="16614" y="8299"/>
                  <a:pt x="16614" y="8299"/>
                  <a:pt x="16614" y="8299"/>
                </a:cubicBezTo>
                <a:cubicBezTo>
                  <a:pt x="16614" y="3830"/>
                  <a:pt x="12780" y="0"/>
                  <a:pt x="8307" y="0"/>
                </a:cubicBezTo>
                <a:cubicBezTo>
                  <a:pt x="8307" y="0"/>
                  <a:pt x="8307" y="0"/>
                  <a:pt x="8307" y="0"/>
                </a:cubicBezTo>
                <a:close/>
              </a:path>
            </a:pathLst>
          </a:custGeom>
          <a:solidFill>
            <a:schemeClr val="accent3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3" name="Graphic 1100">
            <a:extLst>
              <a:ext uri="{FF2B5EF4-FFF2-40B4-BE49-F238E27FC236}">
                <a16:creationId xmlns:a16="http://schemas.microsoft.com/office/drawing/2014/main" id="{42D18020-186C-38CB-5703-8EEDF6BC9BF0}"/>
              </a:ext>
            </a:extLst>
          </p:cNvPr>
          <p:cNvSpPr/>
          <p:nvPr/>
        </p:nvSpPr>
        <p:spPr>
          <a:xfrm>
            <a:off x="1883655" y="1743648"/>
            <a:ext cx="45136" cy="45095"/>
          </a:xfrm>
          <a:custGeom>
            <a:avLst/>
            <a:gdLst>
              <a:gd name="connsiteX0" fmla="*/ 8307 w 16613"/>
              <a:gd name="connsiteY0" fmla="*/ 0 h 16598"/>
              <a:gd name="connsiteX1" fmla="*/ 0 w 16613"/>
              <a:gd name="connsiteY1" fmla="*/ 8299 h 16598"/>
              <a:gd name="connsiteX2" fmla="*/ 8307 w 16613"/>
              <a:gd name="connsiteY2" fmla="*/ 16598 h 16598"/>
              <a:gd name="connsiteX3" fmla="*/ 16614 w 16613"/>
              <a:gd name="connsiteY3" fmla="*/ 8299 h 16598"/>
              <a:gd name="connsiteX4" fmla="*/ 16614 w 16613"/>
              <a:gd name="connsiteY4" fmla="*/ 8299 h 16598"/>
              <a:gd name="connsiteX5" fmla="*/ 8307 w 16613"/>
              <a:gd name="connsiteY5" fmla="*/ 0 h 16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613" h="16598">
                <a:moveTo>
                  <a:pt x="8307" y="0"/>
                </a:moveTo>
                <a:cubicBezTo>
                  <a:pt x="3834" y="0"/>
                  <a:pt x="0" y="3830"/>
                  <a:pt x="0" y="8299"/>
                </a:cubicBezTo>
                <a:cubicBezTo>
                  <a:pt x="0" y="12768"/>
                  <a:pt x="3834" y="16598"/>
                  <a:pt x="8307" y="16598"/>
                </a:cubicBezTo>
                <a:cubicBezTo>
                  <a:pt x="12780" y="16598"/>
                  <a:pt x="16614" y="12768"/>
                  <a:pt x="16614" y="8299"/>
                </a:cubicBezTo>
                <a:cubicBezTo>
                  <a:pt x="16614" y="8299"/>
                  <a:pt x="16614" y="8299"/>
                  <a:pt x="16614" y="8299"/>
                </a:cubicBezTo>
                <a:cubicBezTo>
                  <a:pt x="16614" y="3830"/>
                  <a:pt x="12780" y="0"/>
                  <a:pt x="8307" y="0"/>
                </a:cubicBezTo>
                <a:close/>
              </a:path>
            </a:pathLst>
          </a:custGeom>
          <a:solidFill>
            <a:schemeClr val="accent3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4" name="Graphic 1100">
            <a:extLst>
              <a:ext uri="{FF2B5EF4-FFF2-40B4-BE49-F238E27FC236}">
                <a16:creationId xmlns:a16="http://schemas.microsoft.com/office/drawing/2014/main" id="{1B3552CF-94CE-1C46-FC29-BE92D3FD182A}"/>
              </a:ext>
            </a:extLst>
          </p:cNvPr>
          <p:cNvSpPr/>
          <p:nvPr/>
        </p:nvSpPr>
        <p:spPr>
          <a:xfrm>
            <a:off x="1652755" y="1748850"/>
            <a:ext cx="194441" cy="34687"/>
          </a:xfrm>
          <a:custGeom>
            <a:avLst/>
            <a:gdLst>
              <a:gd name="connsiteX0" fmla="*/ 65177 w 71567"/>
              <a:gd name="connsiteY0" fmla="*/ 0 h 12767"/>
              <a:gd name="connsiteX1" fmla="*/ 6390 w 71567"/>
              <a:gd name="connsiteY1" fmla="*/ 0 h 12767"/>
              <a:gd name="connsiteX2" fmla="*/ 0 w 71567"/>
              <a:gd name="connsiteY2" fmla="*/ 6384 h 12767"/>
              <a:gd name="connsiteX3" fmla="*/ 6390 w 71567"/>
              <a:gd name="connsiteY3" fmla="*/ 12768 h 12767"/>
              <a:gd name="connsiteX4" fmla="*/ 65177 w 71567"/>
              <a:gd name="connsiteY4" fmla="*/ 12768 h 12767"/>
              <a:gd name="connsiteX5" fmla="*/ 71567 w 71567"/>
              <a:gd name="connsiteY5" fmla="*/ 6384 h 12767"/>
              <a:gd name="connsiteX6" fmla="*/ 65177 w 71567"/>
              <a:gd name="connsiteY6" fmla="*/ 0 h 12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567" h="12767">
                <a:moveTo>
                  <a:pt x="65177" y="0"/>
                </a:moveTo>
                <a:lnTo>
                  <a:pt x="6390" y="0"/>
                </a:lnTo>
                <a:cubicBezTo>
                  <a:pt x="2556" y="0"/>
                  <a:pt x="0" y="2554"/>
                  <a:pt x="0" y="6384"/>
                </a:cubicBezTo>
                <a:cubicBezTo>
                  <a:pt x="0" y="10214"/>
                  <a:pt x="2556" y="12768"/>
                  <a:pt x="6390" y="12768"/>
                </a:cubicBezTo>
                <a:lnTo>
                  <a:pt x="65177" y="12768"/>
                </a:lnTo>
                <a:cubicBezTo>
                  <a:pt x="69011" y="12768"/>
                  <a:pt x="71567" y="10214"/>
                  <a:pt x="71567" y="6384"/>
                </a:cubicBezTo>
                <a:cubicBezTo>
                  <a:pt x="71567" y="2554"/>
                  <a:pt x="68372" y="0"/>
                  <a:pt x="65177" y="0"/>
                </a:cubicBezTo>
                <a:close/>
              </a:path>
            </a:pathLst>
          </a:custGeom>
          <a:solidFill>
            <a:schemeClr val="accent3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5" name="Graphic 1100">
            <a:extLst>
              <a:ext uri="{FF2B5EF4-FFF2-40B4-BE49-F238E27FC236}">
                <a16:creationId xmlns:a16="http://schemas.microsoft.com/office/drawing/2014/main" id="{C0636B63-6E9D-A7F9-4914-9576267CC3A6}"/>
              </a:ext>
            </a:extLst>
          </p:cNvPr>
          <p:cNvSpPr/>
          <p:nvPr/>
        </p:nvSpPr>
        <p:spPr>
          <a:xfrm>
            <a:off x="1965252" y="1934440"/>
            <a:ext cx="45136" cy="45095"/>
          </a:xfrm>
          <a:custGeom>
            <a:avLst/>
            <a:gdLst>
              <a:gd name="connsiteX0" fmla="*/ 8307 w 16613"/>
              <a:gd name="connsiteY0" fmla="*/ 0 h 16598"/>
              <a:gd name="connsiteX1" fmla="*/ 0 w 16613"/>
              <a:gd name="connsiteY1" fmla="*/ 8299 h 16598"/>
              <a:gd name="connsiteX2" fmla="*/ 8307 w 16613"/>
              <a:gd name="connsiteY2" fmla="*/ 16598 h 16598"/>
              <a:gd name="connsiteX3" fmla="*/ 16614 w 16613"/>
              <a:gd name="connsiteY3" fmla="*/ 8299 h 16598"/>
              <a:gd name="connsiteX4" fmla="*/ 8307 w 16613"/>
              <a:gd name="connsiteY4" fmla="*/ 0 h 16598"/>
              <a:gd name="connsiteX5" fmla="*/ 8307 w 16613"/>
              <a:gd name="connsiteY5" fmla="*/ 0 h 16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613" h="16598">
                <a:moveTo>
                  <a:pt x="8307" y="0"/>
                </a:moveTo>
                <a:cubicBezTo>
                  <a:pt x="3834" y="0"/>
                  <a:pt x="0" y="3830"/>
                  <a:pt x="0" y="8299"/>
                </a:cubicBezTo>
                <a:cubicBezTo>
                  <a:pt x="0" y="12768"/>
                  <a:pt x="3834" y="16598"/>
                  <a:pt x="8307" y="16598"/>
                </a:cubicBezTo>
                <a:cubicBezTo>
                  <a:pt x="12780" y="16598"/>
                  <a:pt x="16614" y="12768"/>
                  <a:pt x="16614" y="8299"/>
                </a:cubicBezTo>
                <a:cubicBezTo>
                  <a:pt x="16614" y="3192"/>
                  <a:pt x="12780" y="0"/>
                  <a:pt x="8307" y="0"/>
                </a:cubicBezTo>
                <a:cubicBezTo>
                  <a:pt x="8307" y="0"/>
                  <a:pt x="8307" y="0"/>
                  <a:pt x="8307" y="0"/>
                </a:cubicBezTo>
                <a:close/>
              </a:path>
            </a:pathLst>
          </a:custGeom>
          <a:solidFill>
            <a:schemeClr val="accent3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6" name="Graphic 1100">
            <a:extLst>
              <a:ext uri="{FF2B5EF4-FFF2-40B4-BE49-F238E27FC236}">
                <a16:creationId xmlns:a16="http://schemas.microsoft.com/office/drawing/2014/main" id="{3AF06A9F-A6CC-EAF4-8C65-004A01BFAB69}"/>
              </a:ext>
            </a:extLst>
          </p:cNvPr>
          <p:cNvSpPr/>
          <p:nvPr/>
        </p:nvSpPr>
        <p:spPr>
          <a:xfrm>
            <a:off x="1885201" y="1934440"/>
            <a:ext cx="43590" cy="43549"/>
          </a:xfrm>
          <a:custGeom>
            <a:avLst/>
            <a:gdLst>
              <a:gd name="connsiteX0" fmla="*/ 7738 w 16044"/>
              <a:gd name="connsiteY0" fmla="*/ 0 h 16029"/>
              <a:gd name="connsiteX1" fmla="*/ 70 w 16044"/>
              <a:gd name="connsiteY1" fmla="*/ 8299 h 16029"/>
              <a:gd name="connsiteX2" fmla="*/ 8377 w 16044"/>
              <a:gd name="connsiteY2" fmla="*/ 15960 h 16029"/>
              <a:gd name="connsiteX3" fmla="*/ 16045 w 16044"/>
              <a:gd name="connsiteY3" fmla="*/ 7661 h 16029"/>
              <a:gd name="connsiteX4" fmla="*/ 7738 w 16044"/>
              <a:gd name="connsiteY4" fmla="*/ 0 h 1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44" h="16029">
                <a:moveTo>
                  <a:pt x="7738" y="0"/>
                </a:moveTo>
                <a:cubicBezTo>
                  <a:pt x="3265" y="0"/>
                  <a:pt x="-569" y="3830"/>
                  <a:pt x="70" y="8299"/>
                </a:cubicBezTo>
                <a:cubicBezTo>
                  <a:pt x="709" y="12768"/>
                  <a:pt x="3904" y="16598"/>
                  <a:pt x="8377" y="15960"/>
                </a:cubicBezTo>
                <a:cubicBezTo>
                  <a:pt x="12850" y="15960"/>
                  <a:pt x="16045" y="12130"/>
                  <a:pt x="16045" y="7661"/>
                </a:cubicBezTo>
                <a:cubicBezTo>
                  <a:pt x="16045" y="3192"/>
                  <a:pt x="12211" y="0"/>
                  <a:pt x="7738" y="0"/>
                </a:cubicBezTo>
                <a:close/>
              </a:path>
            </a:pathLst>
          </a:custGeom>
          <a:solidFill>
            <a:schemeClr val="accent3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7" name="Graphic 1100">
            <a:extLst>
              <a:ext uri="{FF2B5EF4-FFF2-40B4-BE49-F238E27FC236}">
                <a16:creationId xmlns:a16="http://schemas.microsoft.com/office/drawing/2014/main" id="{66404462-8EC2-F410-BFDA-2D8FED170FA9}"/>
              </a:ext>
            </a:extLst>
          </p:cNvPr>
          <p:cNvSpPr/>
          <p:nvPr/>
        </p:nvSpPr>
        <p:spPr>
          <a:xfrm>
            <a:off x="1652755" y="1937907"/>
            <a:ext cx="194441" cy="34687"/>
          </a:xfrm>
          <a:custGeom>
            <a:avLst/>
            <a:gdLst>
              <a:gd name="connsiteX0" fmla="*/ 65177 w 71567"/>
              <a:gd name="connsiteY0" fmla="*/ 0 h 12767"/>
              <a:gd name="connsiteX1" fmla="*/ 6390 w 71567"/>
              <a:gd name="connsiteY1" fmla="*/ 0 h 12767"/>
              <a:gd name="connsiteX2" fmla="*/ 0 w 71567"/>
              <a:gd name="connsiteY2" fmla="*/ 6384 h 12767"/>
              <a:gd name="connsiteX3" fmla="*/ 6390 w 71567"/>
              <a:gd name="connsiteY3" fmla="*/ 12768 h 12767"/>
              <a:gd name="connsiteX4" fmla="*/ 65177 w 71567"/>
              <a:gd name="connsiteY4" fmla="*/ 12768 h 12767"/>
              <a:gd name="connsiteX5" fmla="*/ 71567 w 71567"/>
              <a:gd name="connsiteY5" fmla="*/ 6384 h 12767"/>
              <a:gd name="connsiteX6" fmla="*/ 65177 w 71567"/>
              <a:gd name="connsiteY6" fmla="*/ 0 h 12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567" h="12767">
                <a:moveTo>
                  <a:pt x="65177" y="0"/>
                </a:moveTo>
                <a:lnTo>
                  <a:pt x="6390" y="0"/>
                </a:lnTo>
                <a:cubicBezTo>
                  <a:pt x="2556" y="0"/>
                  <a:pt x="0" y="2554"/>
                  <a:pt x="0" y="6384"/>
                </a:cubicBezTo>
                <a:cubicBezTo>
                  <a:pt x="0" y="10214"/>
                  <a:pt x="2556" y="12768"/>
                  <a:pt x="6390" y="12768"/>
                </a:cubicBezTo>
                <a:lnTo>
                  <a:pt x="65177" y="12768"/>
                </a:lnTo>
                <a:cubicBezTo>
                  <a:pt x="69011" y="12768"/>
                  <a:pt x="71567" y="10214"/>
                  <a:pt x="71567" y="6384"/>
                </a:cubicBezTo>
                <a:cubicBezTo>
                  <a:pt x="71567" y="2554"/>
                  <a:pt x="68372" y="0"/>
                  <a:pt x="65177" y="0"/>
                </a:cubicBezTo>
                <a:close/>
              </a:path>
            </a:pathLst>
          </a:custGeom>
          <a:solidFill>
            <a:schemeClr val="accent3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8" name="Graphic 1100">
            <a:extLst>
              <a:ext uri="{FF2B5EF4-FFF2-40B4-BE49-F238E27FC236}">
                <a16:creationId xmlns:a16="http://schemas.microsoft.com/office/drawing/2014/main" id="{4A145764-AE98-0E7E-5B66-CB00513541FC}"/>
              </a:ext>
            </a:extLst>
          </p:cNvPr>
          <p:cNvSpPr/>
          <p:nvPr/>
        </p:nvSpPr>
        <p:spPr>
          <a:xfrm>
            <a:off x="1965252" y="1558058"/>
            <a:ext cx="45136" cy="45095"/>
          </a:xfrm>
          <a:custGeom>
            <a:avLst/>
            <a:gdLst>
              <a:gd name="connsiteX0" fmla="*/ 8307 w 16613"/>
              <a:gd name="connsiteY0" fmla="*/ 16598 h 16598"/>
              <a:gd name="connsiteX1" fmla="*/ 16614 w 16613"/>
              <a:gd name="connsiteY1" fmla="*/ 8299 h 16598"/>
              <a:gd name="connsiteX2" fmla="*/ 8307 w 16613"/>
              <a:gd name="connsiteY2" fmla="*/ 0 h 16598"/>
              <a:gd name="connsiteX3" fmla="*/ 0 w 16613"/>
              <a:gd name="connsiteY3" fmla="*/ 8299 h 16598"/>
              <a:gd name="connsiteX4" fmla="*/ 8307 w 16613"/>
              <a:gd name="connsiteY4" fmla="*/ 16598 h 16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613" h="16598">
                <a:moveTo>
                  <a:pt x="8307" y="16598"/>
                </a:moveTo>
                <a:cubicBezTo>
                  <a:pt x="12780" y="16598"/>
                  <a:pt x="16614" y="12768"/>
                  <a:pt x="16614" y="8299"/>
                </a:cubicBezTo>
                <a:cubicBezTo>
                  <a:pt x="16614" y="3830"/>
                  <a:pt x="12780" y="0"/>
                  <a:pt x="8307" y="0"/>
                </a:cubicBezTo>
                <a:cubicBezTo>
                  <a:pt x="3834" y="0"/>
                  <a:pt x="0" y="3830"/>
                  <a:pt x="0" y="8299"/>
                </a:cubicBezTo>
                <a:cubicBezTo>
                  <a:pt x="639" y="13406"/>
                  <a:pt x="3834" y="16598"/>
                  <a:pt x="8307" y="16598"/>
                </a:cubicBezTo>
                <a:close/>
              </a:path>
            </a:pathLst>
          </a:custGeom>
          <a:solidFill>
            <a:schemeClr val="accent3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9" name="Graphic 1100">
            <a:extLst>
              <a:ext uri="{FF2B5EF4-FFF2-40B4-BE49-F238E27FC236}">
                <a16:creationId xmlns:a16="http://schemas.microsoft.com/office/drawing/2014/main" id="{E8400C66-1B06-1B14-B797-BC8CA67DB3D8}"/>
              </a:ext>
            </a:extLst>
          </p:cNvPr>
          <p:cNvSpPr/>
          <p:nvPr/>
        </p:nvSpPr>
        <p:spPr>
          <a:xfrm>
            <a:off x="1883655" y="1558058"/>
            <a:ext cx="45136" cy="45095"/>
          </a:xfrm>
          <a:custGeom>
            <a:avLst/>
            <a:gdLst>
              <a:gd name="connsiteX0" fmla="*/ 8307 w 16613"/>
              <a:gd name="connsiteY0" fmla="*/ 16598 h 16598"/>
              <a:gd name="connsiteX1" fmla="*/ 16614 w 16613"/>
              <a:gd name="connsiteY1" fmla="*/ 8299 h 16598"/>
              <a:gd name="connsiteX2" fmla="*/ 8307 w 16613"/>
              <a:gd name="connsiteY2" fmla="*/ 0 h 16598"/>
              <a:gd name="connsiteX3" fmla="*/ 0 w 16613"/>
              <a:gd name="connsiteY3" fmla="*/ 8299 h 16598"/>
              <a:gd name="connsiteX4" fmla="*/ 8307 w 16613"/>
              <a:gd name="connsiteY4" fmla="*/ 16598 h 16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613" h="16598">
                <a:moveTo>
                  <a:pt x="8307" y="16598"/>
                </a:moveTo>
                <a:cubicBezTo>
                  <a:pt x="12780" y="16598"/>
                  <a:pt x="16614" y="12768"/>
                  <a:pt x="16614" y="8299"/>
                </a:cubicBezTo>
                <a:cubicBezTo>
                  <a:pt x="16614" y="3830"/>
                  <a:pt x="12780" y="0"/>
                  <a:pt x="8307" y="0"/>
                </a:cubicBezTo>
                <a:cubicBezTo>
                  <a:pt x="3834" y="0"/>
                  <a:pt x="0" y="3830"/>
                  <a:pt x="0" y="8299"/>
                </a:cubicBezTo>
                <a:cubicBezTo>
                  <a:pt x="0" y="13406"/>
                  <a:pt x="3834" y="16598"/>
                  <a:pt x="8307" y="16598"/>
                </a:cubicBezTo>
                <a:close/>
              </a:path>
            </a:pathLst>
          </a:custGeom>
          <a:solidFill>
            <a:schemeClr val="accent3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0" name="Graphic 1100">
            <a:extLst>
              <a:ext uri="{FF2B5EF4-FFF2-40B4-BE49-F238E27FC236}">
                <a16:creationId xmlns:a16="http://schemas.microsoft.com/office/drawing/2014/main" id="{D56DAAAD-852F-AF89-50CD-AC80B5E222AF}"/>
              </a:ext>
            </a:extLst>
          </p:cNvPr>
          <p:cNvSpPr/>
          <p:nvPr/>
        </p:nvSpPr>
        <p:spPr>
          <a:xfrm>
            <a:off x="1651019" y="1564997"/>
            <a:ext cx="194441" cy="34687"/>
          </a:xfrm>
          <a:custGeom>
            <a:avLst/>
            <a:gdLst>
              <a:gd name="connsiteX0" fmla="*/ 6390 w 71567"/>
              <a:gd name="connsiteY0" fmla="*/ 12768 h 12767"/>
              <a:gd name="connsiteX1" fmla="*/ 65177 w 71567"/>
              <a:gd name="connsiteY1" fmla="*/ 12768 h 12767"/>
              <a:gd name="connsiteX2" fmla="*/ 71567 w 71567"/>
              <a:gd name="connsiteY2" fmla="*/ 6384 h 12767"/>
              <a:gd name="connsiteX3" fmla="*/ 65177 w 71567"/>
              <a:gd name="connsiteY3" fmla="*/ 0 h 12767"/>
              <a:gd name="connsiteX4" fmla="*/ 6390 w 71567"/>
              <a:gd name="connsiteY4" fmla="*/ 0 h 12767"/>
              <a:gd name="connsiteX5" fmla="*/ 0 w 71567"/>
              <a:gd name="connsiteY5" fmla="*/ 6384 h 12767"/>
              <a:gd name="connsiteX6" fmla="*/ 6390 w 71567"/>
              <a:gd name="connsiteY6" fmla="*/ 12768 h 12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567" h="12767">
                <a:moveTo>
                  <a:pt x="6390" y="12768"/>
                </a:moveTo>
                <a:lnTo>
                  <a:pt x="65177" y="12768"/>
                </a:lnTo>
                <a:cubicBezTo>
                  <a:pt x="69011" y="12768"/>
                  <a:pt x="71567" y="10214"/>
                  <a:pt x="71567" y="6384"/>
                </a:cubicBezTo>
                <a:cubicBezTo>
                  <a:pt x="71567" y="2554"/>
                  <a:pt x="69011" y="0"/>
                  <a:pt x="65177" y="0"/>
                </a:cubicBezTo>
                <a:lnTo>
                  <a:pt x="6390" y="0"/>
                </a:lnTo>
                <a:cubicBezTo>
                  <a:pt x="2556" y="0"/>
                  <a:pt x="0" y="2554"/>
                  <a:pt x="0" y="6384"/>
                </a:cubicBezTo>
                <a:cubicBezTo>
                  <a:pt x="0" y="10214"/>
                  <a:pt x="3195" y="12768"/>
                  <a:pt x="6390" y="12768"/>
                </a:cubicBezTo>
                <a:close/>
              </a:path>
            </a:pathLst>
          </a:custGeom>
          <a:solidFill>
            <a:schemeClr val="accent3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41" name="Graphic 1100">
            <a:extLst>
              <a:ext uri="{FF2B5EF4-FFF2-40B4-BE49-F238E27FC236}">
                <a16:creationId xmlns:a16="http://schemas.microsoft.com/office/drawing/2014/main" id="{F2D5E689-18CD-B5F5-FE57-8CD13FF1F6A0}"/>
              </a:ext>
            </a:extLst>
          </p:cNvPr>
          <p:cNvGrpSpPr/>
          <p:nvPr/>
        </p:nvGrpSpPr>
        <p:grpSpPr>
          <a:xfrm>
            <a:off x="5603818" y="1297105"/>
            <a:ext cx="962586" cy="961677"/>
            <a:chOff x="4661459" y="1897007"/>
            <a:chExt cx="362313" cy="361971"/>
          </a:xfrm>
          <a:solidFill>
            <a:schemeClr val="accent3"/>
          </a:solidFill>
        </p:grpSpPr>
        <p:sp>
          <p:nvSpPr>
            <p:cNvPr id="42" name="Graphic 1100">
              <a:extLst>
                <a:ext uri="{FF2B5EF4-FFF2-40B4-BE49-F238E27FC236}">
                  <a16:creationId xmlns:a16="http://schemas.microsoft.com/office/drawing/2014/main" id="{09D4BCE4-6FF3-5F70-8FF1-CD080E030255}"/>
                </a:ext>
              </a:extLst>
            </p:cNvPr>
            <p:cNvSpPr/>
            <p:nvPr/>
          </p:nvSpPr>
          <p:spPr>
            <a:xfrm>
              <a:off x="4661459" y="1897007"/>
              <a:ext cx="362313" cy="361971"/>
            </a:xfrm>
            <a:custGeom>
              <a:avLst/>
              <a:gdLst>
                <a:gd name="connsiteX0" fmla="*/ 181474 w 362313"/>
                <a:gd name="connsiteY0" fmla="*/ 0 h 361971"/>
                <a:gd name="connsiteX1" fmla="*/ 0 w 362313"/>
                <a:gd name="connsiteY1" fmla="*/ 180667 h 361971"/>
                <a:gd name="connsiteX2" fmla="*/ 180835 w 362313"/>
                <a:gd name="connsiteY2" fmla="*/ 361972 h 361971"/>
                <a:gd name="connsiteX3" fmla="*/ 362310 w 362313"/>
                <a:gd name="connsiteY3" fmla="*/ 181305 h 361971"/>
                <a:gd name="connsiteX4" fmla="*/ 362310 w 362313"/>
                <a:gd name="connsiteY4" fmla="*/ 181305 h 361971"/>
                <a:gd name="connsiteX5" fmla="*/ 181474 w 362313"/>
                <a:gd name="connsiteY5" fmla="*/ 0 h 361971"/>
                <a:gd name="connsiteX6" fmla="*/ 181474 w 362313"/>
                <a:gd name="connsiteY6" fmla="*/ 0 h 361971"/>
                <a:gd name="connsiteX7" fmla="*/ 181474 w 362313"/>
                <a:gd name="connsiteY7" fmla="*/ 349204 h 361971"/>
                <a:gd name="connsiteX8" fmla="*/ 12780 w 362313"/>
                <a:gd name="connsiteY8" fmla="*/ 181305 h 361971"/>
                <a:gd name="connsiteX9" fmla="*/ 180835 w 362313"/>
                <a:gd name="connsiteY9" fmla="*/ 12768 h 361971"/>
                <a:gd name="connsiteX10" fmla="*/ 349530 w 362313"/>
                <a:gd name="connsiteY10" fmla="*/ 180667 h 361971"/>
                <a:gd name="connsiteX11" fmla="*/ 349530 w 362313"/>
                <a:gd name="connsiteY11" fmla="*/ 180667 h 361971"/>
                <a:gd name="connsiteX12" fmla="*/ 181474 w 362313"/>
                <a:gd name="connsiteY12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2313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1157" y="361972"/>
                    <a:pt x="362310" y="280895"/>
                    <a:pt x="362310" y="181305"/>
                  </a:cubicBezTo>
                  <a:cubicBezTo>
                    <a:pt x="362310" y="181305"/>
                    <a:pt x="362310" y="181305"/>
                    <a:pt x="362310" y="181305"/>
                  </a:cubicBezTo>
                  <a:cubicBezTo>
                    <a:pt x="362948" y="81077"/>
                    <a:pt x="281796" y="0"/>
                    <a:pt x="181474" y="0"/>
                  </a:cubicBezTo>
                  <a:cubicBezTo>
                    <a:pt x="181474" y="0"/>
                    <a:pt x="181474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7"/>
                    <a:pt x="88181" y="12768"/>
                    <a:pt x="180835" y="12768"/>
                  </a:cubicBezTo>
                  <a:cubicBezTo>
                    <a:pt x="274128" y="12768"/>
                    <a:pt x="349530" y="88099"/>
                    <a:pt x="349530" y="180667"/>
                  </a:cubicBezTo>
                  <a:cubicBezTo>
                    <a:pt x="349530" y="180667"/>
                    <a:pt x="349530" y="180667"/>
                    <a:pt x="349530" y="180667"/>
                  </a:cubicBezTo>
                  <a:cubicBezTo>
                    <a:pt x="350168" y="273873"/>
                    <a:pt x="274767" y="349204"/>
                    <a:pt x="181474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Graphic 1100">
              <a:extLst>
                <a:ext uri="{FF2B5EF4-FFF2-40B4-BE49-F238E27FC236}">
                  <a16:creationId xmlns:a16="http://schemas.microsoft.com/office/drawing/2014/main" id="{8DC0D9FC-0FB1-3049-1404-D694B3D887D0}"/>
                </a:ext>
              </a:extLst>
            </p:cNvPr>
            <p:cNvSpPr/>
            <p:nvPr/>
          </p:nvSpPr>
          <p:spPr>
            <a:xfrm>
              <a:off x="4741333" y="1968508"/>
              <a:ext cx="204477" cy="218970"/>
            </a:xfrm>
            <a:custGeom>
              <a:avLst/>
              <a:gdLst>
                <a:gd name="connsiteX0" fmla="*/ 197449 w 204477"/>
                <a:gd name="connsiteY0" fmla="*/ 81076 h 218970"/>
                <a:gd name="connsiteX1" fmla="*/ 181474 w 204477"/>
                <a:gd name="connsiteY1" fmla="*/ 81076 h 218970"/>
                <a:gd name="connsiteX2" fmla="*/ 181474 w 204477"/>
                <a:gd name="connsiteY2" fmla="*/ 58094 h 218970"/>
                <a:gd name="connsiteX3" fmla="*/ 179557 w 204477"/>
                <a:gd name="connsiteY3" fmla="*/ 53625 h 218970"/>
                <a:gd name="connsiteX4" fmla="*/ 128438 w 204477"/>
                <a:gd name="connsiteY4" fmla="*/ 1915 h 218970"/>
                <a:gd name="connsiteX5" fmla="*/ 126521 w 204477"/>
                <a:gd name="connsiteY5" fmla="*/ 638 h 218970"/>
                <a:gd name="connsiteX6" fmla="*/ 123965 w 204477"/>
                <a:gd name="connsiteY6" fmla="*/ 0 h 218970"/>
                <a:gd name="connsiteX7" fmla="*/ 28116 w 204477"/>
                <a:gd name="connsiteY7" fmla="*/ 0 h 218970"/>
                <a:gd name="connsiteX8" fmla="*/ 21726 w 204477"/>
                <a:gd name="connsiteY8" fmla="*/ 6384 h 218970"/>
                <a:gd name="connsiteX9" fmla="*/ 21726 w 204477"/>
                <a:gd name="connsiteY9" fmla="*/ 81076 h 218970"/>
                <a:gd name="connsiteX10" fmla="*/ 6390 w 204477"/>
                <a:gd name="connsiteY10" fmla="*/ 81076 h 218970"/>
                <a:gd name="connsiteX11" fmla="*/ 0 w 204477"/>
                <a:gd name="connsiteY11" fmla="*/ 87460 h 218970"/>
                <a:gd name="connsiteX12" fmla="*/ 0 w 204477"/>
                <a:gd name="connsiteY12" fmla="*/ 183220 h 218970"/>
                <a:gd name="connsiteX13" fmla="*/ 6390 w 204477"/>
                <a:gd name="connsiteY13" fmla="*/ 189604 h 218970"/>
                <a:gd name="connsiteX14" fmla="*/ 22365 w 204477"/>
                <a:gd name="connsiteY14" fmla="*/ 189604 h 218970"/>
                <a:gd name="connsiteX15" fmla="*/ 22365 w 204477"/>
                <a:gd name="connsiteY15" fmla="*/ 212587 h 218970"/>
                <a:gd name="connsiteX16" fmla="*/ 28755 w 204477"/>
                <a:gd name="connsiteY16" fmla="*/ 218971 h 218970"/>
                <a:gd name="connsiteX17" fmla="*/ 175723 w 204477"/>
                <a:gd name="connsiteY17" fmla="*/ 218971 h 218970"/>
                <a:gd name="connsiteX18" fmla="*/ 182113 w 204477"/>
                <a:gd name="connsiteY18" fmla="*/ 212587 h 218970"/>
                <a:gd name="connsiteX19" fmla="*/ 182113 w 204477"/>
                <a:gd name="connsiteY19" fmla="*/ 189604 h 218970"/>
                <a:gd name="connsiteX20" fmla="*/ 198088 w 204477"/>
                <a:gd name="connsiteY20" fmla="*/ 189604 h 218970"/>
                <a:gd name="connsiteX21" fmla="*/ 204478 w 204477"/>
                <a:gd name="connsiteY21" fmla="*/ 183220 h 218970"/>
                <a:gd name="connsiteX22" fmla="*/ 204478 w 204477"/>
                <a:gd name="connsiteY22" fmla="*/ 87460 h 218970"/>
                <a:gd name="connsiteX23" fmla="*/ 197449 w 204477"/>
                <a:gd name="connsiteY23" fmla="*/ 81076 h 218970"/>
                <a:gd name="connsiteX24" fmla="*/ 197449 w 204477"/>
                <a:gd name="connsiteY24" fmla="*/ 81076 h 218970"/>
                <a:gd name="connsiteX25" fmla="*/ 130355 w 204477"/>
                <a:gd name="connsiteY25" fmla="*/ 21706 h 218970"/>
                <a:gd name="connsiteX26" fmla="*/ 159748 w 204477"/>
                <a:gd name="connsiteY26" fmla="*/ 51072 h 218970"/>
                <a:gd name="connsiteX27" fmla="*/ 130355 w 204477"/>
                <a:gd name="connsiteY27" fmla="*/ 51072 h 218970"/>
                <a:gd name="connsiteX28" fmla="*/ 130355 w 204477"/>
                <a:gd name="connsiteY28" fmla="*/ 21706 h 218970"/>
                <a:gd name="connsiteX29" fmla="*/ 34506 w 204477"/>
                <a:gd name="connsiteY29" fmla="*/ 12768 h 218970"/>
                <a:gd name="connsiteX30" fmla="*/ 117575 w 204477"/>
                <a:gd name="connsiteY30" fmla="*/ 12768 h 218970"/>
                <a:gd name="connsiteX31" fmla="*/ 117575 w 204477"/>
                <a:gd name="connsiteY31" fmla="*/ 58094 h 218970"/>
                <a:gd name="connsiteX32" fmla="*/ 123965 w 204477"/>
                <a:gd name="connsiteY32" fmla="*/ 64478 h 218970"/>
                <a:gd name="connsiteX33" fmla="*/ 169333 w 204477"/>
                <a:gd name="connsiteY33" fmla="*/ 64478 h 218970"/>
                <a:gd name="connsiteX34" fmla="*/ 169333 w 204477"/>
                <a:gd name="connsiteY34" fmla="*/ 81076 h 218970"/>
                <a:gd name="connsiteX35" fmla="*/ 35145 w 204477"/>
                <a:gd name="connsiteY35" fmla="*/ 81076 h 218970"/>
                <a:gd name="connsiteX36" fmla="*/ 34506 w 204477"/>
                <a:gd name="connsiteY36" fmla="*/ 12768 h 218970"/>
                <a:gd name="connsiteX37" fmla="*/ 168695 w 204477"/>
                <a:gd name="connsiteY37" fmla="*/ 206203 h 218970"/>
                <a:gd name="connsiteX38" fmla="*/ 34506 w 204477"/>
                <a:gd name="connsiteY38" fmla="*/ 206203 h 218970"/>
                <a:gd name="connsiteX39" fmla="*/ 34506 w 204477"/>
                <a:gd name="connsiteY39" fmla="*/ 189604 h 218970"/>
                <a:gd name="connsiteX40" fmla="*/ 168695 w 204477"/>
                <a:gd name="connsiteY40" fmla="*/ 189604 h 218970"/>
                <a:gd name="connsiteX41" fmla="*/ 168695 w 204477"/>
                <a:gd name="connsiteY41" fmla="*/ 206203 h 218970"/>
                <a:gd name="connsiteX42" fmla="*/ 190420 w 204477"/>
                <a:gd name="connsiteY42" fmla="*/ 176836 h 218970"/>
                <a:gd name="connsiteX43" fmla="*/ 12780 w 204477"/>
                <a:gd name="connsiteY43" fmla="*/ 176836 h 218970"/>
                <a:gd name="connsiteX44" fmla="*/ 12780 w 204477"/>
                <a:gd name="connsiteY44" fmla="*/ 93844 h 218970"/>
                <a:gd name="connsiteX45" fmla="*/ 191059 w 204477"/>
                <a:gd name="connsiteY45" fmla="*/ 93844 h 218970"/>
                <a:gd name="connsiteX46" fmla="*/ 190420 w 204477"/>
                <a:gd name="connsiteY46" fmla="*/ 176836 h 218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204477" h="218970">
                  <a:moveTo>
                    <a:pt x="197449" y="81076"/>
                  </a:moveTo>
                  <a:lnTo>
                    <a:pt x="181474" y="81076"/>
                  </a:lnTo>
                  <a:lnTo>
                    <a:pt x="181474" y="58094"/>
                  </a:lnTo>
                  <a:cubicBezTo>
                    <a:pt x="181474" y="56179"/>
                    <a:pt x="180835" y="54902"/>
                    <a:pt x="179557" y="53625"/>
                  </a:cubicBezTo>
                  <a:lnTo>
                    <a:pt x="128438" y="1915"/>
                  </a:lnTo>
                  <a:cubicBezTo>
                    <a:pt x="127799" y="1277"/>
                    <a:pt x="127160" y="638"/>
                    <a:pt x="126521" y="638"/>
                  </a:cubicBezTo>
                  <a:cubicBezTo>
                    <a:pt x="125882" y="0"/>
                    <a:pt x="125243" y="0"/>
                    <a:pt x="123965" y="0"/>
                  </a:cubicBezTo>
                  <a:lnTo>
                    <a:pt x="28116" y="0"/>
                  </a:lnTo>
                  <a:cubicBezTo>
                    <a:pt x="24282" y="0"/>
                    <a:pt x="21726" y="2554"/>
                    <a:pt x="21726" y="6384"/>
                  </a:cubicBezTo>
                  <a:lnTo>
                    <a:pt x="21726" y="81076"/>
                  </a:lnTo>
                  <a:lnTo>
                    <a:pt x="6390" y="81076"/>
                  </a:lnTo>
                  <a:cubicBezTo>
                    <a:pt x="2556" y="81076"/>
                    <a:pt x="0" y="83630"/>
                    <a:pt x="0" y="87460"/>
                  </a:cubicBezTo>
                  <a:lnTo>
                    <a:pt x="0" y="183220"/>
                  </a:lnTo>
                  <a:cubicBezTo>
                    <a:pt x="0" y="187051"/>
                    <a:pt x="2556" y="189604"/>
                    <a:pt x="6390" y="189604"/>
                  </a:cubicBezTo>
                  <a:lnTo>
                    <a:pt x="22365" y="189604"/>
                  </a:lnTo>
                  <a:lnTo>
                    <a:pt x="22365" y="212587"/>
                  </a:lnTo>
                  <a:cubicBezTo>
                    <a:pt x="22365" y="216417"/>
                    <a:pt x="24921" y="218971"/>
                    <a:pt x="28755" y="218971"/>
                  </a:cubicBezTo>
                  <a:lnTo>
                    <a:pt x="175723" y="218971"/>
                  </a:lnTo>
                  <a:cubicBezTo>
                    <a:pt x="179557" y="218971"/>
                    <a:pt x="182113" y="216417"/>
                    <a:pt x="182113" y="212587"/>
                  </a:cubicBezTo>
                  <a:lnTo>
                    <a:pt x="182113" y="189604"/>
                  </a:lnTo>
                  <a:lnTo>
                    <a:pt x="198088" y="189604"/>
                  </a:lnTo>
                  <a:cubicBezTo>
                    <a:pt x="201922" y="189604"/>
                    <a:pt x="204478" y="187051"/>
                    <a:pt x="204478" y="183220"/>
                  </a:cubicBezTo>
                  <a:lnTo>
                    <a:pt x="204478" y="87460"/>
                  </a:lnTo>
                  <a:cubicBezTo>
                    <a:pt x="203839" y="83630"/>
                    <a:pt x="201283" y="81076"/>
                    <a:pt x="197449" y="81076"/>
                  </a:cubicBezTo>
                  <a:cubicBezTo>
                    <a:pt x="197449" y="81076"/>
                    <a:pt x="197449" y="81076"/>
                    <a:pt x="197449" y="81076"/>
                  </a:cubicBezTo>
                  <a:close/>
                  <a:moveTo>
                    <a:pt x="130355" y="21706"/>
                  </a:moveTo>
                  <a:lnTo>
                    <a:pt x="159748" y="51072"/>
                  </a:lnTo>
                  <a:lnTo>
                    <a:pt x="130355" y="51072"/>
                  </a:lnTo>
                  <a:lnTo>
                    <a:pt x="130355" y="21706"/>
                  </a:lnTo>
                  <a:close/>
                  <a:moveTo>
                    <a:pt x="34506" y="12768"/>
                  </a:moveTo>
                  <a:lnTo>
                    <a:pt x="117575" y="12768"/>
                  </a:lnTo>
                  <a:lnTo>
                    <a:pt x="117575" y="58094"/>
                  </a:lnTo>
                  <a:cubicBezTo>
                    <a:pt x="117575" y="61925"/>
                    <a:pt x="120131" y="64478"/>
                    <a:pt x="123965" y="64478"/>
                  </a:cubicBezTo>
                  <a:lnTo>
                    <a:pt x="169333" y="64478"/>
                  </a:lnTo>
                  <a:lnTo>
                    <a:pt x="169333" y="81076"/>
                  </a:lnTo>
                  <a:lnTo>
                    <a:pt x="35145" y="81076"/>
                  </a:lnTo>
                  <a:lnTo>
                    <a:pt x="34506" y="12768"/>
                  </a:lnTo>
                  <a:close/>
                  <a:moveTo>
                    <a:pt x="168695" y="206203"/>
                  </a:moveTo>
                  <a:lnTo>
                    <a:pt x="34506" y="206203"/>
                  </a:lnTo>
                  <a:lnTo>
                    <a:pt x="34506" y="189604"/>
                  </a:lnTo>
                  <a:lnTo>
                    <a:pt x="168695" y="189604"/>
                  </a:lnTo>
                  <a:lnTo>
                    <a:pt x="168695" y="206203"/>
                  </a:lnTo>
                  <a:close/>
                  <a:moveTo>
                    <a:pt x="190420" y="176836"/>
                  </a:moveTo>
                  <a:lnTo>
                    <a:pt x="12780" y="176836"/>
                  </a:lnTo>
                  <a:lnTo>
                    <a:pt x="12780" y="93844"/>
                  </a:lnTo>
                  <a:lnTo>
                    <a:pt x="191059" y="93844"/>
                  </a:lnTo>
                  <a:lnTo>
                    <a:pt x="190420" y="17683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Graphic 1100">
              <a:extLst>
                <a:ext uri="{FF2B5EF4-FFF2-40B4-BE49-F238E27FC236}">
                  <a16:creationId xmlns:a16="http://schemas.microsoft.com/office/drawing/2014/main" id="{440B48D0-0FE4-81B5-DECC-7292250CAF43}"/>
                </a:ext>
              </a:extLst>
            </p:cNvPr>
            <p:cNvSpPr/>
            <p:nvPr/>
          </p:nvSpPr>
          <p:spPr>
            <a:xfrm>
              <a:off x="4833987" y="2075758"/>
              <a:ext cx="34505" cy="58094"/>
            </a:xfrm>
            <a:custGeom>
              <a:avLst/>
              <a:gdLst>
                <a:gd name="connsiteX0" fmla="*/ 28116 w 34505"/>
                <a:gd name="connsiteY0" fmla="*/ 45326 h 58094"/>
                <a:gd name="connsiteX1" fmla="*/ 12780 w 34505"/>
                <a:gd name="connsiteY1" fmla="*/ 45326 h 58094"/>
                <a:gd name="connsiteX2" fmla="*/ 12780 w 34505"/>
                <a:gd name="connsiteY2" fmla="*/ 6384 h 58094"/>
                <a:gd name="connsiteX3" fmla="*/ 6390 w 34505"/>
                <a:gd name="connsiteY3" fmla="*/ 0 h 58094"/>
                <a:gd name="connsiteX4" fmla="*/ 0 w 34505"/>
                <a:gd name="connsiteY4" fmla="*/ 6384 h 58094"/>
                <a:gd name="connsiteX5" fmla="*/ 0 w 34505"/>
                <a:gd name="connsiteY5" fmla="*/ 51710 h 58094"/>
                <a:gd name="connsiteX6" fmla="*/ 6390 w 34505"/>
                <a:gd name="connsiteY6" fmla="*/ 58094 h 58094"/>
                <a:gd name="connsiteX7" fmla="*/ 28116 w 34505"/>
                <a:gd name="connsiteY7" fmla="*/ 58094 h 58094"/>
                <a:gd name="connsiteX8" fmla="*/ 34506 w 34505"/>
                <a:gd name="connsiteY8" fmla="*/ 51710 h 58094"/>
                <a:gd name="connsiteX9" fmla="*/ 28116 w 34505"/>
                <a:gd name="connsiteY9" fmla="*/ 45326 h 58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505" h="58094">
                  <a:moveTo>
                    <a:pt x="28116" y="45326"/>
                  </a:moveTo>
                  <a:lnTo>
                    <a:pt x="12780" y="45326"/>
                  </a:ln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lnTo>
                    <a:pt x="0" y="51710"/>
                  </a:lnTo>
                  <a:cubicBezTo>
                    <a:pt x="0" y="55541"/>
                    <a:pt x="2556" y="58094"/>
                    <a:pt x="6390" y="58094"/>
                  </a:cubicBezTo>
                  <a:lnTo>
                    <a:pt x="28116" y="58094"/>
                  </a:lnTo>
                  <a:cubicBezTo>
                    <a:pt x="31950" y="58094"/>
                    <a:pt x="34506" y="55541"/>
                    <a:pt x="34506" y="51710"/>
                  </a:cubicBezTo>
                  <a:cubicBezTo>
                    <a:pt x="34506" y="47880"/>
                    <a:pt x="31311" y="45326"/>
                    <a:pt x="28116" y="45326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Graphic 1100">
              <a:extLst>
                <a:ext uri="{FF2B5EF4-FFF2-40B4-BE49-F238E27FC236}">
                  <a16:creationId xmlns:a16="http://schemas.microsoft.com/office/drawing/2014/main" id="{D9C99457-A7C3-B7D5-6108-0CF0E42B0F77}"/>
                </a:ext>
              </a:extLst>
            </p:cNvPr>
            <p:cNvSpPr/>
            <p:nvPr/>
          </p:nvSpPr>
          <p:spPr>
            <a:xfrm>
              <a:off x="4779872" y="2075319"/>
              <a:ext cx="46886" cy="58333"/>
            </a:xfrm>
            <a:custGeom>
              <a:avLst/>
              <a:gdLst>
                <a:gd name="connsiteX0" fmla="*/ 31111 w 46886"/>
                <a:gd name="connsiteY0" fmla="*/ 26613 h 58333"/>
                <a:gd name="connsiteX1" fmla="*/ 41974 w 46886"/>
                <a:gd name="connsiteY1" fmla="*/ 10015 h 58333"/>
                <a:gd name="connsiteX2" fmla="*/ 40057 w 46886"/>
                <a:gd name="connsiteY2" fmla="*/ 1077 h 58333"/>
                <a:gd name="connsiteX3" fmla="*/ 31111 w 46886"/>
                <a:gd name="connsiteY3" fmla="*/ 2992 h 58333"/>
                <a:gd name="connsiteX4" fmla="*/ 23443 w 46886"/>
                <a:gd name="connsiteY4" fmla="*/ 15122 h 58333"/>
                <a:gd name="connsiteX5" fmla="*/ 15775 w 46886"/>
                <a:gd name="connsiteY5" fmla="*/ 2992 h 58333"/>
                <a:gd name="connsiteX6" fmla="*/ 6829 w 46886"/>
                <a:gd name="connsiteY6" fmla="*/ 1077 h 58333"/>
                <a:gd name="connsiteX7" fmla="*/ 6829 w 46886"/>
                <a:gd name="connsiteY7" fmla="*/ 1077 h 58333"/>
                <a:gd name="connsiteX8" fmla="*/ 4912 w 46886"/>
                <a:gd name="connsiteY8" fmla="*/ 10015 h 58333"/>
                <a:gd name="connsiteX9" fmla="*/ 15775 w 46886"/>
                <a:gd name="connsiteY9" fmla="*/ 26613 h 58333"/>
                <a:gd name="connsiteX10" fmla="*/ 1078 w 46886"/>
                <a:gd name="connsiteY10" fmla="*/ 48319 h 58333"/>
                <a:gd name="connsiteX11" fmla="*/ 2995 w 46886"/>
                <a:gd name="connsiteY11" fmla="*/ 57256 h 58333"/>
                <a:gd name="connsiteX12" fmla="*/ 11941 w 46886"/>
                <a:gd name="connsiteY12" fmla="*/ 55341 h 58333"/>
                <a:gd name="connsiteX13" fmla="*/ 11941 w 46886"/>
                <a:gd name="connsiteY13" fmla="*/ 55341 h 58333"/>
                <a:gd name="connsiteX14" fmla="*/ 23443 w 46886"/>
                <a:gd name="connsiteY14" fmla="*/ 38104 h 58333"/>
                <a:gd name="connsiteX15" fmla="*/ 34945 w 46886"/>
                <a:gd name="connsiteY15" fmla="*/ 55341 h 58333"/>
                <a:gd name="connsiteX16" fmla="*/ 43891 w 46886"/>
                <a:gd name="connsiteY16" fmla="*/ 57256 h 58333"/>
                <a:gd name="connsiteX17" fmla="*/ 45808 w 46886"/>
                <a:gd name="connsiteY17" fmla="*/ 48319 h 58333"/>
                <a:gd name="connsiteX18" fmla="*/ 45808 w 46886"/>
                <a:gd name="connsiteY18" fmla="*/ 48319 h 58333"/>
                <a:gd name="connsiteX19" fmla="*/ 31111 w 46886"/>
                <a:gd name="connsiteY19" fmla="*/ 26613 h 58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6886" h="58333">
                  <a:moveTo>
                    <a:pt x="31111" y="26613"/>
                  </a:moveTo>
                  <a:lnTo>
                    <a:pt x="41974" y="10015"/>
                  </a:lnTo>
                  <a:cubicBezTo>
                    <a:pt x="43891" y="6823"/>
                    <a:pt x="43252" y="2992"/>
                    <a:pt x="40057" y="1077"/>
                  </a:cubicBezTo>
                  <a:cubicBezTo>
                    <a:pt x="36862" y="-838"/>
                    <a:pt x="33028" y="-200"/>
                    <a:pt x="31111" y="2992"/>
                  </a:cubicBezTo>
                  <a:lnTo>
                    <a:pt x="23443" y="15122"/>
                  </a:lnTo>
                  <a:lnTo>
                    <a:pt x="15775" y="2992"/>
                  </a:lnTo>
                  <a:cubicBezTo>
                    <a:pt x="13858" y="-200"/>
                    <a:pt x="10024" y="-838"/>
                    <a:pt x="6829" y="1077"/>
                  </a:cubicBezTo>
                  <a:cubicBezTo>
                    <a:pt x="6829" y="1077"/>
                    <a:pt x="6829" y="1077"/>
                    <a:pt x="6829" y="1077"/>
                  </a:cubicBezTo>
                  <a:cubicBezTo>
                    <a:pt x="3634" y="2992"/>
                    <a:pt x="2995" y="6823"/>
                    <a:pt x="4912" y="10015"/>
                  </a:cubicBezTo>
                  <a:lnTo>
                    <a:pt x="15775" y="26613"/>
                  </a:lnTo>
                  <a:lnTo>
                    <a:pt x="1078" y="48319"/>
                  </a:lnTo>
                  <a:cubicBezTo>
                    <a:pt x="-839" y="51511"/>
                    <a:pt x="-200" y="55341"/>
                    <a:pt x="2995" y="57256"/>
                  </a:cubicBezTo>
                  <a:cubicBezTo>
                    <a:pt x="6190" y="59172"/>
                    <a:pt x="10024" y="58533"/>
                    <a:pt x="11941" y="55341"/>
                  </a:cubicBezTo>
                  <a:cubicBezTo>
                    <a:pt x="11941" y="55341"/>
                    <a:pt x="11941" y="55341"/>
                    <a:pt x="11941" y="55341"/>
                  </a:cubicBezTo>
                  <a:lnTo>
                    <a:pt x="23443" y="38104"/>
                  </a:lnTo>
                  <a:lnTo>
                    <a:pt x="34945" y="55341"/>
                  </a:lnTo>
                  <a:cubicBezTo>
                    <a:pt x="36862" y="58533"/>
                    <a:pt x="40696" y="59172"/>
                    <a:pt x="43891" y="57256"/>
                  </a:cubicBezTo>
                  <a:cubicBezTo>
                    <a:pt x="47086" y="55341"/>
                    <a:pt x="47725" y="51511"/>
                    <a:pt x="45808" y="48319"/>
                  </a:cubicBezTo>
                  <a:cubicBezTo>
                    <a:pt x="45808" y="48319"/>
                    <a:pt x="45808" y="48319"/>
                    <a:pt x="45808" y="48319"/>
                  </a:cubicBezTo>
                  <a:lnTo>
                    <a:pt x="31111" y="2661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Graphic 1100">
              <a:extLst>
                <a:ext uri="{FF2B5EF4-FFF2-40B4-BE49-F238E27FC236}">
                  <a16:creationId xmlns:a16="http://schemas.microsoft.com/office/drawing/2014/main" id="{946EA59E-3344-B6BD-326A-E65F3D15A421}"/>
                </a:ext>
              </a:extLst>
            </p:cNvPr>
            <p:cNvSpPr/>
            <p:nvPr/>
          </p:nvSpPr>
          <p:spPr>
            <a:xfrm>
              <a:off x="4872476" y="2073986"/>
              <a:ext cx="38708" cy="59288"/>
            </a:xfrm>
            <a:custGeom>
              <a:avLst/>
              <a:gdLst>
                <a:gd name="connsiteX0" fmla="*/ 23494 w 38708"/>
                <a:gd name="connsiteY0" fmla="*/ 24116 h 59288"/>
                <a:gd name="connsiteX1" fmla="*/ 15826 w 38708"/>
                <a:gd name="connsiteY1" fmla="*/ 17732 h 59288"/>
                <a:gd name="connsiteX2" fmla="*/ 17104 w 38708"/>
                <a:gd name="connsiteY2" fmla="*/ 13902 h 59288"/>
                <a:gd name="connsiteX3" fmla="*/ 29244 w 38708"/>
                <a:gd name="connsiteY3" fmla="*/ 13902 h 59288"/>
                <a:gd name="connsiteX4" fmla="*/ 36912 w 38708"/>
                <a:gd name="connsiteY4" fmla="*/ 9433 h 59288"/>
                <a:gd name="connsiteX5" fmla="*/ 32439 w 38708"/>
                <a:gd name="connsiteY5" fmla="*/ 1772 h 59288"/>
                <a:gd name="connsiteX6" fmla="*/ 6880 w 38708"/>
                <a:gd name="connsiteY6" fmla="*/ 4964 h 59288"/>
                <a:gd name="connsiteX7" fmla="*/ 2407 w 38708"/>
                <a:gd name="connsiteY7" fmla="*/ 20285 h 59288"/>
                <a:gd name="connsiteX8" fmla="*/ 17743 w 38708"/>
                <a:gd name="connsiteY8" fmla="*/ 35607 h 59288"/>
                <a:gd name="connsiteX9" fmla="*/ 24772 w 38708"/>
                <a:gd name="connsiteY9" fmla="*/ 40714 h 59288"/>
                <a:gd name="connsiteX10" fmla="*/ 24772 w 38708"/>
                <a:gd name="connsiteY10" fmla="*/ 43268 h 59288"/>
                <a:gd name="connsiteX11" fmla="*/ 8797 w 38708"/>
                <a:gd name="connsiteY11" fmla="*/ 44545 h 59288"/>
                <a:gd name="connsiteX12" fmla="*/ 490 w 38708"/>
                <a:gd name="connsiteY12" fmla="*/ 47737 h 59288"/>
                <a:gd name="connsiteX13" fmla="*/ 490 w 38708"/>
                <a:gd name="connsiteY13" fmla="*/ 47737 h 59288"/>
                <a:gd name="connsiteX14" fmla="*/ 3685 w 38708"/>
                <a:gd name="connsiteY14" fmla="*/ 56036 h 59288"/>
                <a:gd name="connsiteX15" fmla="*/ 17743 w 38708"/>
                <a:gd name="connsiteY15" fmla="*/ 59228 h 59288"/>
                <a:gd name="connsiteX16" fmla="*/ 36912 w 38708"/>
                <a:gd name="connsiteY16" fmla="*/ 49013 h 59288"/>
                <a:gd name="connsiteX17" fmla="*/ 37552 w 38708"/>
                <a:gd name="connsiteY17" fmla="*/ 36245 h 59288"/>
                <a:gd name="connsiteX18" fmla="*/ 23494 w 38708"/>
                <a:gd name="connsiteY18" fmla="*/ 24116 h 59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708" h="59288">
                  <a:moveTo>
                    <a:pt x="23494" y="24116"/>
                  </a:moveTo>
                  <a:cubicBezTo>
                    <a:pt x="19021" y="22201"/>
                    <a:pt x="16464" y="19647"/>
                    <a:pt x="15826" y="17732"/>
                  </a:cubicBezTo>
                  <a:cubicBezTo>
                    <a:pt x="15826" y="16455"/>
                    <a:pt x="15826" y="15178"/>
                    <a:pt x="17104" y="13902"/>
                  </a:cubicBezTo>
                  <a:cubicBezTo>
                    <a:pt x="18382" y="12625"/>
                    <a:pt x="24772" y="12625"/>
                    <a:pt x="29244" y="13902"/>
                  </a:cubicBezTo>
                  <a:cubicBezTo>
                    <a:pt x="32439" y="15178"/>
                    <a:pt x="36273" y="13263"/>
                    <a:pt x="36912" y="9433"/>
                  </a:cubicBezTo>
                  <a:cubicBezTo>
                    <a:pt x="38190" y="6241"/>
                    <a:pt x="36273" y="2410"/>
                    <a:pt x="32439" y="1772"/>
                  </a:cubicBezTo>
                  <a:cubicBezTo>
                    <a:pt x="29244" y="1134"/>
                    <a:pt x="14548" y="-3335"/>
                    <a:pt x="6880" y="4964"/>
                  </a:cubicBezTo>
                  <a:cubicBezTo>
                    <a:pt x="3046" y="8794"/>
                    <a:pt x="1129" y="14540"/>
                    <a:pt x="2407" y="20285"/>
                  </a:cubicBezTo>
                  <a:cubicBezTo>
                    <a:pt x="4324" y="27946"/>
                    <a:pt x="10075" y="33692"/>
                    <a:pt x="17743" y="35607"/>
                  </a:cubicBezTo>
                  <a:cubicBezTo>
                    <a:pt x="23494" y="38161"/>
                    <a:pt x="24772" y="40076"/>
                    <a:pt x="24772" y="40714"/>
                  </a:cubicBezTo>
                  <a:cubicBezTo>
                    <a:pt x="24772" y="41353"/>
                    <a:pt x="25411" y="41353"/>
                    <a:pt x="24772" y="43268"/>
                  </a:cubicBezTo>
                  <a:cubicBezTo>
                    <a:pt x="24132" y="45183"/>
                    <a:pt x="19021" y="49013"/>
                    <a:pt x="8797" y="44545"/>
                  </a:cubicBezTo>
                  <a:cubicBezTo>
                    <a:pt x="5602" y="43268"/>
                    <a:pt x="1768" y="44545"/>
                    <a:pt x="490" y="47737"/>
                  </a:cubicBezTo>
                  <a:cubicBezTo>
                    <a:pt x="490" y="47737"/>
                    <a:pt x="490" y="47737"/>
                    <a:pt x="490" y="47737"/>
                  </a:cubicBezTo>
                  <a:cubicBezTo>
                    <a:pt x="-788" y="50929"/>
                    <a:pt x="490" y="54759"/>
                    <a:pt x="3685" y="56036"/>
                  </a:cubicBezTo>
                  <a:cubicBezTo>
                    <a:pt x="8158" y="57951"/>
                    <a:pt x="12631" y="59228"/>
                    <a:pt x="17743" y="59228"/>
                  </a:cubicBezTo>
                  <a:cubicBezTo>
                    <a:pt x="25411" y="59866"/>
                    <a:pt x="33079" y="55397"/>
                    <a:pt x="36912" y="49013"/>
                  </a:cubicBezTo>
                  <a:cubicBezTo>
                    <a:pt x="38829" y="45183"/>
                    <a:pt x="39468" y="40714"/>
                    <a:pt x="37552" y="36245"/>
                  </a:cubicBezTo>
                  <a:cubicBezTo>
                    <a:pt x="34995" y="30500"/>
                    <a:pt x="29884" y="26031"/>
                    <a:pt x="23494" y="24116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7" name="Graphic 4">
            <a:extLst>
              <a:ext uri="{FF2B5EF4-FFF2-40B4-BE49-F238E27FC236}">
                <a16:creationId xmlns:a16="http://schemas.microsoft.com/office/drawing/2014/main" id="{50EDCAB9-C48F-41DA-257A-A27047DD0F6E}"/>
              </a:ext>
            </a:extLst>
          </p:cNvPr>
          <p:cNvGrpSpPr>
            <a:grpSpLocks noChangeAspect="1"/>
          </p:cNvGrpSpPr>
          <p:nvPr/>
        </p:nvGrpSpPr>
        <p:grpSpPr>
          <a:xfrm>
            <a:off x="9730654" y="1317322"/>
            <a:ext cx="942339" cy="941460"/>
            <a:chOff x="1515054" y="3824168"/>
            <a:chExt cx="362309" cy="361971"/>
          </a:xfrm>
          <a:solidFill>
            <a:schemeClr val="accent3"/>
          </a:solidFill>
        </p:grpSpPr>
        <p:sp>
          <p:nvSpPr>
            <p:cNvPr id="48" name="Graphic 4">
              <a:extLst>
                <a:ext uri="{FF2B5EF4-FFF2-40B4-BE49-F238E27FC236}">
                  <a16:creationId xmlns:a16="http://schemas.microsoft.com/office/drawing/2014/main" id="{12082E4A-87ED-38FD-DA19-0ED0EBB5F9F7}"/>
                </a:ext>
              </a:extLst>
            </p:cNvPr>
            <p:cNvSpPr/>
            <p:nvPr/>
          </p:nvSpPr>
          <p:spPr>
            <a:xfrm>
              <a:off x="1515054" y="3824168"/>
              <a:ext cx="362309" cy="361971"/>
            </a:xfrm>
            <a:custGeom>
              <a:avLst/>
              <a:gdLst>
                <a:gd name="connsiteX0" fmla="*/ 180835 w 362309"/>
                <a:gd name="connsiteY0" fmla="*/ 0 h 361971"/>
                <a:gd name="connsiteX1" fmla="*/ 0 w 362309"/>
                <a:gd name="connsiteY1" fmla="*/ 180667 h 361971"/>
                <a:gd name="connsiteX2" fmla="*/ 180835 w 362309"/>
                <a:gd name="connsiteY2" fmla="*/ 361971 h 361971"/>
                <a:gd name="connsiteX3" fmla="*/ 362309 w 362309"/>
                <a:gd name="connsiteY3" fmla="*/ 180667 h 361971"/>
                <a:gd name="connsiteX4" fmla="*/ 362309 w 362309"/>
                <a:gd name="connsiteY4" fmla="*/ 180667 h 361971"/>
                <a:gd name="connsiteX5" fmla="*/ 180835 w 362309"/>
                <a:gd name="connsiteY5" fmla="*/ 0 h 361971"/>
                <a:gd name="connsiteX6" fmla="*/ 180835 w 362309"/>
                <a:gd name="connsiteY6" fmla="*/ 349204 h 361971"/>
                <a:gd name="connsiteX7" fmla="*/ 12780 w 362309"/>
                <a:gd name="connsiteY7" fmla="*/ 180667 h 361971"/>
                <a:gd name="connsiteX8" fmla="*/ 180835 w 362309"/>
                <a:gd name="connsiteY8" fmla="*/ 12768 h 361971"/>
                <a:gd name="connsiteX9" fmla="*/ 349529 w 362309"/>
                <a:gd name="connsiteY9" fmla="*/ 181305 h 361971"/>
                <a:gd name="connsiteX10" fmla="*/ 349529 w 362309"/>
                <a:gd name="connsiteY10" fmla="*/ 181305 h 361971"/>
                <a:gd name="connsiteX11" fmla="*/ 180835 w 362309"/>
                <a:gd name="connsiteY11" fmla="*/ 349204 h 361971"/>
                <a:gd name="connsiteX12" fmla="*/ 180835 w 362309"/>
                <a:gd name="connsiteY12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2309" h="361971">
                  <a:moveTo>
                    <a:pt x="180835" y="0"/>
                  </a:moveTo>
                  <a:cubicBezTo>
                    <a:pt x="80513" y="0"/>
                    <a:pt x="0" y="81076"/>
                    <a:pt x="0" y="180667"/>
                  </a:cubicBezTo>
                  <a:cubicBezTo>
                    <a:pt x="0" y="280895"/>
                    <a:pt x="81152" y="361971"/>
                    <a:pt x="180835" y="361971"/>
                  </a:cubicBezTo>
                  <a:cubicBezTo>
                    <a:pt x="280518" y="361971"/>
                    <a:pt x="362309" y="280895"/>
                    <a:pt x="362309" y="180667"/>
                  </a:cubicBezTo>
                  <a:lnTo>
                    <a:pt x="362309" y="180667"/>
                  </a:lnTo>
                  <a:cubicBezTo>
                    <a:pt x="361670" y="81076"/>
                    <a:pt x="280518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7542" y="349204"/>
                    <a:pt x="12780" y="273873"/>
                    <a:pt x="12780" y="180667"/>
                  </a:cubicBezTo>
                  <a:cubicBezTo>
                    <a:pt x="12780" y="87460"/>
                    <a:pt x="88181" y="12768"/>
                    <a:pt x="180835" y="12768"/>
                  </a:cubicBezTo>
                  <a:cubicBezTo>
                    <a:pt x="274128" y="12768"/>
                    <a:pt x="349529" y="88099"/>
                    <a:pt x="349529" y="181305"/>
                  </a:cubicBezTo>
                  <a:lnTo>
                    <a:pt x="349529" y="181305"/>
                  </a:lnTo>
                  <a:cubicBezTo>
                    <a:pt x="348891" y="273873"/>
                    <a:pt x="273489" y="349204"/>
                    <a:pt x="180835" y="349204"/>
                  </a:cubicBezTo>
                  <a:lnTo>
                    <a:pt x="180835" y="34920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Graphic 4">
              <a:extLst>
                <a:ext uri="{FF2B5EF4-FFF2-40B4-BE49-F238E27FC236}">
                  <a16:creationId xmlns:a16="http://schemas.microsoft.com/office/drawing/2014/main" id="{C319EF76-9A45-CDED-1B78-3C34996CFDA7}"/>
                </a:ext>
              </a:extLst>
            </p:cNvPr>
            <p:cNvSpPr/>
            <p:nvPr/>
          </p:nvSpPr>
          <p:spPr>
            <a:xfrm>
              <a:off x="1650520" y="3934610"/>
              <a:ext cx="90737" cy="91290"/>
            </a:xfrm>
            <a:custGeom>
              <a:avLst/>
              <a:gdLst>
                <a:gd name="connsiteX0" fmla="*/ 45369 w 90737"/>
                <a:gd name="connsiteY0" fmla="*/ 0 h 91290"/>
                <a:gd name="connsiteX1" fmla="*/ 0 w 90737"/>
                <a:gd name="connsiteY1" fmla="*/ 45965 h 91290"/>
                <a:gd name="connsiteX2" fmla="*/ 45369 w 90737"/>
                <a:gd name="connsiteY2" fmla="*/ 91291 h 91290"/>
                <a:gd name="connsiteX3" fmla="*/ 90737 w 90737"/>
                <a:gd name="connsiteY3" fmla="*/ 45965 h 91290"/>
                <a:gd name="connsiteX4" fmla="*/ 45369 w 90737"/>
                <a:gd name="connsiteY4" fmla="*/ 0 h 91290"/>
                <a:gd name="connsiteX5" fmla="*/ 45369 w 90737"/>
                <a:gd name="connsiteY5" fmla="*/ 78523 h 91290"/>
                <a:gd name="connsiteX6" fmla="*/ 12780 w 90737"/>
                <a:gd name="connsiteY6" fmla="*/ 45326 h 91290"/>
                <a:gd name="connsiteX7" fmla="*/ 45369 w 90737"/>
                <a:gd name="connsiteY7" fmla="*/ 12768 h 91290"/>
                <a:gd name="connsiteX8" fmla="*/ 77957 w 90737"/>
                <a:gd name="connsiteY8" fmla="*/ 45326 h 91290"/>
                <a:gd name="connsiteX9" fmla="*/ 77957 w 90737"/>
                <a:gd name="connsiteY9" fmla="*/ 45326 h 91290"/>
                <a:gd name="connsiteX10" fmla="*/ 45369 w 90737"/>
                <a:gd name="connsiteY10" fmla="*/ 78523 h 91290"/>
                <a:gd name="connsiteX11" fmla="*/ 45369 w 90737"/>
                <a:gd name="connsiteY11" fmla="*/ 78523 h 91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0737" h="91290">
                  <a:moveTo>
                    <a:pt x="45369" y="0"/>
                  </a:moveTo>
                  <a:cubicBezTo>
                    <a:pt x="20448" y="0"/>
                    <a:pt x="0" y="20429"/>
                    <a:pt x="0" y="45965"/>
                  </a:cubicBezTo>
                  <a:cubicBezTo>
                    <a:pt x="0" y="70862"/>
                    <a:pt x="20448" y="91291"/>
                    <a:pt x="45369" y="91291"/>
                  </a:cubicBezTo>
                  <a:cubicBezTo>
                    <a:pt x="70289" y="91291"/>
                    <a:pt x="90737" y="70862"/>
                    <a:pt x="90737" y="45965"/>
                  </a:cubicBezTo>
                  <a:cubicBezTo>
                    <a:pt x="90737" y="20429"/>
                    <a:pt x="70289" y="0"/>
                    <a:pt x="45369" y="0"/>
                  </a:cubicBezTo>
                  <a:close/>
                  <a:moveTo>
                    <a:pt x="45369" y="78523"/>
                  </a:moveTo>
                  <a:cubicBezTo>
                    <a:pt x="27477" y="78523"/>
                    <a:pt x="12780" y="63840"/>
                    <a:pt x="12780" y="45326"/>
                  </a:cubicBezTo>
                  <a:cubicBezTo>
                    <a:pt x="12780" y="27451"/>
                    <a:pt x="27477" y="12768"/>
                    <a:pt x="45369" y="12768"/>
                  </a:cubicBezTo>
                  <a:cubicBezTo>
                    <a:pt x="63261" y="12768"/>
                    <a:pt x="77957" y="27451"/>
                    <a:pt x="77957" y="45326"/>
                  </a:cubicBezTo>
                  <a:cubicBezTo>
                    <a:pt x="77957" y="45326"/>
                    <a:pt x="77957" y="45326"/>
                    <a:pt x="77957" y="45326"/>
                  </a:cubicBezTo>
                  <a:cubicBezTo>
                    <a:pt x="77957" y="63840"/>
                    <a:pt x="63261" y="78523"/>
                    <a:pt x="45369" y="78523"/>
                  </a:cubicBezTo>
                  <a:lnTo>
                    <a:pt x="45369" y="7852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Graphic 4">
              <a:extLst>
                <a:ext uri="{FF2B5EF4-FFF2-40B4-BE49-F238E27FC236}">
                  <a16:creationId xmlns:a16="http://schemas.microsoft.com/office/drawing/2014/main" id="{99158F35-72F2-8790-D121-16D2D5A44FD4}"/>
                </a:ext>
              </a:extLst>
            </p:cNvPr>
            <p:cNvSpPr/>
            <p:nvPr/>
          </p:nvSpPr>
          <p:spPr>
            <a:xfrm>
              <a:off x="1603874" y="3889284"/>
              <a:ext cx="183489" cy="182582"/>
            </a:xfrm>
            <a:custGeom>
              <a:avLst/>
              <a:gdLst>
                <a:gd name="connsiteX0" fmla="*/ 177640 w 183489"/>
                <a:gd name="connsiteY0" fmla="*/ 70862 h 182582"/>
                <a:gd name="connsiteX1" fmla="*/ 166777 w 183489"/>
                <a:gd name="connsiteY1" fmla="*/ 70862 h 182582"/>
                <a:gd name="connsiteX2" fmla="*/ 159748 w 183489"/>
                <a:gd name="connsiteY2" fmla="*/ 53626 h 182582"/>
                <a:gd name="connsiteX3" fmla="*/ 167416 w 183489"/>
                <a:gd name="connsiteY3" fmla="*/ 45965 h 182582"/>
                <a:gd name="connsiteX4" fmla="*/ 167416 w 183489"/>
                <a:gd name="connsiteY4" fmla="*/ 37027 h 182582"/>
                <a:gd name="connsiteX5" fmla="*/ 167416 w 183489"/>
                <a:gd name="connsiteY5" fmla="*/ 37027 h 182582"/>
                <a:gd name="connsiteX6" fmla="*/ 146969 w 183489"/>
                <a:gd name="connsiteY6" fmla="*/ 16599 h 182582"/>
                <a:gd name="connsiteX7" fmla="*/ 138023 w 183489"/>
                <a:gd name="connsiteY7" fmla="*/ 16599 h 182582"/>
                <a:gd name="connsiteX8" fmla="*/ 138023 w 183489"/>
                <a:gd name="connsiteY8" fmla="*/ 16599 h 182582"/>
                <a:gd name="connsiteX9" fmla="*/ 130355 w 183489"/>
                <a:gd name="connsiteY9" fmla="*/ 24259 h 182582"/>
                <a:gd name="connsiteX10" fmla="*/ 113741 w 183489"/>
                <a:gd name="connsiteY10" fmla="*/ 17237 h 182582"/>
                <a:gd name="connsiteX11" fmla="*/ 113741 w 183489"/>
                <a:gd name="connsiteY11" fmla="*/ 6384 h 182582"/>
                <a:gd name="connsiteX12" fmla="*/ 107351 w 183489"/>
                <a:gd name="connsiteY12" fmla="*/ 0 h 182582"/>
                <a:gd name="connsiteX13" fmla="*/ 77957 w 183489"/>
                <a:gd name="connsiteY13" fmla="*/ 0 h 182582"/>
                <a:gd name="connsiteX14" fmla="*/ 71567 w 183489"/>
                <a:gd name="connsiteY14" fmla="*/ 6384 h 182582"/>
                <a:gd name="connsiteX15" fmla="*/ 71567 w 183489"/>
                <a:gd name="connsiteY15" fmla="*/ 17237 h 182582"/>
                <a:gd name="connsiteX16" fmla="*/ 54954 w 183489"/>
                <a:gd name="connsiteY16" fmla="*/ 24259 h 182582"/>
                <a:gd name="connsiteX17" fmla="*/ 47285 w 183489"/>
                <a:gd name="connsiteY17" fmla="*/ 15960 h 182582"/>
                <a:gd name="connsiteX18" fmla="*/ 38340 w 183489"/>
                <a:gd name="connsiteY18" fmla="*/ 15960 h 182582"/>
                <a:gd name="connsiteX19" fmla="*/ 17892 w 183489"/>
                <a:gd name="connsiteY19" fmla="*/ 36389 h 182582"/>
                <a:gd name="connsiteX20" fmla="*/ 17892 w 183489"/>
                <a:gd name="connsiteY20" fmla="*/ 45327 h 182582"/>
                <a:gd name="connsiteX21" fmla="*/ 25560 w 183489"/>
                <a:gd name="connsiteY21" fmla="*/ 52987 h 182582"/>
                <a:gd name="connsiteX22" fmla="*/ 18531 w 183489"/>
                <a:gd name="connsiteY22" fmla="*/ 69586 h 182582"/>
                <a:gd name="connsiteX23" fmla="*/ 6390 w 183489"/>
                <a:gd name="connsiteY23" fmla="*/ 69586 h 182582"/>
                <a:gd name="connsiteX24" fmla="*/ 0 w 183489"/>
                <a:gd name="connsiteY24" fmla="*/ 75970 h 182582"/>
                <a:gd name="connsiteX25" fmla="*/ 0 w 183489"/>
                <a:gd name="connsiteY25" fmla="*/ 105336 h 182582"/>
                <a:gd name="connsiteX26" fmla="*/ 6390 w 183489"/>
                <a:gd name="connsiteY26" fmla="*/ 111720 h 182582"/>
                <a:gd name="connsiteX27" fmla="*/ 17253 w 183489"/>
                <a:gd name="connsiteY27" fmla="*/ 111720 h 182582"/>
                <a:gd name="connsiteX28" fmla="*/ 24282 w 183489"/>
                <a:gd name="connsiteY28" fmla="*/ 128318 h 182582"/>
                <a:gd name="connsiteX29" fmla="*/ 16614 w 183489"/>
                <a:gd name="connsiteY29" fmla="*/ 136617 h 182582"/>
                <a:gd name="connsiteX30" fmla="*/ 14697 w 183489"/>
                <a:gd name="connsiteY30" fmla="*/ 141086 h 182582"/>
                <a:gd name="connsiteX31" fmla="*/ 16614 w 183489"/>
                <a:gd name="connsiteY31" fmla="*/ 145555 h 182582"/>
                <a:gd name="connsiteX32" fmla="*/ 37062 w 183489"/>
                <a:gd name="connsiteY32" fmla="*/ 165984 h 182582"/>
                <a:gd name="connsiteX33" fmla="*/ 46008 w 183489"/>
                <a:gd name="connsiteY33" fmla="*/ 165984 h 182582"/>
                <a:gd name="connsiteX34" fmla="*/ 46008 w 183489"/>
                <a:gd name="connsiteY34" fmla="*/ 165984 h 182582"/>
                <a:gd name="connsiteX35" fmla="*/ 53675 w 183489"/>
                <a:gd name="connsiteY35" fmla="*/ 158323 h 182582"/>
                <a:gd name="connsiteX36" fmla="*/ 70289 w 183489"/>
                <a:gd name="connsiteY36" fmla="*/ 165345 h 182582"/>
                <a:gd name="connsiteX37" fmla="*/ 70289 w 183489"/>
                <a:gd name="connsiteY37" fmla="*/ 176198 h 182582"/>
                <a:gd name="connsiteX38" fmla="*/ 76679 w 183489"/>
                <a:gd name="connsiteY38" fmla="*/ 182582 h 182582"/>
                <a:gd name="connsiteX39" fmla="*/ 106073 w 183489"/>
                <a:gd name="connsiteY39" fmla="*/ 182582 h 182582"/>
                <a:gd name="connsiteX40" fmla="*/ 112463 w 183489"/>
                <a:gd name="connsiteY40" fmla="*/ 176198 h 182582"/>
                <a:gd name="connsiteX41" fmla="*/ 112463 w 183489"/>
                <a:gd name="connsiteY41" fmla="*/ 165345 h 182582"/>
                <a:gd name="connsiteX42" fmla="*/ 129077 w 183489"/>
                <a:gd name="connsiteY42" fmla="*/ 158323 h 182582"/>
                <a:gd name="connsiteX43" fmla="*/ 136745 w 183489"/>
                <a:gd name="connsiteY43" fmla="*/ 165984 h 182582"/>
                <a:gd name="connsiteX44" fmla="*/ 145690 w 183489"/>
                <a:gd name="connsiteY44" fmla="*/ 165984 h 182582"/>
                <a:gd name="connsiteX45" fmla="*/ 166138 w 183489"/>
                <a:gd name="connsiteY45" fmla="*/ 145555 h 182582"/>
                <a:gd name="connsiteX46" fmla="*/ 166138 w 183489"/>
                <a:gd name="connsiteY46" fmla="*/ 136617 h 182582"/>
                <a:gd name="connsiteX47" fmla="*/ 159109 w 183489"/>
                <a:gd name="connsiteY47" fmla="*/ 128957 h 182582"/>
                <a:gd name="connsiteX48" fmla="*/ 166138 w 183489"/>
                <a:gd name="connsiteY48" fmla="*/ 112358 h 182582"/>
                <a:gd name="connsiteX49" fmla="*/ 177001 w 183489"/>
                <a:gd name="connsiteY49" fmla="*/ 112358 h 182582"/>
                <a:gd name="connsiteX50" fmla="*/ 183391 w 183489"/>
                <a:gd name="connsiteY50" fmla="*/ 105974 h 182582"/>
                <a:gd name="connsiteX51" fmla="*/ 183391 w 183489"/>
                <a:gd name="connsiteY51" fmla="*/ 76608 h 182582"/>
                <a:gd name="connsiteX52" fmla="*/ 177640 w 183489"/>
                <a:gd name="connsiteY52" fmla="*/ 70862 h 182582"/>
                <a:gd name="connsiteX53" fmla="*/ 177640 w 183489"/>
                <a:gd name="connsiteY53" fmla="*/ 70862 h 182582"/>
                <a:gd name="connsiteX54" fmla="*/ 171250 w 183489"/>
                <a:gd name="connsiteY54" fmla="*/ 99590 h 182582"/>
                <a:gd name="connsiteX55" fmla="*/ 161665 w 183489"/>
                <a:gd name="connsiteY55" fmla="*/ 99590 h 182582"/>
                <a:gd name="connsiteX56" fmla="*/ 155275 w 183489"/>
                <a:gd name="connsiteY56" fmla="*/ 104697 h 182582"/>
                <a:gd name="connsiteX57" fmla="*/ 145690 w 183489"/>
                <a:gd name="connsiteY57" fmla="*/ 127041 h 182582"/>
                <a:gd name="connsiteX58" fmla="*/ 146330 w 183489"/>
                <a:gd name="connsiteY58" fmla="*/ 135341 h 182582"/>
                <a:gd name="connsiteX59" fmla="*/ 152719 w 183489"/>
                <a:gd name="connsiteY59" fmla="*/ 141724 h 182582"/>
                <a:gd name="connsiteX60" fmla="*/ 141218 w 183489"/>
                <a:gd name="connsiteY60" fmla="*/ 153216 h 182582"/>
                <a:gd name="connsiteX61" fmla="*/ 134189 w 183489"/>
                <a:gd name="connsiteY61" fmla="*/ 146193 h 182582"/>
                <a:gd name="connsiteX62" fmla="*/ 126521 w 183489"/>
                <a:gd name="connsiteY62" fmla="*/ 145555 h 182582"/>
                <a:gd name="connsiteX63" fmla="*/ 104156 w 183489"/>
                <a:gd name="connsiteY63" fmla="*/ 154492 h 182582"/>
                <a:gd name="connsiteX64" fmla="*/ 99044 w 183489"/>
                <a:gd name="connsiteY64" fmla="*/ 160876 h 182582"/>
                <a:gd name="connsiteX65" fmla="*/ 99044 w 183489"/>
                <a:gd name="connsiteY65" fmla="*/ 170452 h 182582"/>
                <a:gd name="connsiteX66" fmla="*/ 83069 w 183489"/>
                <a:gd name="connsiteY66" fmla="*/ 170452 h 182582"/>
                <a:gd name="connsiteX67" fmla="*/ 83069 w 183489"/>
                <a:gd name="connsiteY67" fmla="*/ 160876 h 182582"/>
                <a:gd name="connsiteX68" fmla="*/ 77957 w 183489"/>
                <a:gd name="connsiteY68" fmla="*/ 154492 h 182582"/>
                <a:gd name="connsiteX69" fmla="*/ 56231 w 183489"/>
                <a:gd name="connsiteY69" fmla="*/ 144916 h 182582"/>
                <a:gd name="connsiteX70" fmla="*/ 47925 w 183489"/>
                <a:gd name="connsiteY70" fmla="*/ 145555 h 182582"/>
                <a:gd name="connsiteX71" fmla="*/ 41535 w 183489"/>
                <a:gd name="connsiteY71" fmla="*/ 151939 h 182582"/>
                <a:gd name="connsiteX72" fmla="*/ 30033 w 183489"/>
                <a:gd name="connsiteY72" fmla="*/ 140448 h 182582"/>
                <a:gd name="connsiteX73" fmla="*/ 37062 w 183489"/>
                <a:gd name="connsiteY73" fmla="*/ 133425 h 182582"/>
                <a:gd name="connsiteX74" fmla="*/ 37701 w 183489"/>
                <a:gd name="connsiteY74" fmla="*/ 125765 h 182582"/>
                <a:gd name="connsiteX75" fmla="*/ 28755 w 183489"/>
                <a:gd name="connsiteY75" fmla="*/ 103421 h 182582"/>
                <a:gd name="connsiteX76" fmla="*/ 22365 w 183489"/>
                <a:gd name="connsiteY76" fmla="*/ 98313 h 182582"/>
                <a:gd name="connsiteX77" fmla="*/ 12780 w 183489"/>
                <a:gd name="connsiteY77" fmla="*/ 98313 h 182582"/>
                <a:gd name="connsiteX78" fmla="*/ 12780 w 183489"/>
                <a:gd name="connsiteY78" fmla="*/ 81715 h 182582"/>
                <a:gd name="connsiteX79" fmla="*/ 22365 w 183489"/>
                <a:gd name="connsiteY79" fmla="*/ 81715 h 182582"/>
                <a:gd name="connsiteX80" fmla="*/ 28755 w 183489"/>
                <a:gd name="connsiteY80" fmla="*/ 76608 h 182582"/>
                <a:gd name="connsiteX81" fmla="*/ 38340 w 183489"/>
                <a:gd name="connsiteY81" fmla="*/ 54902 h 182582"/>
                <a:gd name="connsiteX82" fmla="*/ 37701 w 183489"/>
                <a:gd name="connsiteY82" fmla="*/ 46603 h 182582"/>
                <a:gd name="connsiteX83" fmla="*/ 31311 w 183489"/>
                <a:gd name="connsiteY83" fmla="*/ 40219 h 182582"/>
                <a:gd name="connsiteX84" fmla="*/ 42813 w 183489"/>
                <a:gd name="connsiteY84" fmla="*/ 28728 h 182582"/>
                <a:gd name="connsiteX85" fmla="*/ 49841 w 183489"/>
                <a:gd name="connsiteY85" fmla="*/ 35751 h 182582"/>
                <a:gd name="connsiteX86" fmla="*/ 57509 w 183489"/>
                <a:gd name="connsiteY86" fmla="*/ 36389 h 182582"/>
                <a:gd name="connsiteX87" fmla="*/ 79874 w 183489"/>
                <a:gd name="connsiteY87" fmla="*/ 27451 h 182582"/>
                <a:gd name="connsiteX88" fmla="*/ 84986 w 183489"/>
                <a:gd name="connsiteY88" fmla="*/ 21067 h 182582"/>
                <a:gd name="connsiteX89" fmla="*/ 84986 w 183489"/>
                <a:gd name="connsiteY89" fmla="*/ 11491 h 182582"/>
                <a:gd name="connsiteX90" fmla="*/ 101600 w 183489"/>
                <a:gd name="connsiteY90" fmla="*/ 11491 h 182582"/>
                <a:gd name="connsiteX91" fmla="*/ 101600 w 183489"/>
                <a:gd name="connsiteY91" fmla="*/ 21706 h 182582"/>
                <a:gd name="connsiteX92" fmla="*/ 106712 w 183489"/>
                <a:gd name="connsiteY92" fmla="*/ 28090 h 182582"/>
                <a:gd name="connsiteX93" fmla="*/ 129077 w 183489"/>
                <a:gd name="connsiteY93" fmla="*/ 37666 h 182582"/>
                <a:gd name="connsiteX94" fmla="*/ 137384 w 183489"/>
                <a:gd name="connsiteY94" fmla="*/ 37027 h 182582"/>
                <a:gd name="connsiteX95" fmla="*/ 143774 w 183489"/>
                <a:gd name="connsiteY95" fmla="*/ 30643 h 182582"/>
                <a:gd name="connsiteX96" fmla="*/ 155275 w 183489"/>
                <a:gd name="connsiteY96" fmla="*/ 42135 h 182582"/>
                <a:gd name="connsiteX97" fmla="*/ 148247 w 183489"/>
                <a:gd name="connsiteY97" fmla="*/ 49157 h 182582"/>
                <a:gd name="connsiteX98" fmla="*/ 147608 w 183489"/>
                <a:gd name="connsiteY98" fmla="*/ 56818 h 182582"/>
                <a:gd name="connsiteX99" fmla="*/ 156553 w 183489"/>
                <a:gd name="connsiteY99" fmla="*/ 79162 h 182582"/>
                <a:gd name="connsiteX100" fmla="*/ 162943 w 183489"/>
                <a:gd name="connsiteY100" fmla="*/ 84269 h 182582"/>
                <a:gd name="connsiteX101" fmla="*/ 172528 w 183489"/>
                <a:gd name="connsiteY101" fmla="*/ 84269 h 182582"/>
                <a:gd name="connsiteX102" fmla="*/ 171250 w 183489"/>
                <a:gd name="connsiteY102" fmla="*/ 99590 h 182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183489" h="182582">
                  <a:moveTo>
                    <a:pt x="177640" y="70862"/>
                  </a:moveTo>
                  <a:lnTo>
                    <a:pt x="166777" y="70862"/>
                  </a:lnTo>
                  <a:cubicBezTo>
                    <a:pt x="164860" y="65117"/>
                    <a:pt x="162943" y="59371"/>
                    <a:pt x="159748" y="53626"/>
                  </a:cubicBezTo>
                  <a:lnTo>
                    <a:pt x="167416" y="45965"/>
                  </a:lnTo>
                  <a:cubicBezTo>
                    <a:pt x="169972" y="43411"/>
                    <a:pt x="169972" y="39581"/>
                    <a:pt x="167416" y="37027"/>
                  </a:cubicBezTo>
                  <a:cubicBezTo>
                    <a:pt x="167416" y="37027"/>
                    <a:pt x="167416" y="37027"/>
                    <a:pt x="167416" y="37027"/>
                  </a:cubicBezTo>
                  <a:lnTo>
                    <a:pt x="146969" y="16599"/>
                  </a:lnTo>
                  <a:cubicBezTo>
                    <a:pt x="144413" y="14045"/>
                    <a:pt x="140579" y="14045"/>
                    <a:pt x="138023" y="16599"/>
                  </a:cubicBezTo>
                  <a:cubicBezTo>
                    <a:pt x="138023" y="16599"/>
                    <a:pt x="138023" y="16599"/>
                    <a:pt x="138023" y="16599"/>
                  </a:cubicBezTo>
                  <a:lnTo>
                    <a:pt x="130355" y="24259"/>
                  </a:lnTo>
                  <a:cubicBezTo>
                    <a:pt x="125243" y="21067"/>
                    <a:pt x="119492" y="18514"/>
                    <a:pt x="113741" y="17237"/>
                  </a:cubicBezTo>
                  <a:lnTo>
                    <a:pt x="113741" y="6384"/>
                  </a:lnTo>
                  <a:cubicBezTo>
                    <a:pt x="113741" y="2554"/>
                    <a:pt x="111185" y="0"/>
                    <a:pt x="107351" y="0"/>
                  </a:cubicBezTo>
                  <a:lnTo>
                    <a:pt x="77957" y="0"/>
                  </a:lnTo>
                  <a:cubicBezTo>
                    <a:pt x="74123" y="0"/>
                    <a:pt x="71567" y="2554"/>
                    <a:pt x="71567" y="6384"/>
                  </a:cubicBezTo>
                  <a:lnTo>
                    <a:pt x="71567" y="17237"/>
                  </a:lnTo>
                  <a:cubicBezTo>
                    <a:pt x="65816" y="19152"/>
                    <a:pt x="60065" y="21067"/>
                    <a:pt x="54954" y="24259"/>
                  </a:cubicBezTo>
                  <a:lnTo>
                    <a:pt x="47285" y="15960"/>
                  </a:lnTo>
                  <a:cubicBezTo>
                    <a:pt x="44730" y="13407"/>
                    <a:pt x="40896" y="13407"/>
                    <a:pt x="38340" y="15960"/>
                  </a:cubicBezTo>
                  <a:lnTo>
                    <a:pt x="17892" y="36389"/>
                  </a:lnTo>
                  <a:cubicBezTo>
                    <a:pt x="15336" y="38943"/>
                    <a:pt x="15336" y="42773"/>
                    <a:pt x="17892" y="45327"/>
                  </a:cubicBezTo>
                  <a:lnTo>
                    <a:pt x="25560" y="52987"/>
                  </a:lnTo>
                  <a:cubicBezTo>
                    <a:pt x="22365" y="58094"/>
                    <a:pt x="20448" y="63840"/>
                    <a:pt x="18531" y="69586"/>
                  </a:cubicBezTo>
                  <a:lnTo>
                    <a:pt x="6390" y="69586"/>
                  </a:lnTo>
                  <a:cubicBezTo>
                    <a:pt x="2556" y="69586"/>
                    <a:pt x="0" y="72139"/>
                    <a:pt x="0" y="75970"/>
                  </a:cubicBezTo>
                  <a:lnTo>
                    <a:pt x="0" y="105336"/>
                  </a:lnTo>
                  <a:cubicBezTo>
                    <a:pt x="0" y="109166"/>
                    <a:pt x="2556" y="111720"/>
                    <a:pt x="6390" y="111720"/>
                  </a:cubicBezTo>
                  <a:lnTo>
                    <a:pt x="17253" y="111720"/>
                  </a:lnTo>
                  <a:cubicBezTo>
                    <a:pt x="19170" y="117465"/>
                    <a:pt x="21087" y="123211"/>
                    <a:pt x="24282" y="128318"/>
                  </a:cubicBezTo>
                  <a:lnTo>
                    <a:pt x="16614" y="136617"/>
                  </a:lnTo>
                  <a:cubicBezTo>
                    <a:pt x="15336" y="137894"/>
                    <a:pt x="14697" y="139171"/>
                    <a:pt x="14697" y="141086"/>
                  </a:cubicBezTo>
                  <a:cubicBezTo>
                    <a:pt x="14697" y="143001"/>
                    <a:pt x="15336" y="144278"/>
                    <a:pt x="16614" y="145555"/>
                  </a:cubicBezTo>
                  <a:lnTo>
                    <a:pt x="37062" y="165984"/>
                  </a:lnTo>
                  <a:cubicBezTo>
                    <a:pt x="39618" y="168537"/>
                    <a:pt x="43451" y="168537"/>
                    <a:pt x="46008" y="165984"/>
                  </a:cubicBezTo>
                  <a:cubicBezTo>
                    <a:pt x="46008" y="165984"/>
                    <a:pt x="46008" y="165984"/>
                    <a:pt x="46008" y="165984"/>
                  </a:cubicBezTo>
                  <a:lnTo>
                    <a:pt x="53675" y="158323"/>
                  </a:lnTo>
                  <a:cubicBezTo>
                    <a:pt x="58788" y="161515"/>
                    <a:pt x="64538" y="164068"/>
                    <a:pt x="70289" y="165345"/>
                  </a:cubicBezTo>
                  <a:lnTo>
                    <a:pt x="70289" y="176198"/>
                  </a:lnTo>
                  <a:cubicBezTo>
                    <a:pt x="70289" y="180028"/>
                    <a:pt x="72845" y="182582"/>
                    <a:pt x="76679" y="182582"/>
                  </a:cubicBezTo>
                  <a:lnTo>
                    <a:pt x="106073" y="182582"/>
                  </a:lnTo>
                  <a:cubicBezTo>
                    <a:pt x="109907" y="182582"/>
                    <a:pt x="112463" y="180028"/>
                    <a:pt x="112463" y="176198"/>
                  </a:cubicBezTo>
                  <a:lnTo>
                    <a:pt x="112463" y="165345"/>
                  </a:lnTo>
                  <a:cubicBezTo>
                    <a:pt x="118214" y="163430"/>
                    <a:pt x="123965" y="161515"/>
                    <a:pt x="129077" y="158323"/>
                  </a:cubicBezTo>
                  <a:lnTo>
                    <a:pt x="136745" y="165984"/>
                  </a:lnTo>
                  <a:cubicBezTo>
                    <a:pt x="139301" y="168537"/>
                    <a:pt x="143135" y="168537"/>
                    <a:pt x="145690" y="165984"/>
                  </a:cubicBezTo>
                  <a:lnTo>
                    <a:pt x="166138" y="145555"/>
                  </a:lnTo>
                  <a:cubicBezTo>
                    <a:pt x="168694" y="143001"/>
                    <a:pt x="168694" y="139171"/>
                    <a:pt x="166138" y="136617"/>
                  </a:cubicBezTo>
                  <a:lnTo>
                    <a:pt x="159109" y="128957"/>
                  </a:lnTo>
                  <a:cubicBezTo>
                    <a:pt x="162304" y="123849"/>
                    <a:pt x="164221" y="118104"/>
                    <a:pt x="166138" y="112358"/>
                  </a:cubicBezTo>
                  <a:lnTo>
                    <a:pt x="177001" y="112358"/>
                  </a:lnTo>
                  <a:cubicBezTo>
                    <a:pt x="180835" y="112358"/>
                    <a:pt x="183391" y="109805"/>
                    <a:pt x="183391" y="105974"/>
                  </a:cubicBezTo>
                  <a:lnTo>
                    <a:pt x="183391" y="76608"/>
                  </a:lnTo>
                  <a:cubicBezTo>
                    <a:pt x="184030" y="73416"/>
                    <a:pt x="181474" y="70862"/>
                    <a:pt x="177640" y="70862"/>
                  </a:cubicBezTo>
                  <a:cubicBezTo>
                    <a:pt x="177640" y="70862"/>
                    <a:pt x="177640" y="70862"/>
                    <a:pt x="177640" y="70862"/>
                  </a:cubicBezTo>
                  <a:close/>
                  <a:moveTo>
                    <a:pt x="171250" y="99590"/>
                  </a:moveTo>
                  <a:lnTo>
                    <a:pt x="161665" y="99590"/>
                  </a:lnTo>
                  <a:cubicBezTo>
                    <a:pt x="158470" y="99590"/>
                    <a:pt x="155914" y="101505"/>
                    <a:pt x="155275" y="104697"/>
                  </a:cubicBezTo>
                  <a:cubicBezTo>
                    <a:pt x="153358" y="112358"/>
                    <a:pt x="150164" y="120019"/>
                    <a:pt x="145690" y="127041"/>
                  </a:cubicBezTo>
                  <a:cubicBezTo>
                    <a:pt x="143774" y="129595"/>
                    <a:pt x="144413" y="132787"/>
                    <a:pt x="146330" y="135341"/>
                  </a:cubicBezTo>
                  <a:lnTo>
                    <a:pt x="152719" y="141724"/>
                  </a:lnTo>
                  <a:lnTo>
                    <a:pt x="141218" y="153216"/>
                  </a:lnTo>
                  <a:lnTo>
                    <a:pt x="134189" y="146193"/>
                  </a:lnTo>
                  <a:cubicBezTo>
                    <a:pt x="132272" y="144278"/>
                    <a:pt x="128438" y="143640"/>
                    <a:pt x="126521" y="145555"/>
                  </a:cubicBezTo>
                  <a:cubicBezTo>
                    <a:pt x="119492" y="150024"/>
                    <a:pt x="112463" y="153216"/>
                    <a:pt x="104156" y="154492"/>
                  </a:cubicBezTo>
                  <a:cubicBezTo>
                    <a:pt x="100961" y="155131"/>
                    <a:pt x="99044" y="157684"/>
                    <a:pt x="99044" y="160876"/>
                  </a:cubicBezTo>
                  <a:lnTo>
                    <a:pt x="99044" y="170452"/>
                  </a:lnTo>
                  <a:lnTo>
                    <a:pt x="83069" y="170452"/>
                  </a:lnTo>
                  <a:lnTo>
                    <a:pt x="83069" y="160876"/>
                  </a:lnTo>
                  <a:cubicBezTo>
                    <a:pt x="83069" y="157684"/>
                    <a:pt x="81152" y="155131"/>
                    <a:pt x="77957" y="154492"/>
                  </a:cubicBezTo>
                  <a:cubicBezTo>
                    <a:pt x="70289" y="152577"/>
                    <a:pt x="62621" y="149385"/>
                    <a:pt x="56231" y="144916"/>
                  </a:cubicBezTo>
                  <a:cubicBezTo>
                    <a:pt x="53675" y="143001"/>
                    <a:pt x="50480" y="143640"/>
                    <a:pt x="47925" y="145555"/>
                  </a:cubicBezTo>
                  <a:lnTo>
                    <a:pt x="41535" y="151939"/>
                  </a:lnTo>
                  <a:lnTo>
                    <a:pt x="30033" y="140448"/>
                  </a:lnTo>
                  <a:lnTo>
                    <a:pt x="37062" y="133425"/>
                  </a:lnTo>
                  <a:cubicBezTo>
                    <a:pt x="38979" y="131510"/>
                    <a:pt x="39618" y="127680"/>
                    <a:pt x="37701" y="125765"/>
                  </a:cubicBezTo>
                  <a:cubicBezTo>
                    <a:pt x="33228" y="118742"/>
                    <a:pt x="30033" y="111720"/>
                    <a:pt x="28755" y="103421"/>
                  </a:cubicBezTo>
                  <a:cubicBezTo>
                    <a:pt x="28116" y="100229"/>
                    <a:pt x="25560" y="98313"/>
                    <a:pt x="22365" y="98313"/>
                  </a:cubicBezTo>
                  <a:lnTo>
                    <a:pt x="12780" y="98313"/>
                  </a:lnTo>
                  <a:lnTo>
                    <a:pt x="12780" y="81715"/>
                  </a:lnTo>
                  <a:lnTo>
                    <a:pt x="22365" y="81715"/>
                  </a:lnTo>
                  <a:cubicBezTo>
                    <a:pt x="25560" y="81715"/>
                    <a:pt x="28116" y="79800"/>
                    <a:pt x="28755" y="76608"/>
                  </a:cubicBezTo>
                  <a:cubicBezTo>
                    <a:pt x="30672" y="68947"/>
                    <a:pt x="33867" y="61286"/>
                    <a:pt x="38340" y="54902"/>
                  </a:cubicBezTo>
                  <a:cubicBezTo>
                    <a:pt x="40257" y="52349"/>
                    <a:pt x="39618" y="49157"/>
                    <a:pt x="37701" y="46603"/>
                  </a:cubicBezTo>
                  <a:lnTo>
                    <a:pt x="31311" y="40219"/>
                  </a:lnTo>
                  <a:lnTo>
                    <a:pt x="42813" y="28728"/>
                  </a:lnTo>
                  <a:lnTo>
                    <a:pt x="49841" y="35751"/>
                  </a:lnTo>
                  <a:cubicBezTo>
                    <a:pt x="51759" y="37666"/>
                    <a:pt x="55593" y="38304"/>
                    <a:pt x="57509" y="36389"/>
                  </a:cubicBezTo>
                  <a:cubicBezTo>
                    <a:pt x="64538" y="31920"/>
                    <a:pt x="71567" y="28728"/>
                    <a:pt x="79874" y="27451"/>
                  </a:cubicBezTo>
                  <a:cubicBezTo>
                    <a:pt x="83069" y="26813"/>
                    <a:pt x="84986" y="24259"/>
                    <a:pt x="84986" y="21067"/>
                  </a:cubicBezTo>
                  <a:lnTo>
                    <a:pt x="84986" y="11491"/>
                  </a:lnTo>
                  <a:lnTo>
                    <a:pt x="101600" y="11491"/>
                  </a:lnTo>
                  <a:lnTo>
                    <a:pt x="101600" y="21706"/>
                  </a:lnTo>
                  <a:cubicBezTo>
                    <a:pt x="101600" y="24898"/>
                    <a:pt x="103517" y="27451"/>
                    <a:pt x="106712" y="28090"/>
                  </a:cubicBezTo>
                  <a:cubicBezTo>
                    <a:pt x="114380" y="30005"/>
                    <a:pt x="122048" y="33197"/>
                    <a:pt x="129077" y="37666"/>
                  </a:cubicBezTo>
                  <a:cubicBezTo>
                    <a:pt x="131633" y="39581"/>
                    <a:pt x="134828" y="38943"/>
                    <a:pt x="137384" y="37027"/>
                  </a:cubicBezTo>
                  <a:lnTo>
                    <a:pt x="143774" y="30643"/>
                  </a:lnTo>
                  <a:lnTo>
                    <a:pt x="155275" y="42135"/>
                  </a:lnTo>
                  <a:lnTo>
                    <a:pt x="148247" y="49157"/>
                  </a:lnTo>
                  <a:cubicBezTo>
                    <a:pt x="146330" y="51072"/>
                    <a:pt x="145690" y="54264"/>
                    <a:pt x="147608" y="56818"/>
                  </a:cubicBezTo>
                  <a:cubicBezTo>
                    <a:pt x="152080" y="63840"/>
                    <a:pt x="155275" y="70862"/>
                    <a:pt x="156553" y="79162"/>
                  </a:cubicBezTo>
                  <a:cubicBezTo>
                    <a:pt x="157192" y="82354"/>
                    <a:pt x="159748" y="84269"/>
                    <a:pt x="162943" y="84269"/>
                  </a:cubicBezTo>
                  <a:lnTo>
                    <a:pt x="172528" y="84269"/>
                  </a:lnTo>
                  <a:lnTo>
                    <a:pt x="171250" y="9959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Graphic 4">
              <a:extLst>
                <a:ext uri="{FF2B5EF4-FFF2-40B4-BE49-F238E27FC236}">
                  <a16:creationId xmlns:a16="http://schemas.microsoft.com/office/drawing/2014/main" id="{D0A8A092-9E78-6673-A051-ED3BE545F712}"/>
                </a:ext>
              </a:extLst>
            </p:cNvPr>
            <p:cNvSpPr/>
            <p:nvPr/>
          </p:nvSpPr>
          <p:spPr>
            <a:xfrm>
              <a:off x="1603874" y="4086549"/>
              <a:ext cx="183391" cy="34473"/>
            </a:xfrm>
            <a:custGeom>
              <a:avLst/>
              <a:gdLst>
                <a:gd name="connsiteX0" fmla="*/ 166138 w 183391"/>
                <a:gd name="connsiteY0" fmla="*/ 0 h 34473"/>
                <a:gd name="connsiteX1" fmla="*/ 17253 w 183391"/>
                <a:gd name="connsiteY1" fmla="*/ 0 h 34473"/>
                <a:gd name="connsiteX2" fmla="*/ 0 w 183391"/>
                <a:gd name="connsiteY2" fmla="*/ 17237 h 34473"/>
                <a:gd name="connsiteX3" fmla="*/ 17253 w 183391"/>
                <a:gd name="connsiteY3" fmla="*/ 34474 h 34473"/>
                <a:gd name="connsiteX4" fmla="*/ 166138 w 183391"/>
                <a:gd name="connsiteY4" fmla="*/ 34474 h 34473"/>
                <a:gd name="connsiteX5" fmla="*/ 183391 w 183391"/>
                <a:gd name="connsiteY5" fmla="*/ 17237 h 34473"/>
                <a:gd name="connsiteX6" fmla="*/ 166138 w 183391"/>
                <a:gd name="connsiteY6" fmla="*/ 0 h 34473"/>
                <a:gd name="connsiteX7" fmla="*/ 79874 w 183391"/>
                <a:gd name="connsiteY7" fmla="*/ 22344 h 34473"/>
                <a:gd name="connsiteX8" fmla="*/ 83069 w 183391"/>
                <a:gd name="connsiteY8" fmla="*/ 12768 h 34473"/>
                <a:gd name="connsiteX9" fmla="*/ 86264 w 183391"/>
                <a:gd name="connsiteY9" fmla="*/ 12768 h 34473"/>
                <a:gd name="connsiteX10" fmla="*/ 83069 w 183391"/>
                <a:gd name="connsiteY10" fmla="*/ 22344 h 34473"/>
                <a:gd name="connsiteX11" fmla="*/ 79874 w 183391"/>
                <a:gd name="connsiteY11" fmla="*/ 22344 h 34473"/>
                <a:gd name="connsiteX12" fmla="*/ 62621 w 183391"/>
                <a:gd name="connsiteY12" fmla="*/ 22344 h 34473"/>
                <a:gd name="connsiteX13" fmla="*/ 65816 w 183391"/>
                <a:gd name="connsiteY13" fmla="*/ 12768 h 34473"/>
                <a:gd name="connsiteX14" fmla="*/ 69011 w 183391"/>
                <a:gd name="connsiteY14" fmla="*/ 12768 h 34473"/>
                <a:gd name="connsiteX15" fmla="*/ 65816 w 183391"/>
                <a:gd name="connsiteY15" fmla="*/ 22344 h 34473"/>
                <a:gd name="connsiteX16" fmla="*/ 62621 w 183391"/>
                <a:gd name="connsiteY16" fmla="*/ 22344 h 34473"/>
                <a:gd name="connsiteX17" fmla="*/ 46008 w 183391"/>
                <a:gd name="connsiteY17" fmla="*/ 22344 h 34473"/>
                <a:gd name="connsiteX18" fmla="*/ 49203 w 183391"/>
                <a:gd name="connsiteY18" fmla="*/ 12768 h 34473"/>
                <a:gd name="connsiteX19" fmla="*/ 52398 w 183391"/>
                <a:gd name="connsiteY19" fmla="*/ 12768 h 34473"/>
                <a:gd name="connsiteX20" fmla="*/ 49203 w 183391"/>
                <a:gd name="connsiteY20" fmla="*/ 22344 h 34473"/>
                <a:gd name="connsiteX21" fmla="*/ 46008 w 183391"/>
                <a:gd name="connsiteY21" fmla="*/ 22344 h 34473"/>
                <a:gd name="connsiteX22" fmla="*/ 28755 w 183391"/>
                <a:gd name="connsiteY22" fmla="*/ 22344 h 34473"/>
                <a:gd name="connsiteX23" fmla="*/ 31950 w 183391"/>
                <a:gd name="connsiteY23" fmla="*/ 12768 h 34473"/>
                <a:gd name="connsiteX24" fmla="*/ 35145 w 183391"/>
                <a:gd name="connsiteY24" fmla="*/ 12768 h 34473"/>
                <a:gd name="connsiteX25" fmla="*/ 31950 w 183391"/>
                <a:gd name="connsiteY25" fmla="*/ 22344 h 34473"/>
                <a:gd name="connsiteX26" fmla="*/ 28755 w 183391"/>
                <a:gd name="connsiteY26" fmla="*/ 22344 h 34473"/>
                <a:gd name="connsiteX27" fmla="*/ 17253 w 183391"/>
                <a:gd name="connsiteY27" fmla="*/ 12768 h 34473"/>
                <a:gd name="connsiteX28" fmla="*/ 17892 w 183391"/>
                <a:gd name="connsiteY28" fmla="*/ 12768 h 34473"/>
                <a:gd name="connsiteX29" fmla="*/ 14697 w 183391"/>
                <a:gd name="connsiteY29" fmla="*/ 21706 h 34473"/>
                <a:gd name="connsiteX30" fmla="*/ 12141 w 183391"/>
                <a:gd name="connsiteY30" fmla="*/ 17875 h 34473"/>
                <a:gd name="connsiteX31" fmla="*/ 17253 w 183391"/>
                <a:gd name="connsiteY31" fmla="*/ 12768 h 34473"/>
                <a:gd name="connsiteX32" fmla="*/ 17253 w 183391"/>
                <a:gd name="connsiteY32" fmla="*/ 12768 h 34473"/>
                <a:gd name="connsiteX33" fmla="*/ 166138 w 183391"/>
                <a:gd name="connsiteY33" fmla="*/ 22344 h 34473"/>
                <a:gd name="connsiteX34" fmla="*/ 97127 w 183391"/>
                <a:gd name="connsiteY34" fmla="*/ 22344 h 34473"/>
                <a:gd name="connsiteX35" fmla="*/ 100322 w 183391"/>
                <a:gd name="connsiteY35" fmla="*/ 12768 h 34473"/>
                <a:gd name="connsiteX36" fmla="*/ 166138 w 183391"/>
                <a:gd name="connsiteY36" fmla="*/ 12768 h 34473"/>
                <a:gd name="connsiteX37" fmla="*/ 170611 w 183391"/>
                <a:gd name="connsiteY37" fmla="*/ 17237 h 34473"/>
                <a:gd name="connsiteX38" fmla="*/ 166138 w 183391"/>
                <a:gd name="connsiteY38" fmla="*/ 22344 h 34473"/>
                <a:gd name="connsiteX39" fmla="*/ 166138 w 183391"/>
                <a:gd name="connsiteY39" fmla="*/ 22344 h 34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83391" h="34473">
                  <a:moveTo>
                    <a:pt x="166138" y="0"/>
                  </a:moveTo>
                  <a:lnTo>
                    <a:pt x="17253" y="0"/>
                  </a:lnTo>
                  <a:cubicBezTo>
                    <a:pt x="7668" y="0"/>
                    <a:pt x="0" y="7661"/>
                    <a:pt x="0" y="17237"/>
                  </a:cubicBezTo>
                  <a:cubicBezTo>
                    <a:pt x="0" y="26813"/>
                    <a:pt x="7668" y="34474"/>
                    <a:pt x="17253" y="34474"/>
                  </a:cubicBezTo>
                  <a:lnTo>
                    <a:pt x="166138" y="34474"/>
                  </a:lnTo>
                  <a:cubicBezTo>
                    <a:pt x="175723" y="34474"/>
                    <a:pt x="183391" y="26813"/>
                    <a:pt x="183391" y="17237"/>
                  </a:cubicBezTo>
                  <a:cubicBezTo>
                    <a:pt x="183391" y="8299"/>
                    <a:pt x="175723" y="0"/>
                    <a:pt x="166138" y="0"/>
                  </a:cubicBezTo>
                  <a:close/>
                  <a:moveTo>
                    <a:pt x="79874" y="22344"/>
                  </a:moveTo>
                  <a:lnTo>
                    <a:pt x="83069" y="12768"/>
                  </a:lnTo>
                  <a:lnTo>
                    <a:pt x="86264" y="12768"/>
                  </a:lnTo>
                  <a:lnTo>
                    <a:pt x="83069" y="22344"/>
                  </a:lnTo>
                  <a:lnTo>
                    <a:pt x="79874" y="22344"/>
                  </a:lnTo>
                  <a:close/>
                  <a:moveTo>
                    <a:pt x="62621" y="22344"/>
                  </a:moveTo>
                  <a:lnTo>
                    <a:pt x="65816" y="12768"/>
                  </a:lnTo>
                  <a:lnTo>
                    <a:pt x="69011" y="12768"/>
                  </a:lnTo>
                  <a:lnTo>
                    <a:pt x="65816" y="22344"/>
                  </a:lnTo>
                  <a:lnTo>
                    <a:pt x="62621" y="22344"/>
                  </a:lnTo>
                  <a:close/>
                  <a:moveTo>
                    <a:pt x="46008" y="22344"/>
                  </a:moveTo>
                  <a:lnTo>
                    <a:pt x="49203" y="12768"/>
                  </a:lnTo>
                  <a:lnTo>
                    <a:pt x="52398" y="12768"/>
                  </a:lnTo>
                  <a:lnTo>
                    <a:pt x="49203" y="22344"/>
                  </a:lnTo>
                  <a:lnTo>
                    <a:pt x="46008" y="22344"/>
                  </a:lnTo>
                  <a:close/>
                  <a:moveTo>
                    <a:pt x="28755" y="22344"/>
                  </a:moveTo>
                  <a:lnTo>
                    <a:pt x="31950" y="12768"/>
                  </a:lnTo>
                  <a:lnTo>
                    <a:pt x="35145" y="12768"/>
                  </a:lnTo>
                  <a:lnTo>
                    <a:pt x="31950" y="22344"/>
                  </a:lnTo>
                  <a:lnTo>
                    <a:pt x="28755" y="22344"/>
                  </a:lnTo>
                  <a:close/>
                  <a:moveTo>
                    <a:pt x="17253" y="12768"/>
                  </a:moveTo>
                  <a:lnTo>
                    <a:pt x="17892" y="12768"/>
                  </a:lnTo>
                  <a:lnTo>
                    <a:pt x="14697" y="21706"/>
                  </a:lnTo>
                  <a:cubicBezTo>
                    <a:pt x="13419" y="21067"/>
                    <a:pt x="12141" y="19152"/>
                    <a:pt x="12141" y="17875"/>
                  </a:cubicBezTo>
                  <a:cubicBezTo>
                    <a:pt x="12780" y="15322"/>
                    <a:pt x="14697" y="12768"/>
                    <a:pt x="17253" y="12768"/>
                  </a:cubicBezTo>
                  <a:lnTo>
                    <a:pt x="17253" y="12768"/>
                  </a:lnTo>
                  <a:close/>
                  <a:moveTo>
                    <a:pt x="166138" y="22344"/>
                  </a:moveTo>
                  <a:lnTo>
                    <a:pt x="97127" y="22344"/>
                  </a:lnTo>
                  <a:lnTo>
                    <a:pt x="100322" y="12768"/>
                  </a:lnTo>
                  <a:lnTo>
                    <a:pt x="166138" y="12768"/>
                  </a:lnTo>
                  <a:cubicBezTo>
                    <a:pt x="168694" y="12768"/>
                    <a:pt x="170611" y="14683"/>
                    <a:pt x="170611" y="17237"/>
                  </a:cubicBezTo>
                  <a:cubicBezTo>
                    <a:pt x="170611" y="19790"/>
                    <a:pt x="168694" y="22344"/>
                    <a:pt x="166138" y="22344"/>
                  </a:cubicBezTo>
                  <a:cubicBezTo>
                    <a:pt x="166138" y="22344"/>
                    <a:pt x="166138" y="22344"/>
                    <a:pt x="166138" y="2234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462B4CD8-0FAA-0C1F-2058-D69627747191}"/>
              </a:ext>
            </a:extLst>
          </p:cNvPr>
          <p:cNvSpPr txBox="1">
            <a:spLocks/>
          </p:cNvSpPr>
          <p:nvPr/>
        </p:nvSpPr>
        <p:spPr>
          <a:xfrm>
            <a:off x="497681" y="651601"/>
            <a:ext cx="11201400" cy="334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hu-HU" dirty="0"/>
              <a:t>Rendszer = Alkalmazás = Szoftver / belső trend</a:t>
            </a:r>
            <a:endParaRPr lang="en-AU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279273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AD2270-E335-4B25-9479-9641996328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7360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AD2270-E335-4B25-9479-964199632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CF5878-E500-4DEF-AB4F-0DA9187B5E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 pitchFamily="50" charset="0"/>
              <a:ea typeface="+mn-ea"/>
              <a:cs typeface="+mn-cs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22F353-239C-4F9C-9C2B-0006F1686A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hu-HU" dirty="0"/>
              <a:t>Rendszerintegráció a technológiában II.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12F43A9-4511-FD22-DAD2-1DD2577F3480}"/>
              </a:ext>
            </a:extLst>
          </p:cNvPr>
          <p:cNvGrpSpPr/>
          <p:nvPr/>
        </p:nvGrpSpPr>
        <p:grpSpPr>
          <a:xfrm>
            <a:off x="1019127" y="989602"/>
            <a:ext cx="10153746" cy="4051923"/>
            <a:chOff x="1900238" y="1889840"/>
            <a:chExt cx="8391525" cy="3348697"/>
          </a:xfrm>
        </p:grpSpPr>
        <p:sp>
          <p:nvSpPr>
            <p:cNvPr id="7" name="Text Placeholder 5">
              <a:extLst>
                <a:ext uri="{FF2B5EF4-FFF2-40B4-BE49-F238E27FC236}">
                  <a16:creationId xmlns:a16="http://schemas.microsoft.com/office/drawing/2014/main" id="{3805E845-C652-038E-FF22-A4D6F09A6B85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900238" y="1890707"/>
              <a:ext cx="3605213" cy="3347830"/>
            </a:xfrm>
            <a:prstGeom prst="homePlate">
              <a:avLst>
                <a:gd name="adj" fmla="val 8173"/>
              </a:avLst>
            </a:prstGeom>
            <a:noFill/>
            <a:ln w="12700">
              <a:solidFill>
                <a:schemeClr val="accent1"/>
              </a:solidFill>
            </a:ln>
          </p:spPr>
          <p:txBody>
            <a:bodyPr wrap="square" lIns="91440" tIns="88900" rIns="274320" bIns="889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>
                <a:spcAft>
                  <a:spcPts val="0"/>
                </a:spcAft>
                <a:buSzTx/>
                <a:defRPr/>
              </a:pPr>
              <a:r>
                <a:rPr lang="hu-HU" sz="1600" b="1" dirty="0">
                  <a:solidFill>
                    <a:prstClr val="black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Bőven alkalmazott SI</a:t>
              </a:r>
              <a:endParaRPr lang="en-US" sz="1600" b="1" dirty="0">
                <a:solidFill>
                  <a:prstClr val="black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defTabSz="685800">
                <a:spcAft>
                  <a:spcPts val="0"/>
                </a:spcAft>
                <a:buSzTx/>
                <a:defRPr/>
              </a:pPr>
              <a:endParaRPr lang="hu-HU" sz="1600" dirty="0">
                <a:solidFill>
                  <a:prstClr val="black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285750" indent="-285750" defTabSz="685800">
                <a:spcAft>
                  <a:spcPts val="0"/>
                </a:spcAft>
                <a:buSzTx/>
                <a:buFont typeface="Arial" panose="020B0604020202020204" pitchFamily="34" charset="0"/>
                <a:buChar char="•"/>
                <a:defRPr/>
              </a:pPr>
              <a:r>
                <a:rPr lang="hu-HU" dirty="0">
                  <a:solidFill>
                    <a:prstClr val="black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Kulturálisan kialakult fogalom felsővezetők között.</a:t>
              </a:r>
            </a:p>
            <a:p>
              <a:pPr marL="285750" indent="-285750" defTabSz="685800">
                <a:spcAft>
                  <a:spcPts val="0"/>
                </a:spcAft>
                <a:buSzTx/>
                <a:buFont typeface="Arial" panose="020B0604020202020204" pitchFamily="34" charset="0"/>
                <a:buChar char="•"/>
                <a:defRPr/>
              </a:pPr>
              <a:r>
                <a:rPr lang="hu-HU" dirty="0">
                  <a:solidFill>
                    <a:prstClr val="black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Mindent beleértenek, ami egy új, frissen érkező alkalmazás pátyolgatásába beleérthető. </a:t>
              </a:r>
            </a:p>
            <a:p>
              <a:pPr marL="285750" indent="-285750" defTabSz="685800">
                <a:spcAft>
                  <a:spcPts val="0"/>
                </a:spcAft>
                <a:buSzTx/>
                <a:buFont typeface="Arial" panose="020B0604020202020204" pitchFamily="34" charset="0"/>
                <a:buChar char="•"/>
                <a:defRPr/>
              </a:pPr>
              <a:r>
                <a:rPr lang="hu-HU" dirty="0">
                  <a:solidFill>
                    <a:prstClr val="black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Nem csak a nyájba illesztés, hanem a testre szabást, biztonságtechnikai és üzemeltetési megfeleltetést is.</a:t>
              </a:r>
            </a:p>
            <a:p>
              <a:pPr marL="285750" indent="-285750" defTabSz="685800">
                <a:spcAft>
                  <a:spcPts val="0"/>
                </a:spcAft>
                <a:buSzTx/>
                <a:buFont typeface="Arial" panose="020B0604020202020204" pitchFamily="34" charset="0"/>
                <a:buChar char="•"/>
                <a:defRPr/>
              </a:pPr>
              <a:r>
                <a:rPr lang="hu-HU" dirty="0">
                  <a:solidFill>
                    <a:prstClr val="black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Gyakran a rendszerintegrátor szerep tanácsadó, kockázatkezelő, minőségbiztosító stb.</a:t>
              </a:r>
            </a:p>
            <a:p>
              <a:pPr marL="285750" indent="-285750" defTabSz="685800">
                <a:spcAft>
                  <a:spcPts val="0"/>
                </a:spcAft>
                <a:buSzTx/>
                <a:buFont typeface="Arial" panose="020B0604020202020204" pitchFamily="34" charset="0"/>
                <a:buChar char="•"/>
                <a:defRPr/>
              </a:pPr>
              <a:r>
                <a:rPr lang="hu-HU" dirty="0">
                  <a:solidFill>
                    <a:prstClr val="black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Nagy és komplex projekteknél beárazott üzleti szerep. </a:t>
              </a:r>
            </a:p>
          </p:txBody>
        </p:sp>
        <p:sp>
          <p:nvSpPr>
            <p:cNvPr id="35" name="Text Placeholder 5">
              <a:extLst>
                <a:ext uri="{FF2B5EF4-FFF2-40B4-BE49-F238E27FC236}">
                  <a16:creationId xmlns:a16="http://schemas.microsoft.com/office/drawing/2014/main" id="{0A20EFE3-F661-67F2-55F2-A088F4831BFA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6686550" y="1889840"/>
              <a:ext cx="3605213" cy="3347830"/>
            </a:xfrm>
            <a:prstGeom prst="homePlate">
              <a:avLst>
                <a:gd name="adj" fmla="val 8173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>
              <a:noFill/>
            </a:ln>
          </p:spPr>
          <p:txBody>
            <a:bodyPr wrap="square" lIns="640080" tIns="88900" rIns="88900" bIns="889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>
                <a:spcAft>
                  <a:spcPts val="0"/>
                </a:spcAft>
                <a:buSzTx/>
                <a:defRPr/>
              </a:pPr>
              <a:r>
                <a:rPr lang="hu-HU" sz="1600" b="1" dirty="0">
                  <a:solidFill>
                    <a:prstClr val="black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Szűken vett SI: tisztán alkalmazás-kapcsolatok kezelése</a:t>
              </a:r>
              <a:endParaRPr lang="en-US" sz="1600" b="1" dirty="0">
                <a:solidFill>
                  <a:prstClr val="black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defTabSz="685800">
                <a:spcAft>
                  <a:spcPts val="0"/>
                </a:spcAft>
                <a:buSzTx/>
              </a:pPr>
              <a:endParaRPr lang="hu-HU" sz="1600" dirty="0">
                <a:solidFill>
                  <a:prstClr val="black"/>
                </a:solidFill>
                <a:latin typeface="+mj-lt"/>
              </a:endParaRPr>
            </a:p>
            <a:p>
              <a:pPr marL="285750" indent="-285750" defTabSz="685800">
                <a:spcAft>
                  <a:spcPts val="0"/>
                </a:spcAft>
                <a:buSzTx/>
                <a:buFont typeface="Arial" panose="020B0604020202020204" pitchFamily="34" charset="0"/>
                <a:buChar char="•"/>
              </a:pPr>
              <a:r>
                <a:rPr lang="hu-HU" dirty="0">
                  <a:solidFill>
                    <a:prstClr val="black"/>
                  </a:solidFill>
                  <a:latin typeface="+mj-lt"/>
                </a:rPr>
                <a:t>Történelmi tendenciák hatására az alkalmazások mind kisebb és több egységre esnek szét, amivel párhuzamos a kapcsolódások igénye és mennyisége.</a:t>
              </a:r>
            </a:p>
            <a:p>
              <a:pPr marL="285750" indent="-285750" defTabSz="685800">
                <a:spcAft>
                  <a:spcPts val="0"/>
                </a:spcAft>
                <a:buSzTx/>
                <a:buFont typeface="Arial" panose="020B0604020202020204" pitchFamily="34" charset="0"/>
                <a:buChar char="•"/>
              </a:pPr>
              <a:r>
                <a:rPr lang="hu-HU" dirty="0">
                  <a:solidFill>
                    <a:prstClr val="black"/>
                  </a:solidFill>
                  <a:latin typeface="+mj-lt"/>
                </a:rPr>
                <a:t>Ugyanakkor ún. infrastrukturális alapszolgáltatások (hitelesítés és hozzáféréskezelés, naplózás, monitorozás) központivá válnak. Ezeket minden alkalmazás „kívülről” éri el.</a:t>
              </a:r>
            </a:p>
            <a:p>
              <a:pPr marL="285750" indent="-285750" defTabSz="685800">
                <a:spcAft>
                  <a:spcPts val="0"/>
                </a:spcAft>
                <a:buSzTx/>
                <a:buFont typeface="Arial" panose="020B0604020202020204" pitchFamily="34" charset="0"/>
                <a:buChar char="•"/>
              </a:pPr>
              <a:r>
                <a:rPr lang="hu-HU" dirty="0">
                  <a:solidFill>
                    <a:prstClr val="black"/>
                  </a:solidFill>
                  <a:latin typeface="+mj-lt"/>
                </a:rPr>
                <a:t>A kapcsolatok architektúrája, adatmodelljei és egyéb szabályozása rendkívül összetett.</a:t>
              </a:r>
            </a:p>
            <a:p>
              <a:pPr marL="285750" indent="-285750" defTabSz="685800">
                <a:spcAft>
                  <a:spcPts val="0"/>
                </a:spcAft>
                <a:buSzTx/>
                <a:buFont typeface="Arial" panose="020B0604020202020204" pitchFamily="34" charset="0"/>
                <a:buChar char="•"/>
              </a:pPr>
              <a:r>
                <a:rPr lang="hu-HU" dirty="0">
                  <a:solidFill>
                    <a:prstClr val="black"/>
                  </a:solidFill>
                  <a:latin typeface="+mj-lt"/>
                </a:rPr>
                <a:t>A szűken vett SI valójában minden szoftverprojekt alfeladata.</a:t>
              </a: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0BA7D69A-2607-DC0F-EE9E-FB74B78A5A5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964087" y="2430541"/>
              <a:ext cx="2263829" cy="2266427"/>
            </a:xfrm>
            <a:prstGeom prst="ellipse">
              <a:avLst/>
            </a:prstGeom>
            <a:solidFill>
              <a:schemeClr val="accent3"/>
            </a:solidFill>
            <a:ln w="6350" algn="ctr">
              <a:noFill/>
              <a:round/>
              <a:headEnd/>
              <a:tailEnd/>
            </a:ln>
          </p:spPr>
          <p:txBody>
            <a:bodyPr lIns="88900" tIns="88900" rIns="88900" bIns="88900" anchor="ctr"/>
            <a:lstStyle/>
            <a:p>
              <a:pPr algn="ctr">
                <a:defRPr/>
              </a:pPr>
              <a:r>
                <a:rPr lang="hu-HU" b="1" kern="0" dirty="0">
                  <a:solidFill>
                    <a:prstClr val="white"/>
                  </a:solidFill>
                  <a:latin typeface="+mj-lt"/>
                  <a:ea typeface="ＭＳ Ｐゴシック" pitchFamily="50" charset="-128"/>
                </a:rPr>
                <a:t>SYSTEM INTEGRATION</a:t>
              </a:r>
            </a:p>
            <a:p>
              <a:pPr algn="ctr">
                <a:defRPr/>
              </a:pPr>
              <a:endParaRPr lang="hu-HU" sz="1600" b="1" kern="0" dirty="0">
                <a:solidFill>
                  <a:prstClr val="white"/>
                </a:solidFill>
                <a:latin typeface="+mj-lt"/>
                <a:ea typeface="ＭＳ Ｐゴシック" pitchFamily="50" charset="-128"/>
              </a:endParaRPr>
            </a:p>
            <a:p>
              <a:pPr algn="ctr">
                <a:defRPr/>
              </a:pPr>
              <a:endParaRPr lang="hu-HU" sz="1600" b="1" kern="0" dirty="0">
                <a:solidFill>
                  <a:prstClr val="white"/>
                </a:solidFill>
                <a:latin typeface="+mj-lt"/>
                <a:ea typeface="ＭＳ Ｐゴシック" pitchFamily="50" charset="-128"/>
              </a:endParaRPr>
            </a:p>
            <a:p>
              <a:pPr algn="ctr">
                <a:defRPr/>
              </a:pPr>
              <a:endParaRPr lang="hu-HU" sz="1600" b="1" kern="0" dirty="0">
                <a:solidFill>
                  <a:prstClr val="white"/>
                </a:solidFill>
                <a:latin typeface="+mj-lt"/>
                <a:ea typeface="ＭＳ Ｐゴシック" pitchFamily="50" charset="-128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04111F7F-202B-CA17-E1DD-5C6414EA3948}"/>
              </a:ext>
            </a:extLst>
          </p:cNvPr>
          <p:cNvGrpSpPr/>
          <p:nvPr/>
        </p:nvGrpSpPr>
        <p:grpSpPr>
          <a:xfrm>
            <a:off x="497681" y="5082767"/>
            <a:ext cx="11196638" cy="1407762"/>
            <a:chOff x="497681" y="5145438"/>
            <a:chExt cx="11196638" cy="1407762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4A50EEEB-7AB1-1893-ECD4-23ACF029CB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3834" r="55083" b="75944"/>
            <a:stretch/>
          </p:blipFill>
          <p:spPr>
            <a:xfrm>
              <a:off x="497681" y="5198685"/>
              <a:ext cx="2103580" cy="1135440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7A476F4A-FEAA-4E64-CB3A-1A2D3C0A03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4534" t="61959" r="47608" b="973"/>
            <a:stretch/>
          </p:blipFill>
          <p:spPr>
            <a:xfrm>
              <a:off x="8498782" y="5145438"/>
              <a:ext cx="1971675" cy="1407762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2B47A47E-60E1-1B25-7F29-9C093ECAC4A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31542" r="39187" b="41371"/>
            <a:stretch/>
          </p:blipFill>
          <p:spPr>
            <a:xfrm>
              <a:off x="4000154" y="5199850"/>
              <a:ext cx="2762561" cy="1134275"/>
            </a:xfrm>
            <a:prstGeom prst="rect">
              <a:avLst/>
            </a:prstGeom>
          </p:spPr>
        </p:pic>
        <p:sp>
          <p:nvSpPr>
            <p:cNvPr id="40" name="Text Placeholder 1">
              <a:extLst>
                <a:ext uri="{FF2B5EF4-FFF2-40B4-BE49-F238E27FC236}">
                  <a16:creationId xmlns:a16="http://schemas.microsoft.com/office/drawing/2014/main" id="{9F6D1FA7-8EDC-DE95-9B5F-BA0CAA93C9CA}"/>
                </a:ext>
              </a:extLst>
            </p:cNvPr>
            <p:cNvSpPr txBox="1">
              <a:spLocks/>
            </p:cNvSpPr>
            <p:nvPr/>
          </p:nvSpPr>
          <p:spPr>
            <a:xfrm>
              <a:off x="2601261" y="5198685"/>
              <a:ext cx="1223862" cy="264876"/>
            </a:xfrm>
            <a:prstGeom prst="rect">
              <a:avLst/>
            </a:prstGeom>
          </p:spPr>
          <p:txBody>
            <a:bodyPr anchor="ctr">
              <a:no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SzPct val="100000"/>
                <a:buFontTx/>
                <a:buNone/>
                <a:defRPr sz="1200" b="0" kern="120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1pPr>
              <a:lvl2pPr marL="1397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200" b="0" kern="1200" dirty="0" smtClean="0">
                  <a:solidFill>
                    <a:schemeClr val="tx1"/>
                  </a:solidFill>
                  <a:latin typeface="+mj-lt"/>
                  <a:ea typeface="+mn-ea"/>
                  <a:cs typeface="Calibri Light" panose="020F0302020204030204" pitchFamily="34" charset="0"/>
                </a:defRPr>
              </a:lvl2pPr>
              <a:lvl3pPr marL="3048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−"/>
                <a:defRPr lang="en-US" sz="1200" kern="120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3pPr>
              <a:lvl4pPr marL="4699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◦"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4pPr>
              <a:lvl5pPr marL="635000" indent="-139700" algn="l" defTabSz="798513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−"/>
                <a:tabLst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5pPr>
              <a:lvl6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hu-HU" sz="1400" b="1" dirty="0"/>
                <a:t>Spagetti</a:t>
              </a:r>
            </a:p>
          </p:txBody>
        </p:sp>
        <p:sp>
          <p:nvSpPr>
            <p:cNvPr id="41" name="Text Placeholder 1">
              <a:extLst>
                <a:ext uri="{FF2B5EF4-FFF2-40B4-BE49-F238E27FC236}">
                  <a16:creationId xmlns:a16="http://schemas.microsoft.com/office/drawing/2014/main" id="{5B099BEF-38B6-B110-2291-6EF200754829}"/>
                </a:ext>
              </a:extLst>
            </p:cNvPr>
            <p:cNvSpPr txBox="1">
              <a:spLocks/>
            </p:cNvSpPr>
            <p:nvPr/>
          </p:nvSpPr>
          <p:spPr>
            <a:xfrm>
              <a:off x="6762715" y="5198686"/>
              <a:ext cx="1223862" cy="900974"/>
            </a:xfrm>
            <a:prstGeom prst="rect">
              <a:avLst/>
            </a:prstGeom>
          </p:spPr>
          <p:txBody>
            <a:bodyPr anchor="ctr">
              <a:no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SzPct val="100000"/>
                <a:buFontTx/>
                <a:buNone/>
                <a:defRPr sz="1200" b="0" kern="120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1pPr>
              <a:lvl2pPr marL="1397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200" b="0" kern="1200" dirty="0" smtClean="0">
                  <a:solidFill>
                    <a:schemeClr val="tx1"/>
                  </a:solidFill>
                  <a:latin typeface="+mj-lt"/>
                  <a:ea typeface="+mn-ea"/>
                  <a:cs typeface="Calibri Light" panose="020F0302020204030204" pitchFamily="34" charset="0"/>
                </a:defRPr>
              </a:lvl2pPr>
              <a:lvl3pPr marL="3048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−"/>
                <a:defRPr lang="en-US" sz="1200" kern="120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3pPr>
              <a:lvl4pPr marL="4699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◦"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4pPr>
              <a:lvl5pPr marL="635000" indent="-139700" algn="l" defTabSz="798513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−"/>
                <a:tabLst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5pPr>
              <a:lvl6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hu-HU" sz="1400" b="1" dirty="0"/>
                <a:t>Service- Oriented </a:t>
              </a:r>
              <a:r>
                <a:rPr lang="hu-HU" sz="1400" b="1" dirty="0" err="1"/>
                <a:t>Architecture</a:t>
              </a:r>
              <a:r>
                <a:rPr lang="hu-HU" sz="1400" b="1" dirty="0"/>
                <a:t> (SOA)</a:t>
              </a:r>
            </a:p>
          </p:txBody>
        </p:sp>
        <p:sp>
          <p:nvSpPr>
            <p:cNvPr id="42" name="Text Placeholder 1">
              <a:extLst>
                <a:ext uri="{FF2B5EF4-FFF2-40B4-BE49-F238E27FC236}">
                  <a16:creationId xmlns:a16="http://schemas.microsoft.com/office/drawing/2014/main" id="{C41253A0-A204-1867-9864-1CBE84010B5C}"/>
                </a:ext>
              </a:extLst>
            </p:cNvPr>
            <p:cNvSpPr txBox="1">
              <a:spLocks/>
            </p:cNvSpPr>
            <p:nvPr/>
          </p:nvSpPr>
          <p:spPr>
            <a:xfrm>
              <a:off x="10470457" y="5198685"/>
              <a:ext cx="1223862" cy="900974"/>
            </a:xfrm>
            <a:prstGeom prst="rect">
              <a:avLst/>
            </a:prstGeom>
          </p:spPr>
          <p:txBody>
            <a:bodyPr anchor="ctr">
              <a:no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SzPct val="100000"/>
                <a:buFontTx/>
                <a:buNone/>
                <a:defRPr sz="1200" b="0" kern="120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1pPr>
              <a:lvl2pPr marL="1397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200" b="0" kern="1200" dirty="0" smtClean="0">
                  <a:solidFill>
                    <a:schemeClr val="tx1"/>
                  </a:solidFill>
                  <a:latin typeface="+mj-lt"/>
                  <a:ea typeface="+mn-ea"/>
                  <a:cs typeface="Calibri Light" panose="020F0302020204030204" pitchFamily="34" charset="0"/>
                </a:defRPr>
              </a:lvl2pPr>
              <a:lvl3pPr marL="3048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−"/>
                <a:defRPr lang="en-US" sz="1200" kern="120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3pPr>
              <a:lvl4pPr marL="4699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◦"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4pPr>
              <a:lvl5pPr marL="635000" indent="-139700" algn="l" defTabSz="798513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−"/>
                <a:tabLst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5pPr>
              <a:lvl6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hu-HU" sz="1400" b="1" dirty="0"/>
                <a:t>API </a:t>
              </a:r>
              <a:r>
                <a:rPr lang="hu-HU" sz="1400" b="1" dirty="0" err="1"/>
                <a:t>microservices</a:t>
              </a:r>
              <a:endParaRPr lang="hu-HU" sz="1400" b="1" dirty="0"/>
            </a:p>
          </p:txBody>
        </p:sp>
      </p:grpSp>
      <p:grpSp>
        <p:nvGrpSpPr>
          <p:cNvPr id="45" name="Graphic 4">
            <a:extLst>
              <a:ext uri="{FF2B5EF4-FFF2-40B4-BE49-F238E27FC236}">
                <a16:creationId xmlns:a16="http://schemas.microsoft.com/office/drawing/2014/main" id="{42F921DC-4300-8C25-C8D1-595F13BE6F89}"/>
              </a:ext>
            </a:extLst>
          </p:cNvPr>
          <p:cNvGrpSpPr>
            <a:grpSpLocks noChangeAspect="1"/>
          </p:cNvGrpSpPr>
          <p:nvPr/>
        </p:nvGrpSpPr>
        <p:grpSpPr>
          <a:xfrm>
            <a:off x="5762648" y="3095959"/>
            <a:ext cx="666703" cy="666081"/>
            <a:chOff x="905454" y="2855717"/>
            <a:chExt cx="362309" cy="361971"/>
          </a:xfrm>
          <a:solidFill>
            <a:schemeClr val="bg1"/>
          </a:solidFill>
        </p:grpSpPr>
        <p:sp>
          <p:nvSpPr>
            <p:cNvPr id="46" name="Graphic 4">
              <a:extLst>
                <a:ext uri="{FF2B5EF4-FFF2-40B4-BE49-F238E27FC236}">
                  <a16:creationId xmlns:a16="http://schemas.microsoft.com/office/drawing/2014/main" id="{04E791AF-9014-EBB1-8117-79DBA9A211B0}"/>
                </a:ext>
              </a:extLst>
            </p:cNvPr>
            <p:cNvSpPr/>
            <p:nvPr/>
          </p:nvSpPr>
          <p:spPr>
            <a:xfrm>
              <a:off x="969992" y="3029362"/>
              <a:ext cx="14057" cy="14044"/>
            </a:xfrm>
            <a:custGeom>
              <a:avLst/>
              <a:gdLst>
                <a:gd name="connsiteX0" fmla="*/ 7029 w 14057"/>
                <a:gd name="connsiteY0" fmla="*/ 0 h 14044"/>
                <a:gd name="connsiteX1" fmla="*/ 0 w 14057"/>
                <a:gd name="connsiteY1" fmla="*/ 7022 h 14044"/>
                <a:gd name="connsiteX2" fmla="*/ 7029 w 14057"/>
                <a:gd name="connsiteY2" fmla="*/ 14045 h 14044"/>
                <a:gd name="connsiteX3" fmla="*/ 14058 w 14057"/>
                <a:gd name="connsiteY3" fmla="*/ 7022 h 14044"/>
                <a:gd name="connsiteX4" fmla="*/ 7029 w 14057"/>
                <a:gd name="connsiteY4" fmla="*/ 0 h 14044"/>
                <a:gd name="connsiteX5" fmla="*/ 7029 w 14057"/>
                <a:gd name="connsiteY5" fmla="*/ 0 h 1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057" h="14044">
                  <a:moveTo>
                    <a:pt x="7029" y="0"/>
                  </a:moveTo>
                  <a:cubicBezTo>
                    <a:pt x="3195" y="0"/>
                    <a:pt x="0" y="3192"/>
                    <a:pt x="0" y="7022"/>
                  </a:cubicBezTo>
                  <a:cubicBezTo>
                    <a:pt x="0" y="10853"/>
                    <a:pt x="3195" y="14045"/>
                    <a:pt x="7029" y="14045"/>
                  </a:cubicBezTo>
                  <a:cubicBezTo>
                    <a:pt x="10863" y="14045"/>
                    <a:pt x="14058" y="10853"/>
                    <a:pt x="14058" y="7022"/>
                  </a:cubicBezTo>
                  <a:cubicBezTo>
                    <a:pt x="14058" y="3192"/>
                    <a:pt x="11502" y="0"/>
                    <a:pt x="7029" y="0"/>
                  </a:cubicBezTo>
                  <a:lnTo>
                    <a:pt x="7029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Graphic 4">
              <a:extLst>
                <a:ext uri="{FF2B5EF4-FFF2-40B4-BE49-F238E27FC236}">
                  <a16:creationId xmlns:a16="http://schemas.microsoft.com/office/drawing/2014/main" id="{423E0D0F-736A-E24B-DC82-E44D2E7374FE}"/>
                </a:ext>
              </a:extLst>
            </p:cNvPr>
            <p:cNvSpPr/>
            <p:nvPr/>
          </p:nvSpPr>
          <p:spPr>
            <a:xfrm>
              <a:off x="1078621" y="3138528"/>
              <a:ext cx="14696" cy="14683"/>
            </a:xfrm>
            <a:custGeom>
              <a:avLst/>
              <a:gdLst>
                <a:gd name="connsiteX0" fmla="*/ 7668 w 14696"/>
                <a:gd name="connsiteY0" fmla="*/ 0 h 14683"/>
                <a:gd name="connsiteX1" fmla="*/ 0 w 14696"/>
                <a:gd name="connsiteY1" fmla="*/ 7022 h 14683"/>
                <a:gd name="connsiteX2" fmla="*/ 7029 w 14696"/>
                <a:gd name="connsiteY2" fmla="*/ 14683 h 14683"/>
                <a:gd name="connsiteX3" fmla="*/ 14697 w 14696"/>
                <a:gd name="connsiteY3" fmla="*/ 7661 h 14683"/>
                <a:gd name="connsiteX4" fmla="*/ 14697 w 14696"/>
                <a:gd name="connsiteY4" fmla="*/ 7661 h 14683"/>
                <a:gd name="connsiteX5" fmla="*/ 7668 w 14696"/>
                <a:gd name="connsiteY5" fmla="*/ 0 h 14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96" h="14683">
                  <a:moveTo>
                    <a:pt x="7668" y="0"/>
                  </a:moveTo>
                  <a:cubicBezTo>
                    <a:pt x="3834" y="0"/>
                    <a:pt x="0" y="3192"/>
                    <a:pt x="0" y="7022"/>
                  </a:cubicBezTo>
                  <a:cubicBezTo>
                    <a:pt x="0" y="10853"/>
                    <a:pt x="3195" y="14683"/>
                    <a:pt x="7029" y="14683"/>
                  </a:cubicBezTo>
                  <a:cubicBezTo>
                    <a:pt x="10863" y="14683"/>
                    <a:pt x="14697" y="11491"/>
                    <a:pt x="14697" y="7661"/>
                  </a:cubicBezTo>
                  <a:cubicBezTo>
                    <a:pt x="14697" y="7661"/>
                    <a:pt x="14697" y="7661"/>
                    <a:pt x="14697" y="7661"/>
                  </a:cubicBezTo>
                  <a:cubicBezTo>
                    <a:pt x="14697" y="3192"/>
                    <a:pt x="11502" y="0"/>
                    <a:pt x="7668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Graphic 4">
              <a:extLst>
                <a:ext uri="{FF2B5EF4-FFF2-40B4-BE49-F238E27FC236}">
                  <a16:creationId xmlns:a16="http://schemas.microsoft.com/office/drawing/2014/main" id="{B85FC350-EE95-C46E-B393-4E2F8899DD09}"/>
                </a:ext>
              </a:extLst>
            </p:cNvPr>
            <p:cNvSpPr/>
            <p:nvPr/>
          </p:nvSpPr>
          <p:spPr>
            <a:xfrm>
              <a:off x="1074787" y="3051706"/>
              <a:ext cx="24281" cy="28089"/>
            </a:xfrm>
            <a:custGeom>
              <a:avLst/>
              <a:gdLst>
                <a:gd name="connsiteX0" fmla="*/ 21726 w 24281"/>
                <a:gd name="connsiteY0" fmla="*/ 13406 h 28089"/>
                <a:gd name="connsiteX1" fmla="*/ 21726 w 24281"/>
                <a:gd name="connsiteY1" fmla="*/ 0 h 28089"/>
                <a:gd name="connsiteX2" fmla="*/ 2556 w 24281"/>
                <a:gd name="connsiteY2" fmla="*/ 0 h 28089"/>
                <a:gd name="connsiteX3" fmla="*/ 2556 w 24281"/>
                <a:gd name="connsiteY3" fmla="*/ 13406 h 28089"/>
                <a:gd name="connsiteX4" fmla="*/ 0 w 24281"/>
                <a:gd name="connsiteY4" fmla="*/ 18514 h 28089"/>
                <a:gd name="connsiteX5" fmla="*/ 12141 w 24281"/>
                <a:gd name="connsiteY5" fmla="*/ 28089 h 28089"/>
                <a:gd name="connsiteX6" fmla="*/ 24282 w 24281"/>
                <a:gd name="connsiteY6" fmla="*/ 18514 h 28089"/>
                <a:gd name="connsiteX7" fmla="*/ 21726 w 24281"/>
                <a:gd name="connsiteY7" fmla="*/ 13406 h 28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81" h="28089">
                  <a:moveTo>
                    <a:pt x="21726" y="13406"/>
                  </a:moveTo>
                  <a:lnTo>
                    <a:pt x="21726" y="0"/>
                  </a:lnTo>
                  <a:lnTo>
                    <a:pt x="2556" y="0"/>
                  </a:lnTo>
                  <a:lnTo>
                    <a:pt x="2556" y="13406"/>
                  </a:lnTo>
                  <a:cubicBezTo>
                    <a:pt x="2556" y="15322"/>
                    <a:pt x="1278" y="17237"/>
                    <a:pt x="0" y="18514"/>
                  </a:cubicBezTo>
                  <a:lnTo>
                    <a:pt x="12141" y="28089"/>
                  </a:lnTo>
                  <a:lnTo>
                    <a:pt x="24282" y="18514"/>
                  </a:lnTo>
                  <a:cubicBezTo>
                    <a:pt x="22365" y="17875"/>
                    <a:pt x="21087" y="15322"/>
                    <a:pt x="21726" y="13406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Graphic 4">
              <a:extLst>
                <a:ext uri="{FF2B5EF4-FFF2-40B4-BE49-F238E27FC236}">
                  <a16:creationId xmlns:a16="http://schemas.microsoft.com/office/drawing/2014/main" id="{3F8A9DB4-2E91-52ED-F4B3-DC26D7459FAB}"/>
                </a:ext>
              </a:extLst>
            </p:cNvPr>
            <p:cNvSpPr/>
            <p:nvPr/>
          </p:nvSpPr>
          <p:spPr>
            <a:xfrm>
              <a:off x="1156099" y="3106608"/>
              <a:ext cx="15016" cy="14523"/>
            </a:xfrm>
            <a:custGeom>
              <a:avLst/>
              <a:gdLst>
                <a:gd name="connsiteX0" fmla="*/ 2396 w 15016"/>
                <a:gd name="connsiteY0" fmla="*/ 1915 h 14523"/>
                <a:gd name="connsiteX1" fmla="*/ 2396 w 15016"/>
                <a:gd name="connsiteY1" fmla="*/ 1915 h 14523"/>
                <a:gd name="connsiteX2" fmla="*/ 2396 w 15016"/>
                <a:gd name="connsiteY2" fmla="*/ 12130 h 14523"/>
                <a:gd name="connsiteX3" fmla="*/ 12620 w 15016"/>
                <a:gd name="connsiteY3" fmla="*/ 12130 h 14523"/>
                <a:gd name="connsiteX4" fmla="*/ 12620 w 15016"/>
                <a:gd name="connsiteY4" fmla="*/ 1915 h 14523"/>
                <a:gd name="connsiteX5" fmla="*/ 12620 w 15016"/>
                <a:gd name="connsiteY5" fmla="*/ 1915 h 14523"/>
                <a:gd name="connsiteX6" fmla="*/ 2396 w 15016"/>
                <a:gd name="connsiteY6" fmla="*/ 1915 h 14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016" h="14523">
                  <a:moveTo>
                    <a:pt x="2396" y="1915"/>
                  </a:moveTo>
                  <a:lnTo>
                    <a:pt x="2396" y="1915"/>
                  </a:lnTo>
                  <a:cubicBezTo>
                    <a:pt x="-799" y="4469"/>
                    <a:pt x="-799" y="9576"/>
                    <a:pt x="2396" y="12130"/>
                  </a:cubicBezTo>
                  <a:cubicBezTo>
                    <a:pt x="4952" y="15322"/>
                    <a:pt x="10064" y="15322"/>
                    <a:pt x="12620" y="12130"/>
                  </a:cubicBezTo>
                  <a:cubicBezTo>
                    <a:pt x="15815" y="9576"/>
                    <a:pt x="15815" y="4469"/>
                    <a:pt x="12620" y="1915"/>
                  </a:cubicBezTo>
                  <a:cubicBezTo>
                    <a:pt x="12620" y="1915"/>
                    <a:pt x="12620" y="1915"/>
                    <a:pt x="12620" y="1915"/>
                  </a:cubicBezTo>
                  <a:cubicBezTo>
                    <a:pt x="10064" y="-638"/>
                    <a:pt x="5591" y="-638"/>
                    <a:pt x="2396" y="191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Graphic 4">
              <a:extLst>
                <a:ext uri="{FF2B5EF4-FFF2-40B4-BE49-F238E27FC236}">
                  <a16:creationId xmlns:a16="http://schemas.microsoft.com/office/drawing/2014/main" id="{9D1BC872-7821-FA08-364D-CBFE22CDA616}"/>
                </a:ext>
              </a:extLst>
            </p:cNvPr>
            <p:cNvSpPr/>
            <p:nvPr/>
          </p:nvSpPr>
          <p:spPr>
            <a:xfrm>
              <a:off x="1002581" y="2951477"/>
              <a:ext cx="14623" cy="14393"/>
            </a:xfrm>
            <a:custGeom>
              <a:avLst/>
              <a:gdLst>
                <a:gd name="connsiteX0" fmla="*/ 12141 w 14623"/>
                <a:gd name="connsiteY0" fmla="*/ 12768 h 14393"/>
                <a:gd name="connsiteX1" fmla="*/ 12141 w 14623"/>
                <a:gd name="connsiteY1" fmla="*/ 12768 h 14393"/>
                <a:gd name="connsiteX2" fmla="*/ 12780 w 14623"/>
                <a:gd name="connsiteY2" fmla="*/ 2554 h 14393"/>
                <a:gd name="connsiteX3" fmla="*/ 7029 w 14623"/>
                <a:gd name="connsiteY3" fmla="*/ 0 h 14393"/>
                <a:gd name="connsiteX4" fmla="*/ 1917 w 14623"/>
                <a:gd name="connsiteY4" fmla="*/ 1915 h 14393"/>
                <a:gd name="connsiteX5" fmla="*/ 1917 w 14623"/>
                <a:gd name="connsiteY5" fmla="*/ 12130 h 14393"/>
                <a:gd name="connsiteX6" fmla="*/ 12141 w 14623"/>
                <a:gd name="connsiteY6" fmla="*/ 12768 h 14393"/>
                <a:gd name="connsiteX7" fmla="*/ 12141 w 14623"/>
                <a:gd name="connsiteY7" fmla="*/ 12768 h 14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23" h="14393">
                  <a:moveTo>
                    <a:pt x="12141" y="12768"/>
                  </a:moveTo>
                  <a:lnTo>
                    <a:pt x="12141" y="12768"/>
                  </a:lnTo>
                  <a:cubicBezTo>
                    <a:pt x="15336" y="10214"/>
                    <a:pt x="15336" y="5107"/>
                    <a:pt x="12780" y="2554"/>
                  </a:cubicBezTo>
                  <a:cubicBezTo>
                    <a:pt x="11502" y="1277"/>
                    <a:pt x="8946" y="0"/>
                    <a:pt x="7029" y="0"/>
                  </a:cubicBezTo>
                  <a:cubicBezTo>
                    <a:pt x="5112" y="0"/>
                    <a:pt x="3195" y="638"/>
                    <a:pt x="1917" y="1915"/>
                  </a:cubicBezTo>
                  <a:cubicBezTo>
                    <a:pt x="-639" y="4469"/>
                    <a:pt x="-639" y="9576"/>
                    <a:pt x="1917" y="12130"/>
                  </a:cubicBezTo>
                  <a:cubicBezTo>
                    <a:pt x="4473" y="14683"/>
                    <a:pt x="8946" y="15322"/>
                    <a:pt x="12141" y="12768"/>
                  </a:cubicBezTo>
                  <a:lnTo>
                    <a:pt x="12141" y="1276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Graphic 4">
              <a:extLst>
                <a:ext uri="{FF2B5EF4-FFF2-40B4-BE49-F238E27FC236}">
                  <a16:creationId xmlns:a16="http://schemas.microsoft.com/office/drawing/2014/main" id="{21D0EC57-6F60-36FB-12C7-E7C4A437D698}"/>
                </a:ext>
              </a:extLst>
            </p:cNvPr>
            <p:cNvSpPr/>
            <p:nvPr/>
          </p:nvSpPr>
          <p:spPr>
            <a:xfrm>
              <a:off x="1156578" y="2952115"/>
              <a:ext cx="14057" cy="14683"/>
            </a:xfrm>
            <a:custGeom>
              <a:avLst/>
              <a:gdLst>
                <a:gd name="connsiteX0" fmla="*/ 12141 w 14057"/>
                <a:gd name="connsiteY0" fmla="*/ 12130 h 14683"/>
                <a:gd name="connsiteX1" fmla="*/ 12141 w 14057"/>
                <a:gd name="connsiteY1" fmla="*/ 1915 h 14683"/>
                <a:gd name="connsiteX2" fmla="*/ 7029 w 14057"/>
                <a:gd name="connsiteY2" fmla="*/ 0 h 14683"/>
                <a:gd name="connsiteX3" fmla="*/ 0 w 14057"/>
                <a:gd name="connsiteY3" fmla="*/ 7661 h 14683"/>
                <a:gd name="connsiteX4" fmla="*/ 7668 w 14057"/>
                <a:gd name="connsiteY4" fmla="*/ 14683 h 14683"/>
                <a:gd name="connsiteX5" fmla="*/ 12141 w 14057"/>
                <a:gd name="connsiteY5" fmla="*/ 12130 h 14683"/>
                <a:gd name="connsiteX6" fmla="*/ 12141 w 14057"/>
                <a:gd name="connsiteY6" fmla="*/ 12130 h 14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57" h="14683">
                  <a:moveTo>
                    <a:pt x="12141" y="12130"/>
                  </a:moveTo>
                  <a:cubicBezTo>
                    <a:pt x="14697" y="9576"/>
                    <a:pt x="14697" y="4469"/>
                    <a:pt x="12141" y="1915"/>
                  </a:cubicBezTo>
                  <a:cubicBezTo>
                    <a:pt x="10863" y="638"/>
                    <a:pt x="8946" y="0"/>
                    <a:pt x="7029" y="0"/>
                  </a:cubicBezTo>
                  <a:cubicBezTo>
                    <a:pt x="3195" y="0"/>
                    <a:pt x="0" y="3830"/>
                    <a:pt x="0" y="7661"/>
                  </a:cubicBezTo>
                  <a:cubicBezTo>
                    <a:pt x="0" y="11491"/>
                    <a:pt x="3834" y="14683"/>
                    <a:pt x="7668" y="14683"/>
                  </a:cubicBezTo>
                  <a:cubicBezTo>
                    <a:pt x="9585" y="14045"/>
                    <a:pt x="10863" y="13406"/>
                    <a:pt x="12141" y="12130"/>
                  </a:cubicBezTo>
                  <a:lnTo>
                    <a:pt x="12141" y="1213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Graphic 4">
              <a:extLst>
                <a:ext uri="{FF2B5EF4-FFF2-40B4-BE49-F238E27FC236}">
                  <a16:creationId xmlns:a16="http://schemas.microsoft.com/office/drawing/2014/main" id="{F0E8E974-98B1-7E75-8A99-33EE4FBB225D}"/>
                </a:ext>
              </a:extLst>
            </p:cNvPr>
            <p:cNvSpPr/>
            <p:nvPr/>
          </p:nvSpPr>
          <p:spPr>
            <a:xfrm>
              <a:off x="1079260" y="2920196"/>
              <a:ext cx="14057" cy="14044"/>
            </a:xfrm>
            <a:custGeom>
              <a:avLst/>
              <a:gdLst>
                <a:gd name="connsiteX0" fmla="*/ 7029 w 14057"/>
                <a:gd name="connsiteY0" fmla="*/ 14045 h 14044"/>
                <a:gd name="connsiteX1" fmla="*/ 14058 w 14057"/>
                <a:gd name="connsiteY1" fmla="*/ 7022 h 14044"/>
                <a:gd name="connsiteX2" fmla="*/ 7029 w 14057"/>
                <a:gd name="connsiteY2" fmla="*/ 0 h 14044"/>
                <a:gd name="connsiteX3" fmla="*/ 0 w 14057"/>
                <a:gd name="connsiteY3" fmla="*/ 7022 h 14044"/>
                <a:gd name="connsiteX4" fmla="*/ 7029 w 14057"/>
                <a:gd name="connsiteY4" fmla="*/ 14045 h 14044"/>
                <a:gd name="connsiteX5" fmla="*/ 7029 w 14057"/>
                <a:gd name="connsiteY5" fmla="*/ 14045 h 1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057" h="14044">
                  <a:moveTo>
                    <a:pt x="7029" y="14045"/>
                  </a:moveTo>
                  <a:cubicBezTo>
                    <a:pt x="10863" y="14045"/>
                    <a:pt x="14058" y="10853"/>
                    <a:pt x="14058" y="7022"/>
                  </a:cubicBezTo>
                  <a:cubicBezTo>
                    <a:pt x="14058" y="3192"/>
                    <a:pt x="10863" y="0"/>
                    <a:pt x="7029" y="0"/>
                  </a:cubicBezTo>
                  <a:cubicBezTo>
                    <a:pt x="3195" y="0"/>
                    <a:pt x="0" y="3192"/>
                    <a:pt x="0" y="7022"/>
                  </a:cubicBezTo>
                  <a:cubicBezTo>
                    <a:pt x="0" y="10853"/>
                    <a:pt x="3195" y="14045"/>
                    <a:pt x="7029" y="14045"/>
                  </a:cubicBezTo>
                  <a:lnTo>
                    <a:pt x="7029" y="14045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Graphic 4">
              <a:extLst>
                <a:ext uri="{FF2B5EF4-FFF2-40B4-BE49-F238E27FC236}">
                  <a16:creationId xmlns:a16="http://schemas.microsoft.com/office/drawing/2014/main" id="{3FBBC41E-0EEA-E7AC-85E1-187C9D036EA0}"/>
                </a:ext>
              </a:extLst>
            </p:cNvPr>
            <p:cNvSpPr/>
            <p:nvPr/>
          </p:nvSpPr>
          <p:spPr>
            <a:xfrm>
              <a:off x="1001462" y="3106608"/>
              <a:ext cx="15016" cy="14523"/>
            </a:xfrm>
            <a:custGeom>
              <a:avLst/>
              <a:gdLst>
                <a:gd name="connsiteX0" fmla="*/ 2396 w 15016"/>
                <a:gd name="connsiteY0" fmla="*/ 1915 h 14523"/>
                <a:gd name="connsiteX1" fmla="*/ 2396 w 15016"/>
                <a:gd name="connsiteY1" fmla="*/ 12130 h 14523"/>
                <a:gd name="connsiteX2" fmla="*/ 12620 w 15016"/>
                <a:gd name="connsiteY2" fmla="*/ 12130 h 14523"/>
                <a:gd name="connsiteX3" fmla="*/ 12620 w 15016"/>
                <a:gd name="connsiteY3" fmla="*/ 1915 h 14523"/>
                <a:gd name="connsiteX4" fmla="*/ 12620 w 15016"/>
                <a:gd name="connsiteY4" fmla="*/ 1915 h 14523"/>
                <a:gd name="connsiteX5" fmla="*/ 2396 w 15016"/>
                <a:gd name="connsiteY5" fmla="*/ 1915 h 14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016" h="14523">
                  <a:moveTo>
                    <a:pt x="2396" y="1915"/>
                  </a:moveTo>
                  <a:cubicBezTo>
                    <a:pt x="-799" y="4469"/>
                    <a:pt x="-799" y="9576"/>
                    <a:pt x="2396" y="12130"/>
                  </a:cubicBezTo>
                  <a:cubicBezTo>
                    <a:pt x="4952" y="15322"/>
                    <a:pt x="10064" y="15322"/>
                    <a:pt x="12620" y="12130"/>
                  </a:cubicBezTo>
                  <a:cubicBezTo>
                    <a:pt x="15815" y="9576"/>
                    <a:pt x="15815" y="4469"/>
                    <a:pt x="12620" y="1915"/>
                  </a:cubicBezTo>
                  <a:cubicBezTo>
                    <a:pt x="12620" y="1915"/>
                    <a:pt x="12620" y="1915"/>
                    <a:pt x="12620" y="1915"/>
                  </a:cubicBezTo>
                  <a:cubicBezTo>
                    <a:pt x="10064" y="-638"/>
                    <a:pt x="5591" y="-638"/>
                    <a:pt x="2396" y="191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Graphic 4">
              <a:extLst>
                <a:ext uri="{FF2B5EF4-FFF2-40B4-BE49-F238E27FC236}">
                  <a16:creationId xmlns:a16="http://schemas.microsoft.com/office/drawing/2014/main" id="{D51F98D4-F6F1-F6C1-E9EA-61A1DF6D5721}"/>
                </a:ext>
              </a:extLst>
            </p:cNvPr>
            <p:cNvSpPr/>
            <p:nvPr/>
          </p:nvSpPr>
          <p:spPr>
            <a:xfrm>
              <a:off x="905454" y="2855717"/>
              <a:ext cx="362309" cy="361971"/>
            </a:xfrm>
            <a:custGeom>
              <a:avLst/>
              <a:gdLst>
                <a:gd name="connsiteX0" fmla="*/ 180835 w 362309"/>
                <a:gd name="connsiteY0" fmla="*/ 0 h 361971"/>
                <a:gd name="connsiteX1" fmla="*/ 0 w 362309"/>
                <a:gd name="connsiteY1" fmla="*/ 181305 h 361971"/>
                <a:gd name="connsiteX2" fmla="*/ 181474 w 362309"/>
                <a:gd name="connsiteY2" fmla="*/ 361972 h 361971"/>
                <a:gd name="connsiteX3" fmla="*/ 362309 w 362309"/>
                <a:gd name="connsiteY3" fmla="*/ 180667 h 361971"/>
                <a:gd name="connsiteX4" fmla="*/ 180835 w 362309"/>
                <a:gd name="connsiteY4" fmla="*/ 0 h 361971"/>
                <a:gd name="connsiteX5" fmla="*/ 180835 w 362309"/>
                <a:gd name="connsiteY5" fmla="*/ 0 h 361971"/>
                <a:gd name="connsiteX6" fmla="*/ 290103 w 362309"/>
                <a:gd name="connsiteY6" fmla="*/ 200457 h 361971"/>
                <a:gd name="connsiteX7" fmla="*/ 270933 w 362309"/>
                <a:gd name="connsiteY7" fmla="*/ 187051 h 361971"/>
                <a:gd name="connsiteX8" fmla="*/ 259431 w 362309"/>
                <a:gd name="connsiteY8" fmla="*/ 187051 h 361971"/>
                <a:gd name="connsiteX9" fmla="*/ 240901 w 362309"/>
                <a:gd name="connsiteY9" fmla="*/ 231738 h 361971"/>
                <a:gd name="connsiteX10" fmla="*/ 249208 w 362309"/>
                <a:gd name="connsiteY10" fmla="*/ 240038 h 361971"/>
                <a:gd name="connsiteX11" fmla="*/ 276045 w 362309"/>
                <a:gd name="connsiteY11" fmla="*/ 248975 h 361971"/>
                <a:gd name="connsiteX12" fmla="*/ 267099 w 362309"/>
                <a:gd name="connsiteY12" fmla="*/ 275788 h 361971"/>
                <a:gd name="connsiteX13" fmla="*/ 244096 w 362309"/>
                <a:gd name="connsiteY13" fmla="*/ 271958 h 361971"/>
                <a:gd name="connsiteX14" fmla="*/ 244096 w 362309"/>
                <a:gd name="connsiteY14" fmla="*/ 271958 h 361971"/>
                <a:gd name="connsiteX15" fmla="*/ 240262 w 362309"/>
                <a:gd name="connsiteY15" fmla="*/ 248975 h 361971"/>
                <a:gd name="connsiteX16" fmla="*/ 231955 w 362309"/>
                <a:gd name="connsiteY16" fmla="*/ 240676 h 361971"/>
                <a:gd name="connsiteX17" fmla="*/ 187225 w 362309"/>
                <a:gd name="connsiteY17" fmla="*/ 259190 h 361971"/>
                <a:gd name="connsiteX18" fmla="*/ 187225 w 362309"/>
                <a:gd name="connsiteY18" fmla="*/ 270681 h 361971"/>
                <a:gd name="connsiteX19" fmla="*/ 200005 w 362309"/>
                <a:gd name="connsiteY19" fmla="*/ 296217 h 361971"/>
                <a:gd name="connsiteX20" fmla="*/ 174445 w 362309"/>
                <a:gd name="connsiteY20" fmla="*/ 308985 h 361971"/>
                <a:gd name="connsiteX21" fmla="*/ 161665 w 362309"/>
                <a:gd name="connsiteY21" fmla="*/ 283449 h 361971"/>
                <a:gd name="connsiteX22" fmla="*/ 174445 w 362309"/>
                <a:gd name="connsiteY22" fmla="*/ 270681 h 361971"/>
                <a:gd name="connsiteX23" fmla="*/ 174445 w 362309"/>
                <a:gd name="connsiteY23" fmla="*/ 259190 h 361971"/>
                <a:gd name="connsiteX24" fmla="*/ 129716 w 362309"/>
                <a:gd name="connsiteY24" fmla="*/ 240676 h 361971"/>
                <a:gd name="connsiteX25" fmla="*/ 121409 w 362309"/>
                <a:gd name="connsiteY25" fmla="*/ 248975 h 361971"/>
                <a:gd name="connsiteX26" fmla="*/ 112463 w 362309"/>
                <a:gd name="connsiteY26" fmla="*/ 275788 h 361971"/>
                <a:gd name="connsiteX27" fmla="*/ 85625 w 362309"/>
                <a:gd name="connsiteY27" fmla="*/ 266850 h 361971"/>
                <a:gd name="connsiteX28" fmla="*/ 89459 w 362309"/>
                <a:gd name="connsiteY28" fmla="*/ 243868 h 361971"/>
                <a:gd name="connsiteX29" fmla="*/ 89459 w 362309"/>
                <a:gd name="connsiteY29" fmla="*/ 243868 h 361971"/>
                <a:gd name="connsiteX30" fmla="*/ 112463 w 362309"/>
                <a:gd name="connsiteY30" fmla="*/ 240038 h 361971"/>
                <a:gd name="connsiteX31" fmla="*/ 120770 w 362309"/>
                <a:gd name="connsiteY31" fmla="*/ 231738 h 361971"/>
                <a:gd name="connsiteX32" fmla="*/ 102239 w 362309"/>
                <a:gd name="connsiteY32" fmla="*/ 187051 h 361971"/>
                <a:gd name="connsiteX33" fmla="*/ 90737 w 362309"/>
                <a:gd name="connsiteY33" fmla="*/ 187051 h 361971"/>
                <a:gd name="connsiteX34" fmla="*/ 65177 w 362309"/>
                <a:gd name="connsiteY34" fmla="*/ 199819 h 361971"/>
                <a:gd name="connsiteX35" fmla="*/ 52397 w 362309"/>
                <a:gd name="connsiteY35" fmla="*/ 174283 h 361971"/>
                <a:gd name="connsiteX36" fmla="*/ 77957 w 362309"/>
                <a:gd name="connsiteY36" fmla="*/ 161515 h 361971"/>
                <a:gd name="connsiteX37" fmla="*/ 90737 w 362309"/>
                <a:gd name="connsiteY37" fmla="*/ 174283 h 361971"/>
                <a:gd name="connsiteX38" fmla="*/ 102239 w 362309"/>
                <a:gd name="connsiteY38" fmla="*/ 174283 h 361971"/>
                <a:gd name="connsiteX39" fmla="*/ 120770 w 362309"/>
                <a:gd name="connsiteY39" fmla="*/ 129595 h 361971"/>
                <a:gd name="connsiteX40" fmla="*/ 112463 w 362309"/>
                <a:gd name="connsiteY40" fmla="*/ 121296 h 361971"/>
                <a:gd name="connsiteX41" fmla="*/ 103517 w 362309"/>
                <a:gd name="connsiteY41" fmla="*/ 123211 h 361971"/>
                <a:gd name="connsiteX42" fmla="*/ 83708 w 362309"/>
                <a:gd name="connsiteY42" fmla="*/ 102782 h 361971"/>
                <a:gd name="connsiteX43" fmla="*/ 89459 w 362309"/>
                <a:gd name="connsiteY43" fmla="*/ 88737 h 361971"/>
                <a:gd name="connsiteX44" fmla="*/ 117575 w 362309"/>
                <a:gd name="connsiteY44" fmla="*/ 88737 h 361971"/>
                <a:gd name="connsiteX45" fmla="*/ 117575 w 362309"/>
                <a:gd name="connsiteY45" fmla="*/ 88737 h 361971"/>
                <a:gd name="connsiteX46" fmla="*/ 121409 w 362309"/>
                <a:gd name="connsiteY46" fmla="*/ 111720 h 361971"/>
                <a:gd name="connsiteX47" fmla="*/ 129716 w 362309"/>
                <a:gd name="connsiteY47" fmla="*/ 120019 h 361971"/>
                <a:gd name="connsiteX48" fmla="*/ 174445 w 362309"/>
                <a:gd name="connsiteY48" fmla="*/ 101505 h 361971"/>
                <a:gd name="connsiteX49" fmla="*/ 174445 w 362309"/>
                <a:gd name="connsiteY49" fmla="*/ 90014 h 361971"/>
                <a:gd name="connsiteX50" fmla="*/ 161665 w 362309"/>
                <a:gd name="connsiteY50" fmla="*/ 64478 h 361971"/>
                <a:gd name="connsiteX51" fmla="*/ 187225 w 362309"/>
                <a:gd name="connsiteY51" fmla="*/ 51710 h 361971"/>
                <a:gd name="connsiteX52" fmla="*/ 200005 w 362309"/>
                <a:gd name="connsiteY52" fmla="*/ 77246 h 361971"/>
                <a:gd name="connsiteX53" fmla="*/ 187225 w 362309"/>
                <a:gd name="connsiteY53" fmla="*/ 90014 h 361971"/>
                <a:gd name="connsiteX54" fmla="*/ 187225 w 362309"/>
                <a:gd name="connsiteY54" fmla="*/ 101505 h 361971"/>
                <a:gd name="connsiteX55" fmla="*/ 231955 w 362309"/>
                <a:gd name="connsiteY55" fmla="*/ 120019 h 361971"/>
                <a:gd name="connsiteX56" fmla="*/ 240262 w 362309"/>
                <a:gd name="connsiteY56" fmla="*/ 111720 h 361971"/>
                <a:gd name="connsiteX57" fmla="*/ 244096 w 362309"/>
                <a:gd name="connsiteY57" fmla="*/ 88737 h 361971"/>
                <a:gd name="connsiteX58" fmla="*/ 272211 w 362309"/>
                <a:gd name="connsiteY58" fmla="*/ 88737 h 361971"/>
                <a:gd name="connsiteX59" fmla="*/ 272211 w 362309"/>
                <a:gd name="connsiteY59" fmla="*/ 116827 h 361971"/>
                <a:gd name="connsiteX60" fmla="*/ 272211 w 362309"/>
                <a:gd name="connsiteY60" fmla="*/ 116827 h 361971"/>
                <a:gd name="connsiteX61" fmla="*/ 272211 w 362309"/>
                <a:gd name="connsiteY61" fmla="*/ 116827 h 361971"/>
                <a:gd name="connsiteX62" fmla="*/ 258154 w 362309"/>
                <a:gd name="connsiteY62" fmla="*/ 122572 h 361971"/>
                <a:gd name="connsiteX63" fmla="*/ 249208 w 362309"/>
                <a:gd name="connsiteY63" fmla="*/ 120657 h 361971"/>
                <a:gd name="connsiteX64" fmla="*/ 241540 w 362309"/>
                <a:gd name="connsiteY64" fmla="*/ 128956 h 361971"/>
                <a:gd name="connsiteX65" fmla="*/ 260070 w 362309"/>
                <a:gd name="connsiteY65" fmla="*/ 173644 h 361971"/>
                <a:gd name="connsiteX66" fmla="*/ 271572 w 362309"/>
                <a:gd name="connsiteY66" fmla="*/ 173644 h 361971"/>
                <a:gd name="connsiteX67" fmla="*/ 297132 w 362309"/>
                <a:gd name="connsiteY67" fmla="*/ 160876 h 361971"/>
                <a:gd name="connsiteX68" fmla="*/ 309912 w 362309"/>
                <a:gd name="connsiteY68" fmla="*/ 186412 h 361971"/>
                <a:gd name="connsiteX69" fmla="*/ 290103 w 362309"/>
                <a:gd name="connsiteY69" fmla="*/ 200457 h 361971"/>
                <a:gd name="connsiteX70" fmla="*/ 290103 w 362309"/>
                <a:gd name="connsiteY70" fmla="*/ 200457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362309" h="361971">
                  <a:moveTo>
                    <a:pt x="180835" y="0"/>
                  </a:moveTo>
                  <a:cubicBezTo>
                    <a:pt x="80513" y="0"/>
                    <a:pt x="0" y="81076"/>
                    <a:pt x="0" y="181305"/>
                  </a:cubicBezTo>
                  <a:cubicBezTo>
                    <a:pt x="0" y="281533"/>
                    <a:pt x="81152" y="361972"/>
                    <a:pt x="181474" y="361972"/>
                  </a:cubicBezTo>
                  <a:cubicBezTo>
                    <a:pt x="281157" y="361972"/>
                    <a:pt x="362309" y="280895"/>
                    <a:pt x="362309" y="180667"/>
                  </a:cubicBezTo>
                  <a:cubicBezTo>
                    <a:pt x="362309" y="80438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290103" y="200457"/>
                  </a:moveTo>
                  <a:cubicBezTo>
                    <a:pt x="281157" y="200457"/>
                    <a:pt x="273489" y="194711"/>
                    <a:pt x="270933" y="187051"/>
                  </a:cubicBezTo>
                  <a:lnTo>
                    <a:pt x="259431" y="187051"/>
                  </a:lnTo>
                  <a:cubicBezTo>
                    <a:pt x="258154" y="203649"/>
                    <a:pt x="251764" y="218971"/>
                    <a:pt x="240901" y="231738"/>
                  </a:cubicBezTo>
                  <a:lnTo>
                    <a:pt x="249208" y="240038"/>
                  </a:lnTo>
                  <a:cubicBezTo>
                    <a:pt x="258792" y="234930"/>
                    <a:pt x="270933" y="239399"/>
                    <a:pt x="276045" y="248975"/>
                  </a:cubicBezTo>
                  <a:cubicBezTo>
                    <a:pt x="281157" y="258551"/>
                    <a:pt x="276684" y="270681"/>
                    <a:pt x="267099" y="275788"/>
                  </a:cubicBezTo>
                  <a:cubicBezTo>
                    <a:pt x="259431" y="279618"/>
                    <a:pt x="249847" y="278341"/>
                    <a:pt x="244096" y="271958"/>
                  </a:cubicBezTo>
                  <a:lnTo>
                    <a:pt x="244096" y="271958"/>
                  </a:lnTo>
                  <a:cubicBezTo>
                    <a:pt x="238345" y="265574"/>
                    <a:pt x="236428" y="256636"/>
                    <a:pt x="240262" y="248975"/>
                  </a:cubicBezTo>
                  <a:lnTo>
                    <a:pt x="231955" y="240676"/>
                  </a:lnTo>
                  <a:cubicBezTo>
                    <a:pt x="219175" y="251529"/>
                    <a:pt x="203839" y="257913"/>
                    <a:pt x="187225" y="259190"/>
                  </a:cubicBezTo>
                  <a:lnTo>
                    <a:pt x="187225" y="270681"/>
                  </a:lnTo>
                  <a:cubicBezTo>
                    <a:pt x="197449" y="274511"/>
                    <a:pt x="203200" y="285364"/>
                    <a:pt x="200005" y="296217"/>
                  </a:cubicBezTo>
                  <a:cubicBezTo>
                    <a:pt x="196171" y="306431"/>
                    <a:pt x="185308" y="312177"/>
                    <a:pt x="174445" y="308985"/>
                  </a:cubicBezTo>
                  <a:cubicBezTo>
                    <a:pt x="164221" y="305154"/>
                    <a:pt x="158470" y="294301"/>
                    <a:pt x="161665" y="283449"/>
                  </a:cubicBezTo>
                  <a:cubicBezTo>
                    <a:pt x="163582" y="277703"/>
                    <a:pt x="168055" y="272596"/>
                    <a:pt x="174445" y="270681"/>
                  </a:cubicBezTo>
                  <a:lnTo>
                    <a:pt x="174445" y="259190"/>
                  </a:lnTo>
                  <a:cubicBezTo>
                    <a:pt x="157831" y="257913"/>
                    <a:pt x="142496" y="251529"/>
                    <a:pt x="129716" y="240676"/>
                  </a:cubicBezTo>
                  <a:lnTo>
                    <a:pt x="121409" y="248975"/>
                  </a:lnTo>
                  <a:cubicBezTo>
                    <a:pt x="126521" y="258551"/>
                    <a:pt x="122048" y="270681"/>
                    <a:pt x="112463" y="275788"/>
                  </a:cubicBezTo>
                  <a:cubicBezTo>
                    <a:pt x="102878" y="280895"/>
                    <a:pt x="90737" y="276426"/>
                    <a:pt x="85625" y="266850"/>
                  </a:cubicBezTo>
                  <a:cubicBezTo>
                    <a:pt x="81791" y="259190"/>
                    <a:pt x="83069" y="249614"/>
                    <a:pt x="89459" y="243868"/>
                  </a:cubicBezTo>
                  <a:lnTo>
                    <a:pt x="89459" y="243868"/>
                  </a:lnTo>
                  <a:cubicBezTo>
                    <a:pt x="95849" y="238122"/>
                    <a:pt x="104795" y="236207"/>
                    <a:pt x="112463" y="240038"/>
                  </a:cubicBezTo>
                  <a:lnTo>
                    <a:pt x="120770" y="231738"/>
                  </a:lnTo>
                  <a:cubicBezTo>
                    <a:pt x="109907" y="218971"/>
                    <a:pt x="103517" y="203649"/>
                    <a:pt x="102239" y="187051"/>
                  </a:cubicBezTo>
                  <a:lnTo>
                    <a:pt x="90737" y="187051"/>
                  </a:lnTo>
                  <a:cubicBezTo>
                    <a:pt x="86903" y="197265"/>
                    <a:pt x="76040" y="203011"/>
                    <a:pt x="65177" y="199819"/>
                  </a:cubicBezTo>
                  <a:cubicBezTo>
                    <a:pt x="54954" y="195988"/>
                    <a:pt x="49202" y="185135"/>
                    <a:pt x="52397" y="174283"/>
                  </a:cubicBezTo>
                  <a:cubicBezTo>
                    <a:pt x="56231" y="164068"/>
                    <a:pt x="67094" y="158323"/>
                    <a:pt x="77957" y="161515"/>
                  </a:cubicBezTo>
                  <a:cubicBezTo>
                    <a:pt x="83708" y="163430"/>
                    <a:pt x="88820" y="167899"/>
                    <a:pt x="90737" y="174283"/>
                  </a:cubicBezTo>
                  <a:lnTo>
                    <a:pt x="102239" y="174283"/>
                  </a:lnTo>
                  <a:cubicBezTo>
                    <a:pt x="103517" y="157684"/>
                    <a:pt x="109907" y="142363"/>
                    <a:pt x="120770" y="129595"/>
                  </a:cubicBezTo>
                  <a:lnTo>
                    <a:pt x="112463" y="121296"/>
                  </a:lnTo>
                  <a:cubicBezTo>
                    <a:pt x="109907" y="122572"/>
                    <a:pt x="106712" y="123211"/>
                    <a:pt x="103517" y="123211"/>
                  </a:cubicBezTo>
                  <a:cubicBezTo>
                    <a:pt x="92654" y="123211"/>
                    <a:pt x="83708" y="114273"/>
                    <a:pt x="83708" y="102782"/>
                  </a:cubicBezTo>
                  <a:cubicBezTo>
                    <a:pt x="83708" y="97675"/>
                    <a:pt x="85625" y="92568"/>
                    <a:pt x="89459" y="88737"/>
                  </a:cubicBezTo>
                  <a:cubicBezTo>
                    <a:pt x="97127" y="81076"/>
                    <a:pt x="109907" y="81076"/>
                    <a:pt x="117575" y="88737"/>
                  </a:cubicBezTo>
                  <a:lnTo>
                    <a:pt x="117575" y="88737"/>
                  </a:lnTo>
                  <a:cubicBezTo>
                    <a:pt x="123326" y="95121"/>
                    <a:pt x="125243" y="104059"/>
                    <a:pt x="121409" y="111720"/>
                  </a:cubicBezTo>
                  <a:lnTo>
                    <a:pt x="129716" y="120019"/>
                  </a:lnTo>
                  <a:cubicBezTo>
                    <a:pt x="142496" y="109166"/>
                    <a:pt x="157831" y="102782"/>
                    <a:pt x="174445" y="101505"/>
                  </a:cubicBezTo>
                  <a:lnTo>
                    <a:pt x="174445" y="90014"/>
                  </a:lnTo>
                  <a:cubicBezTo>
                    <a:pt x="164221" y="86184"/>
                    <a:pt x="158470" y="75331"/>
                    <a:pt x="161665" y="64478"/>
                  </a:cubicBezTo>
                  <a:cubicBezTo>
                    <a:pt x="165499" y="54264"/>
                    <a:pt x="176362" y="48518"/>
                    <a:pt x="187225" y="51710"/>
                  </a:cubicBezTo>
                  <a:cubicBezTo>
                    <a:pt x="197449" y="55541"/>
                    <a:pt x="203200" y="66393"/>
                    <a:pt x="200005" y="77246"/>
                  </a:cubicBezTo>
                  <a:cubicBezTo>
                    <a:pt x="198088" y="82992"/>
                    <a:pt x="193615" y="88099"/>
                    <a:pt x="187225" y="90014"/>
                  </a:cubicBezTo>
                  <a:lnTo>
                    <a:pt x="187225" y="101505"/>
                  </a:lnTo>
                  <a:cubicBezTo>
                    <a:pt x="203839" y="102782"/>
                    <a:pt x="219175" y="109166"/>
                    <a:pt x="231955" y="120019"/>
                  </a:cubicBezTo>
                  <a:lnTo>
                    <a:pt x="240262" y="111720"/>
                  </a:lnTo>
                  <a:cubicBezTo>
                    <a:pt x="236428" y="104059"/>
                    <a:pt x="237706" y="94483"/>
                    <a:pt x="244096" y="88737"/>
                  </a:cubicBezTo>
                  <a:cubicBezTo>
                    <a:pt x="251764" y="81076"/>
                    <a:pt x="264543" y="81076"/>
                    <a:pt x="272211" y="88737"/>
                  </a:cubicBezTo>
                  <a:cubicBezTo>
                    <a:pt x="279879" y="96398"/>
                    <a:pt x="279879" y="109166"/>
                    <a:pt x="272211" y="116827"/>
                  </a:cubicBezTo>
                  <a:cubicBezTo>
                    <a:pt x="272211" y="116827"/>
                    <a:pt x="272211" y="116827"/>
                    <a:pt x="272211" y="116827"/>
                  </a:cubicBezTo>
                  <a:lnTo>
                    <a:pt x="272211" y="116827"/>
                  </a:lnTo>
                  <a:cubicBezTo>
                    <a:pt x="268377" y="120657"/>
                    <a:pt x="263265" y="122572"/>
                    <a:pt x="258154" y="122572"/>
                  </a:cubicBezTo>
                  <a:cubicBezTo>
                    <a:pt x="254959" y="122572"/>
                    <a:pt x="251764" y="121934"/>
                    <a:pt x="249208" y="120657"/>
                  </a:cubicBezTo>
                  <a:lnTo>
                    <a:pt x="241540" y="128956"/>
                  </a:lnTo>
                  <a:cubicBezTo>
                    <a:pt x="252403" y="141724"/>
                    <a:pt x="258792" y="157046"/>
                    <a:pt x="260070" y="173644"/>
                  </a:cubicBezTo>
                  <a:lnTo>
                    <a:pt x="271572" y="173644"/>
                  </a:lnTo>
                  <a:cubicBezTo>
                    <a:pt x="275406" y="163430"/>
                    <a:pt x="286269" y="157684"/>
                    <a:pt x="297132" y="160876"/>
                  </a:cubicBezTo>
                  <a:cubicBezTo>
                    <a:pt x="307356" y="164707"/>
                    <a:pt x="313107" y="175560"/>
                    <a:pt x="309912" y="186412"/>
                  </a:cubicBezTo>
                  <a:cubicBezTo>
                    <a:pt x="306717" y="195350"/>
                    <a:pt x="299049" y="200457"/>
                    <a:pt x="290103" y="200457"/>
                  </a:cubicBezTo>
                  <a:lnTo>
                    <a:pt x="290103" y="200457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Graphic 4">
              <a:extLst>
                <a:ext uri="{FF2B5EF4-FFF2-40B4-BE49-F238E27FC236}">
                  <a16:creationId xmlns:a16="http://schemas.microsoft.com/office/drawing/2014/main" id="{025A3CBF-9BF6-D3CA-1A24-C517E1A8299B}"/>
                </a:ext>
              </a:extLst>
            </p:cNvPr>
            <p:cNvSpPr/>
            <p:nvPr/>
          </p:nvSpPr>
          <p:spPr>
            <a:xfrm>
              <a:off x="1188528" y="3029362"/>
              <a:ext cx="14057" cy="14044"/>
            </a:xfrm>
            <a:custGeom>
              <a:avLst/>
              <a:gdLst>
                <a:gd name="connsiteX0" fmla="*/ 7029 w 14057"/>
                <a:gd name="connsiteY0" fmla="*/ 0 h 14044"/>
                <a:gd name="connsiteX1" fmla="*/ 0 w 14057"/>
                <a:gd name="connsiteY1" fmla="*/ 7022 h 14044"/>
                <a:gd name="connsiteX2" fmla="*/ 7029 w 14057"/>
                <a:gd name="connsiteY2" fmla="*/ 14045 h 14044"/>
                <a:gd name="connsiteX3" fmla="*/ 14058 w 14057"/>
                <a:gd name="connsiteY3" fmla="*/ 7022 h 14044"/>
                <a:gd name="connsiteX4" fmla="*/ 7029 w 14057"/>
                <a:gd name="connsiteY4" fmla="*/ 0 h 14044"/>
                <a:gd name="connsiteX5" fmla="*/ 7029 w 14057"/>
                <a:gd name="connsiteY5" fmla="*/ 0 h 1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057" h="14044">
                  <a:moveTo>
                    <a:pt x="7029" y="0"/>
                  </a:moveTo>
                  <a:cubicBezTo>
                    <a:pt x="3195" y="0"/>
                    <a:pt x="0" y="3192"/>
                    <a:pt x="0" y="7022"/>
                  </a:cubicBezTo>
                  <a:cubicBezTo>
                    <a:pt x="0" y="10853"/>
                    <a:pt x="3195" y="14045"/>
                    <a:pt x="7029" y="14045"/>
                  </a:cubicBezTo>
                  <a:cubicBezTo>
                    <a:pt x="10863" y="14045"/>
                    <a:pt x="14058" y="10853"/>
                    <a:pt x="14058" y="7022"/>
                  </a:cubicBezTo>
                  <a:cubicBezTo>
                    <a:pt x="14058" y="3192"/>
                    <a:pt x="11502" y="0"/>
                    <a:pt x="7029" y="0"/>
                  </a:cubicBezTo>
                  <a:lnTo>
                    <a:pt x="7029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Graphic 4">
              <a:extLst>
                <a:ext uri="{FF2B5EF4-FFF2-40B4-BE49-F238E27FC236}">
                  <a16:creationId xmlns:a16="http://schemas.microsoft.com/office/drawing/2014/main" id="{DE92A5A0-79C2-F39C-9B03-E7DF4D958F73}"/>
                </a:ext>
              </a:extLst>
            </p:cNvPr>
            <p:cNvSpPr/>
            <p:nvPr/>
          </p:nvSpPr>
          <p:spPr>
            <a:xfrm>
              <a:off x="1019834" y="2969991"/>
              <a:ext cx="132910" cy="132786"/>
            </a:xfrm>
            <a:custGeom>
              <a:avLst/>
              <a:gdLst>
                <a:gd name="connsiteX0" fmla="*/ 66455 w 132910"/>
                <a:gd name="connsiteY0" fmla="*/ 0 h 132786"/>
                <a:gd name="connsiteX1" fmla="*/ 0 w 132910"/>
                <a:gd name="connsiteY1" fmla="*/ 66393 h 132786"/>
                <a:gd name="connsiteX2" fmla="*/ 66455 w 132910"/>
                <a:gd name="connsiteY2" fmla="*/ 132787 h 132786"/>
                <a:gd name="connsiteX3" fmla="*/ 132911 w 132910"/>
                <a:gd name="connsiteY3" fmla="*/ 66393 h 132786"/>
                <a:gd name="connsiteX4" fmla="*/ 66455 w 132910"/>
                <a:gd name="connsiteY4" fmla="*/ 0 h 132786"/>
                <a:gd name="connsiteX5" fmla="*/ 66455 w 132910"/>
                <a:gd name="connsiteY5" fmla="*/ 0 h 132786"/>
                <a:gd name="connsiteX6" fmla="*/ 99683 w 132910"/>
                <a:gd name="connsiteY6" fmla="*/ 100228 h 132786"/>
                <a:gd name="connsiteX7" fmla="*/ 70928 w 132910"/>
                <a:gd name="connsiteY7" fmla="*/ 123849 h 132786"/>
                <a:gd name="connsiteX8" fmla="*/ 63260 w 132910"/>
                <a:gd name="connsiteY8" fmla="*/ 123849 h 132786"/>
                <a:gd name="connsiteX9" fmla="*/ 33867 w 132910"/>
                <a:gd name="connsiteY9" fmla="*/ 100867 h 132786"/>
                <a:gd name="connsiteX10" fmla="*/ 31950 w 132910"/>
                <a:gd name="connsiteY10" fmla="*/ 93844 h 132786"/>
                <a:gd name="connsiteX11" fmla="*/ 37701 w 132910"/>
                <a:gd name="connsiteY11" fmla="*/ 89376 h 132786"/>
                <a:gd name="connsiteX12" fmla="*/ 44730 w 132910"/>
                <a:gd name="connsiteY12" fmla="*/ 89376 h 132786"/>
                <a:gd name="connsiteX13" fmla="*/ 44730 w 132910"/>
                <a:gd name="connsiteY13" fmla="*/ 75969 h 132786"/>
                <a:gd name="connsiteX14" fmla="*/ 51119 w 132910"/>
                <a:gd name="connsiteY14" fmla="*/ 69585 h 132786"/>
                <a:gd name="connsiteX15" fmla="*/ 83069 w 132910"/>
                <a:gd name="connsiteY15" fmla="*/ 69585 h 132786"/>
                <a:gd name="connsiteX16" fmla="*/ 89459 w 132910"/>
                <a:gd name="connsiteY16" fmla="*/ 75969 h 132786"/>
                <a:gd name="connsiteX17" fmla="*/ 89459 w 132910"/>
                <a:gd name="connsiteY17" fmla="*/ 89376 h 132786"/>
                <a:gd name="connsiteX18" fmla="*/ 96488 w 132910"/>
                <a:gd name="connsiteY18" fmla="*/ 89376 h 132786"/>
                <a:gd name="connsiteX19" fmla="*/ 102239 w 132910"/>
                <a:gd name="connsiteY19" fmla="*/ 93844 h 132786"/>
                <a:gd name="connsiteX20" fmla="*/ 99683 w 132910"/>
                <a:gd name="connsiteY20" fmla="*/ 100228 h 132786"/>
                <a:gd name="connsiteX21" fmla="*/ 99683 w 132910"/>
                <a:gd name="connsiteY21" fmla="*/ 100228 h 132786"/>
                <a:gd name="connsiteX22" fmla="*/ 101600 w 132910"/>
                <a:gd name="connsiteY22" fmla="*/ 39581 h 132786"/>
                <a:gd name="connsiteX23" fmla="*/ 95849 w 132910"/>
                <a:gd name="connsiteY23" fmla="*/ 44049 h 132786"/>
                <a:gd name="connsiteX24" fmla="*/ 88820 w 132910"/>
                <a:gd name="connsiteY24" fmla="*/ 44049 h 132786"/>
                <a:gd name="connsiteX25" fmla="*/ 88820 w 132910"/>
                <a:gd name="connsiteY25" fmla="*/ 57456 h 132786"/>
                <a:gd name="connsiteX26" fmla="*/ 82430 w 132910"/>
                <a:gd name="connsiteY26" fmla="*/ 63840 h 132786"/>
                <a:gd name="connsiteX27" fmla="*/ 50480 w 132910"/>
                <a:gd name="connsiteY27" fmla="*/ 63840 h 132786"/>
                <a:gd name="connsiteX28" fmla="*/ 44091 w 132910"/>
                <a:gd name="connsiteY28" fmla="*/ 57456 h 132786"/>
                <a:gd name="connsiteX29" fmla="*/ 44091 w 132910"/>
                <a:gd name="connsiteY29" fmla="*/ 44049 h 132786"/>
                <a:gd name="connsiteX30" fmla="*/ 37062 w 132910"/>
                <a:gd name="connsiteY30" fmla="*/ 44049 h 132786"/>
                <a:gd name="connsiteX31" fmla="*/ 30672 w 132910"/>
                <a:gd name="connsiteY31" fmla="*/ 37665 h 132786"/>
                <a:gd name="connsiteX32" fmla="*/ 33228 w 132910"/>
                <a:gd name="connsiteY32" fmla="*/ 32558 h 132786"/>
                <a:gd name="connsiteX33" fmla="*/ 62621 w 132910"/>
                <a:gd name="connsiteY33" fmla="*/ 9576 h 132786"/>
                <a:gd name="connsiteX34" fmla="*/ 70289 w 132910"/>
                <a:gd name="connsiteY34" fmla="*/ 9576 h 132786"/>
                <a:gd name="connsiteX35" fmla="*/ 99683 w 132910"/>
                <a:gd name="connsiteY35" fmla="*/ 32558 h 132786"/>
                <a:gd name="connsiteX36" fmla="*/ 101600 w 132910"/>
                <a:gd name="connsiteY36" fmla="*/ 39581 h 132786"/>
                <a:gd name="connsiteX37" fmla="*/ 101600 w 132910"/>
                <a:gd name="connsiteY37" fmla="*/ 39581 h 132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32910" h="132786">
                  <a:moveTo>
                    <a:pt x="66455" y="0"/>
                  </a:moveTo>
                  <a:cubicBezTo>
                    <a:pt x="30033" y="0"/>
                    <a:pt x="0" y="30005"/>
                    <a:pt x="0" y="66393"/>
                  </a:cubicBezTo>
                  <a:cubicBezTo>
                    <a:pt x="0" y="102782"/>
                    <a:pt x="30033" y="132787"/>
                    <a:pt x="66455" y="132787"/>
                  </a:cubicBezTo>
                  <a:cubicBezTo>
                    <a:pt x="102878" y="132787"/>
                    <a:pt x="132911" y="102782"/>
                    <a:pt x="132911" y="66393"/>
                  </a:cubicBezTo>
                  <a:cubicBezTo>
                    <a:pt x="132911" y="30005"/>
                    <a:pt x="103517" y="0"/>
                    <a:pt x="66455" y="0"/>
                  </a:cubicBezTo>
                  <a:cubicBezTo>
                    <a:pt x="66455" y="0"/>
                    <a:pt x="66455" y="0"/>
                    <a:pt x="66455" y="0"/>
                  </a:cubicBezTo>
                  <a:close/>
                  <a:moveTo>
                    <a:pt x="99683" y="100228"/>
                  </a:moveTo>
                  <a:lnTo>
                    <a:pt x="70928" y="123849"/>
                  </a:lnTo>
                  <a:cubicBezTo>
                    <a:pt x="68372" y="125764"/>
                    <a:pt x="65177" y="125764"/>
                    <a:pt x="63260" y="123849"/>
                  </a:cubicBezTo>
                  <a:lnTo>
                    <a:pt x="33867" y="100867"/>
                  </a:lnTo>
                  <a:cubicBezTo>
                    <a:pt x="31950" y="98952"/>
                    <a:pt x="30672" y="96398"/>
                    <a:pt x="31950" y="93844"/>
                  </a:cubicBezTo>
                  <a:cubicBezTo>
                    <a:pt x="32589" y="91291"/>
                    <a:pt x="35145" y="89376"/>
                    <a:pt x="37701" y="89376"/>
                  </a:cubicBezTo>
                  <a:lnTo>
                    <a:pt x="44730" y="89376"/>
                  </a:lnTo>
                  <a:lnTo>
                    <a:pt x="44730" y="75969"/>
                  </a:lnTo>
                  <a:cubicBezTo>
                    <a:pt x="44730" y="72139"/>
                    <a:pt x="47285" y="69585"/>
                    <a:pt x="51119" y="69585"/>
                  </a:cubicBezTo>
                  <a:lnTo>
                    <a:pt x="83069" y="69585"/>
                  </a:lnTo>
                  <a:cubicBezTo>
                    <a:pt x="86903" y="69585"/>
                    <a:pt x="89459" y="72139"/>
                    <a:pt x="89459" y="75969"/>
                  </a:cubicBezTo>
                  <a:lnTo>
                    <a:pt x="89459" y="89376"/>
                  </a:lnTo>
                  <a:lnTo>
                    <a:pt x="96488" y="89376"/>
                  </a:lnTo>
                  <a:cubicBezTo>
                    <a:pt x="99044" y="89376"/>
                    <a:pt x="101600" y="91291"/>
                    <a:pt x="102239" y="93844"/>
                  </a:cubicBezTo>
                  <a:cubicBezTo>
                    <a:pt x="102878" y="95760"/>
                    <a:pt x="101600" y="98952"/>
                    <a:pt x="99683" y="100228"/>
                  </a:cubicBezTo>
                  <a:lnTo>
                    <a:pt x="99683" y="100228"/>
                  </a:lnTo>
                  <a:close/>
                  <a:moveTo>
                    <a:pt x="101600" y="39581"/>
                  </a:moveTo>
                  <a:cubicBezTo>
                    <a:pt x="100961" y="42134"/>
                    <a:pt x="98405" y="44049"/>
                    <a:pt x="95849" y="44049"/>
                  </a:cubicBezTo>
                  <a:lnTo>
                    <a:pt x="88820" y="44049"/>
                  </a:lnTo>
                  <a:lnTo>
                    <a:pt x="88820" y="57456"/>
                  </a:lnTo>
                  <a:cubicBezTo>
                    <a:pt x="88820" y="61286"/>
                    <a:pt x="86264" y="63840"/>
                    <a:pt x="82430" y="63840"/>
                  </a:cubicBezTo>
                  <a:lnTo>
                    <a:pt x="50480" y="63840"/>
                  </a:lnTo>
                  <a:cubicBezTo>
                    <a:pt x="46646" y="63840"/>
                    <a:pt x="44091" y="61286"/>
                    <a:pt x="44091" y="57456"/>
                  </a:cubicBezTo>
                  <a:lnTo>
                    <a:pt x="44091" y="44049"/>
                  </a:lnTo>
                  <a:lnTo>
                    <a:pt x="37062" y="44049"/>
                  </a:lnTo>
                  <a:cubicBezTo>
                    <a:pt x="33228" y="44049"/>
                    <a:pt x="30672" y="40857"/>
                    <a:pt x="30672" y="37665"/>
                  </a:cubicBezTo>
                  <a:cubicBezTo>
                    <a:pt x="30672" y="35750"/>
                    <a:pt x="31311" y="33835"/>
                    <a:pt x="33228" y="32558"/>
                  </a:cubicBezTo>
                  <a:lnTo>
                    <a:pt x="62621" y="9576"/>
                  </a:lnTo>
                  <a:cubicBezTo>
                    <a:pt x="65177" y="7661"/>
                    <a:pt x="68372" y="7661"/>
                    <a:pt x="70289" y="9576"/>
                  </a:cubicBezTo>
                  <a:lnTo>
                    <a:pt x="99683" y="32558"/>
                  </a:lnTo>
                  <a:cubicBezTo>
                    <a:pt x="102239" y="34473"/>
                    <a:pt x="102878" y="37027"/>
                    <a:pt x="101600" y="39581"/>
                  </a:cubicBezTo>
                  <a:lnTo>
                    <a:pt x="101600" y="3958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Graphic 4">
              <a:extLst>
                <a:ext uri="{FF2B5EF4-FFF2-40B4-BE49-F238E27FC236}">
                  <a16:creationId xmlns:a16="http://schemas.microsoft.com/office/drawing/2014/main" id="{425BAF3B-7A48-C6A4-5C66-B22F41648EC5}"/>
                </a:ext>
              </a:extLst>
            </p:cNvPr>
            <p:cNvSpPr/>
            <p:nvPr/>
          </p:nvSpPr>
          <p:spPr>
            <a:xfrm>
              <a:off x="1074148" y="2992973"/>
              <a:ext cx="24281" cy="28089"/>
            </a:xfrm>
            <a:custGeom>
              <a:avLst/>
              <a:gdLst>
                <a:gd name="connsiteX0" fmla="*/ 0 w 24281"/>
                <a:gd name="connsiteY0" fmla="*/ 9576 h 28089"/>
                <a:gd name="connsiteX1" fmla="*/ 2556 w 24281"/>
                <a:gd name="connsiteY1" fmla="*/ 14683 h 28089"/>
                <a:gd name="connsiteX2" fmla="*/ 2556 w 24281"/>
                <a:gd name="connsiteY2" fmla="*/ 28089 h 28089"/>
                <a:gd name="connsiteX3" fmla="*/ 21726 w 24281"/>
                <a:gd name="connsiteY3" fmla="*/ 28089 h 28089"/>
                <a:gd name="connsiteX4" fmla="*/ 21726 w 24281"/>
                <a:gd name="connsiteY4" fmla="*/ 14683 h 28089"/>
                <a:gd name="connsiteX5" fmla="*/ 24282 w 24281"/>
                <a:gd name="connsiteY5" fmla="*/ 9576 h 28089"/>
                <a:gd name="connsiteX6" fmla="*/ 12141 w 24281"/>
                <a:gd name="connsiteY6" fmla="*/ 0 h 28089"/>
                <a:gd name="connsiteX7" fmla="*/ 0 w 24281"/>
                <a:gd name="connsiteY7" fmla="*/ 9576 h 28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81" h="28089">
                  <a:moveTo>
                    <a:pt x="0" y="9576"/>
                  </a:moveTo>
                  <a:cubicBezTo>
                    <a:pt x="1917" y="10853"/>
                    <a:pt x="2556" y="12768"/>
                    <a:pt x="2556" y="14683"/>
                  </a:cubicBezTo>
                  <a:lnTo>
                    <a:pt x="2556" y="28089"/>
                  </a:lnTo>
                  <a:lnTo>
                    <a:pt x="21726" y="28089"/>
                  </a:lnTo>
                  <a:lnTo>
                    <a:pt x="21726" y="14683"/>
                  </a:lnTo>
                  <a:cubicBezTo>
                    <a:pt x="21726" y="12768"/>
                    <a:pt x="23004" y="10853"/>
                    <a:pt x="24282" y="9576"/>
                  </a:cubicBezTo>
                  <a:lnTo>
                    <a:pt x="12141" y="0"/>
                  </a:lnTo>
                  <a:lnTo>
                    <a:pt x="0" y="957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C34E65FC-BC27-880C-7CDD-522C29C51A11}"/>
              </a:ext>
            </a:extLst>
          </p:cNvPr>
          <p:cNvSpPr txBox="1">
            <a:spLocks/>
          </p:cNvSpPr>
          <p:nvPr/>
        </p:nvSpPr>
        <p:spPr>
          <a:xfrm>
            <a:off x="497681" y="651601"/>
            <a:ext cx="11201400" cy="334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hu-HU" dirty="0"/>
              <a:t>Bőven és szűken vett SI</a:t>
            </a:r>
            <a:endParaRPr lang="en-AU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121873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CC4D78E-CD04-A8B1-B2DD-E813E218F2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2571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CC4D78E-CD04-A8B1-B2DD-E813E218F2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" name="Group 41">
            <a:extLst>
              <a:ext uri="{FF2B5EF4-FFF2-40B4-BE49-F238E27FC236}">
                <a16:creationId xmlns:a16="http://schemas.microsoft.com/office/drawing/2014/main" id="{ED5395E1-2483-52F3-6EC6-41FE6BB94DA6}"/>
              </a:ext>
            </a:extLst>
          </p:cNvPr>
          <p:cNvGrpSpPr/>
          <p:nvPr/>
        </p:nvGrpSpPr>
        <p:grpSpPr>
          <a:xfrm>
            <a:off x="862436" y="1010231"/>
            <a:ext cx="10467845" cy="2223485"/>
            <a:chOff x="862436" y="884793"/>
            <a:chExt cx="10467845" cy="2223485"/>
          </a:xfrm>
        </p:grpSpPr>
        <p:grpSp>
          <p:nvGrpSpPr>
            <p:cNvPr id="15" name="グループ化 34">
              <a:extLst>
                <a:ext uri="{FF2B5EF4-FFF2-40B4-BE49-F238E27FC236}">
                  <a16:creationId xmlns:a16="http://schemas.microsoft.com/office/drawing/2014/main" id="{566B2781-9813-4097-81CB-AF4E9E0FB761}"/>
                </a:ext>
              </a:extLst>
            </p:cNvPr>
            <p:cNvGrpSpPr/>
            <p:nvPr/>
          </p:nvGrpSpPr>
          <p:grpSpPr>
            <a:xfrm>
              <a:off x="862436" y="884793"/>
              <a:ext cx="10467845" cy="2223485"/>
              <a:chOff x="579600" y="1764000"/>
              <a:chExt cx="8748000" cy="1858171"/>
            </a:xfrm>
          </p:grpSpPr>
          <p:sp>
            <p:nvSpPr>
              <p:cNvPr id="17" name="フリーフォーム 17">
                <a:extLst>
                  <a:ext uri="{FF2B5EF4-FFF2-40B4-BE49-F238E27FC236}">
                    <a16:creationId xmlns:a16="http://schemas.microsoft.com/office/drawing/2014/main" id="{E8687110-9F68-4F94-9FCA-5E4B7C5AC2E6}"/>
                  </a:ext>
                </a:extLst>
              </p:cNvPr>
              <p:cNvSpPr/>
              <p:nvPr/>
            </p:nvSpPr>
            <p:spPr bwMode="gray">
              <a:xfrm>
                <a:off x="579600" y="1764000"/>
                <a:ext cx="8748000" cy="1008000"/>
              </a:xfrm>
              <a:custGeom>
                <a:avLst/>
                <a:gdLst>
                  <a:gd name="connsiteX0" fmla="*/ 504000 w 8748000"/>
                  <a:gd name="connsiteY0" fmla="*/ 0 h 1008000"/>
                  <a:gd name="connsiteX1" fmla="*/ 519058 w 8748000"/>
                  <a:gd name="connsiteY1" fmla="*/ 1518 h 1008000"/>
                  <a:gd name="connsiteX2" fmla="*/ 519058 w 8748000"/>
                  <a:gd name="connsiteY2" fmla="*/ 0 h 1008000"/>
                  <a:gd name="connsiteX3" fmla="*/ 8251258 w 8748000"/>
                  <a:gd name="connsiteY3" fmla="*/ 0 h 1008000"/>
                  <a:gd name="connsiteX4" fmla="*/ 8745019 w 8748000"/>
                  <a:gd name="connsiteY4" fmla="*/ 402426 h 1008000"/>
                  <a:gd name="connsiteX5" fmla="*/ 8748000 w 8748000"/>
                  <a:gd name="connsiteY5" fmla="*/ 432000 h 1008000"/>
                  <a:gd name="connsiteX6" fmla="*/ 1000742 w 8748000"/>
                  <a:gd name="connsiteY6" fmla="*/ 432000 h 1008000"/>
                  <a:gd name="connsiteX7" fmla="*/ 1008000 w 8748000"/>
                  <a:gd name="connsiteY7" fmla="*/ 504000 h 1008000"/>
                  <a:gd name="connsiteX8" fmla="*/ 504000 w 8748000"/>
                  <a:gd name="connsiteY8" fmla="*/ 1008000 h 1008000"/>
                  <a:gd name="connsiteX9" fmla="*/ 0 w 8748000"/>
                  <a:gd name="connsiteY9" fmla="*/ 504000 h 1008000"/>
                  <a:gd name="connsiteX10" fmla="*/ 504000 w 8748000"/>
                  <a:gd name="connsiteY10" fmla="*/ 0 h 100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748000" h="1008000">
                    <a:moveTo>
                      <a:pt x="504000" y="0"/>
                    </a:moveTo>
                    <a:lnTo>
                      <a:pt x="519058" y="1518"/>
                    </a:lnTo>
                    <a:lnTo>
                      <a:pt x="519058" y="0"/>
                    </a:lnTo>
                    <a:lnTo>
                      <a:pt x="8251258" y="0"/>
                    </a:lnTo>
                    <a:cubicBezTo>
                      <a:pt x="8494816" y="0"/>
                      <a:pt x="8698022" y="172762"/>
                      <a:pt x="8745019" y="402426"/>
                    </a:cubicBezTo>
                    <a:lnTo>
                      <a:pt x="8748000" y="432000"/>
                    </a:lnTo>
                    <a:lnTo>
                      <a:pt x="1000742" y="432000"/>
                    </a:lnTo>
                    <a:lnTo>
                      <a:pt x="1008000" y="504000"/>
                    </a:lnTo>
                    <a:cubicBezTo>
                      <a:pt x="1008000" y="782352"/>
                      <a:pt x="782352" y="1008000"/>
                      <a:pt x="504000" y="1008000"/>
                    </a:cubicBezTo>
                    <a:cubicBezTo>
                      <a:pt x="225648" y="1008000"/>
                      <a:pt x="0" y="782352"/>
                      <a:pt x="0" y="504000"/>
                    </a:cubicBezTo>
                    <a:cubicBezTo>
                      <a:pt x="0" y="225648"/>
                      <a:pt x="225648" y="0"/>
                      <a:pt x="50400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1008000" tIns="0" rIns="0" bIns="57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360000" marR="0" lvl="0" indent="-3600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1" lang="hu-HU" altLang="ja-JP" sz="18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      A tréning célja</a:t>
                </a:r>
                <a:endParaRPr kumimoji="1" lang="hu-HU" altLang="ja-JP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9" name="正方形/長方形 23">
                <a:extLst>
                  <a:ext uri="{FF2B5EF4-FFF2-40B4-BE49-F238E27FC236}">
                    <a16:creationId xmlns:a16="http://schemas.microsoft.com/office/drawing/2014/main" id="{07F5D8AC-4449-4BB8-BFF0-9C9F859C1170}"/>
                  </a:ext>
                </a:extLst>
              </p:cNvPr>
              <p:cNvSpPr/>
              <p:nvPr/>
            </p:nvSpPr>
            <p:spPr bwMode="gray">
              <a:xfrm>
                <a:off x="1713812" y="2232897"/>
                <a:ext cx="7613788" cy="1389274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0" tIns="18288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1450" indent="-171450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hu-HU" sz="1600" dirty="0"/>
                  <a:t>Célunk nem más, mint </a:t>
                </a:r>
                <a:r>
                  <a:rPr lang="hu-HU" sz="1600" b="1" dirty="0"/>
                  <a:t>együtt tegyük meg az első kilométert a nagyvállalati IT-alapismeretek rögös útján </a:t>
                </a:r>
                <a:r>
                  <a:rPr lang="hu-HU" sz="1600" dirty="0"/>
                  <a:t>– még akkor is, ha már jócskán haladttál errefelé </a:t>
                </a:r>
                <a:r>
                  <a:rPr lang="hu-HU" sz="1600" dirty="0">
                    <a:sym typeface="Wingdings" panose="05000000000000000000" pitchFamily="2" charset="2"/>
                  </a:rPr>
                  <a:t></a:t>
                </a:r>
              </a:p>
              <a:p>
                <a:pPr marL="171450" indent="-171450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hu-HU" sz="1600" dirty="0">
                    <a:sym typeface="Wingdings" panose="05000000000000000000" pitchFamily="2" charset="2"/>
                  </a:rPr>
                  <a:t>Két terület kerül bemutatásra: </a:t>
                </a:r>
                <a:r>
                  <a:rPr lang="hu-HU" sz="1600" b="1" dirty="0">
                    <a:sym typeface="Wingdings" panose="05000000000000000000" pitchFamily="2" charset="2"/>
                  </a:rPr>
                  <a:t>Enterprise </a:t>
                </a:r>
                <a:r>
                  <a:rPr lang="hu-HU" sz="1600" b="1" dirty="0" err="1">
                    <a:sym typeface="Wingdings" panose="05000000000000000000" pitchFamily="2" charset="2"/>
                  </a:rPr>
                  <a:t>Architecture</a:t>
                </a:r>
                <a:r>
                  <a:rPr lang="hu-HU" sz="1600" b="1" dirty="0">
                    <a:sym typeface="Wingdings" panose="05000000000000000000" pitchFamily="2" charset="2"/>
                  </a:rPr>
                  <a:t> </a:t>
                </a:r>
                <a:r>
                  <a:rPr lang="hu-HU" sz="1600" dirty="0">
                    <a:sym typeface="Wingdings" panose="05000000000000000000" pitchFamily="2" charset="2"/>
                  </a:rPr>
                  <a:t>(EA) és a </a:t>
                </a:r>
                <a:r>
                  <a:rPr lang="hu-HU" sz="1600" b="1" dirty="0">
                    <a:sym typeface="Wingdings" panose="05000000000000000000" pitchFamily="2" charset="2"/>
                  </a:rPr>
                  <a:t>System </a:t>
                </a:r>
                <a:r>
                  <a:rPr lang="hu-HU" sz="1600" b="1" dirty="0" err="1">
                    <a:sym typeface="Wingdings" panose="05000000000000000000" pitchFamily="2" charset="2"/>
                  </a:rPr>
                  <a:t>Integration</a:t>
                </a:r>
                <a:r>
                  <a:rPr lang="hu-HU" sz="1600" b="1" dirty="0">
                    <a:sym typeface="Wingdings" panose="05000000000000000000" pitchFamily="2" charset="2"/>
                  </a:rPr>
                  <a:t> </a:t>
                </a:r>
                <a:r>
                  <a:rPr lang="hu-HU" sz="1600" dirty="0">
                    <a:sym typeface="Wingdings" panose="05000000000000000000" pitchFamily="2" charset="2"/>
                  </a:rPr>
                  <a:t>(SI)</a:t>
                </a:r>
                <a:endParaRPr lang="hu-HU" sz="1600" b="1" dirty="0">
                  <a:sym typeface="Wingdings" panose="05000000000000000000" pitchFamily="2" charset="2"/>
                </a:endParaRPr>
              </a:p>
              <a:p>
                <a:pPr marL="171450" indent="-171450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hu-HU" sz="1600" dirty="0"/>
                  <a:t>A legáltalánosabb és legelterjedtebb </a:t>
                </a:r>
                <a:r>
                  <a:rPr lang="hu-HU" sz="1600" b="1" dirty="0"/>
                  <a:t>koncepciókon</a:t>
                </a:r>
                <a:r>
                  <a:rPr lang="hu-HU" sz="1600" dirty="0"/>
                  <a:t>, </a:t>
                </a:r>
                <a:r>
                  <a:rPr lang="hu-HU" sz="1600" b="1" dirty="0"/>
                  <a:t>kifejezéseken</a:t>
                </a:r>
                <a:r>
                  <a:rPr lang="hu-HU" sz="1600" dirty="0"/>
                  <a:t> és </a:t>
                </a:r>
                <a:r>
                  <a:rPr lang="hu-HU" sz="1600" b="1" dirty="0"/>
                  <a:t>story-</a:t>
                </a:r>
                <a:r>
                  <a:rPr lang="hu-HU" sz="1600" b="1" dirty="0" err="1"/>
                  <a:t>kon</a:t>
                </a:r>
                <a:r>
                  <a:rPr lang="hu-HU" sz="1600" dirty="0"/>
                  <a:t> fogunk végig száguldani, ezzel a </a:t>
                </a:r>
                <a:r>
                  <a:rPr lang="hu-HU" sz="1600" b="1" dirty="0"/>
                  <a:t>leginkább előforduló eseteket fogjuk érinteni </a:t>
                </a:r>
                <a:r>
                  <a:rPr lang="hu-HU" sz="1600" dirty="0"/>
                  <a:t>a technológiai tanácsadás során.</a:t>
                </a:r>
              </a:p>
              <a:p>
                <a:endParaRPr lang="hu-HU" sz="1600" dirty="0"/>
              </a:p>
            </p:txBody>
          </p:sp>
        </p:grpSp>
        <p:sp>
          <p:nvSpPr>
            <p:cNvPr id="10" name="Graphic 4">
              <a:extLst>
                <a:ext uri="{FF2B5EF4-FFF2-40B4-BE49-F238E27FC236}">
                  <a16:creationId xmlns:a16="http://schemas.microsoft.com/office/drawing/2014/main" id="{B19B57E8-5599-9275-C869-00C9A1B3269B}"/>
                </a:ext>
              </a:extLst>
            </p:cNvPr>
            <p:cNvSpPr/>
            <p:nvPr/>
          </p:nvSpPr>
          <p:spPr>
            <a:xfrm>
              <a:off x="1283967" y="1332764"/>
              <a:ext cx="339750" cy="339430"/>
            </a:xfrm>
            <a:custGeom>
              <a:avLst/>
              <a:gdLst>
                <a:gd name="connsiteX0" fmla="*/ 59427 w 118853"/>
                <a:gd name="connsiteY0" fmla="*/ 0 h 118741"/>
                <a:gd name="connsiteX1" fmla="*/ 0 w 118853"/>
                <a:gd name="connsiteY1" fmla="*/ 59371 h 118741"/>
                <a:gd name="connsiteX2" fmla="*/ 59427 w 118853"/>
                <a:gd name="connsiteY2" fmla="*/ 118742 h 118741"/>
                <a:gd name="connsiteX3" fmla="*/ 118853 w 118853"/>
                <a:gd name="connsiteY3" fmla="*/ 59371 h 118741"/>
                <a:gd name="connsiteX4" fmla="*/ 106073 w 118853"/>
                <a:gd name="connsiteY4" fmla="*/ 22344 h 118741"/>
                <a:gd name="connsiteX5" fmla="*/ 92015 w 118853"/>
                <a:gd name="connsiteY5" fmla="*/ 36388 h 118741"/>
                <a:gd name="connsiteX6" fmla="*/ 99683 w 118853"/>
                <a:gd name="connsiteY6" fmla="*/ 59371 h 118741"/>
                <a:gd name="connsiteX7" fmla="*/ 60704 w 118853"/>
                <a:gd name="connsiteY7" fmla="*/ 98313 h 118741"/>
                <a:gd name="connsiteX8" fmla="*/ 21726 w 118853"/>
                <a:gd name="connsiteY8" fmla="*/ 59371 h 118741"/>
                <a:gd name="connsiteX9" fmla="*/ 60704 w 118853"/>
                <a:gd name="connsiteY9" fmla="*/ 20428 h 118741"/>
                <a:gd name="connsiteX10" fmla="*/ 83708 w 118853"/>
                <a:gd name="connsiteY10" fmla="*/ 28089 h 118741"/>
                <a:gd name="connsiteX11" fmla="*/ 97766 w 118853"/>
                <a:gd name="connsiteY11" fmla="*/ 14044 h 118741"/>
                <a:gd name="connsiteX12" fmla="*/ 59427 w 118853"/>
                <a:gd name="connsiteY12" fmla="*/ 0 h 118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853" h="118741">
                  <a:moveTo>
                    <a:pt x="59427" y="0"/>
                  </a:moveTo>
                  <a:cubicBezTo>
                    <a:pt x="26838" y="0"/>
                    <a:pt x="0" y="26812"/>
                    <a:pt x="0" y="59371"/>
                  </a:cubicBezTo>
                  <a:cubicBezTo>
                    <a:pt x="0" y="91929"/>
                    <a:pt x="26838" y="118742"/>
                    <a:pt x="59427" y="118742"/>
                  </a:cubicBezTo>
                  <a:cubicBezTo>
                    <a:pt x="92015" y="118742"/>
                    <a:pt x="118853" y="91929"/>
                    <a:pt x="118853" y="59371"/>
                  </a:cubicBezTo>
                  <a:cubicBezTo>
                    <a:pt x="118853" y="45326"/>
                    <a:pt x="113741" y="32558"/>
                    <a:pt x="106073" y="22344"/>
                  </a:cubicBezTo>
                  <a:lnTo>
                    <a:pt x="92015" y="36388"/>
                  </a:lnTo>
                  <a:cubicBezTo>
                    <a:pt x="96488" y="42772"/>
                    <a:pt x="99683" y="50433"/>
                    <a:pt x="99683" y="59371"/>
                  </a:cubicBezTo>
                  <a:cubicBezTo>
                    <a:pt x="99683" y="81076"/>
                    <a:pt x="82430" y="98313"/>
                    <a:pt x="60704" y="98313"/>
                  </a:cubicBezTo>
                  <a:cubicBezTo>
                    <a:pt x="38979" y="98313"/>
                    <a:pt x="21726" y="81076"/>
                    <a:pt x="21726" y="59371"/>
                  </a:cubicBezTo>
                  <a:cubicBezTo>
                    <a:pt x="21726" y="37665"/>
                    <a:pt x="38979" y="20428"/>
                    <a:pt x="60704" y="20428"/>
                  </a:cubicBezTo>
                  <a:cubicBezTo>
                    <a:pt x="69012" y="20428"/>
                    <a:pt x="77318" y="22982"/>
                    <a:pt x="83708" y="28089"/>
                  </a:cubicBezTo>
                  <a:lnTo>
                    <a:pt x="97766" y="14044"/>
                  </a:lnTo>
                  <a:cubicBezTo>
                    <a:pt x="86264" y="4468"/>
                    <a:pt x="72845" y="0"/>
                    <a:pt x="59427" y="0"/>
                  </a:cubicBezTo>
                  <a:close/>
                </a:path>
              </a:pathLst>
            </a:custGeom>
            <a:solidFill>
              <a:schemeClr val="bg1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 dirty="0"/>
            </a:p>
          </p:txBody>
        </p:sp>
        <p:sp>
          <p:nvSpPr>
            <p:cNvPr id="11" name="Graphic 4">
              <a:extLst>
                <a:ext uri="{FF2B5EF4-FFF2-40B4-BE49-F238E27FC236}">
                  <a16:creationId xmlns:a16="http://schemas.microsoft.com/office/drawing/2014/main" id="{D16AB208-47BE-E61A-3904-1886BD47F30E}"/>
                </a:ext>
              </a:extLst>
            </p:cNvPr>
            <p:cNvSpPr/>
            <p:nvPr/>
          </p:nvSpPr>
          <p:spPr>
            <a:xfrm>
              <a:off x="1378952" y="1425834"/>
              <a:ext cx="149781" cy="149641"/>
            </a:xfrm>
            <a:custGeom>
              <a:avLst/>
              <a:gdLst>
                <a:gd name="connsiteX0" fmla="*/ 26199 w 52397"/>
                <a:gd name="connsiteY0" fmla="*/ 32558 h 52348"/>
                <a:gd name="connsiteX1" fmla="*/ 21726 w 52397"/>
                <a:gd name="connsiteY1" fmla="*/ 30643 h 52348"/>
                <a:gd name="connsiteX2" fmla="*/ 21726 w 52397"/>
                <a:gd name="connsiteY2" fmla="*/ 21706 h 52348"/>
                <a:gd name="connsiteX3" fmla="*/ 39618 w 52397"/>
                <a:gd name="connsiteY3" fmla="*/ 3830 h 52348"/>
                <a:gd name="connsiteX4" fmla="*/ 26199 w 52397"/>
                <a:gd name="connsiteY4" fmla="*/ 0 h 52348"/>
                <a:gd name="connsiteX5" fmla="*/ 0 w 52397"/>
                <a:gd name="connsiteY5" fmla="*/ 26174 h 52348"/>
                <a:gd name="connsiteX6" fmla="*/ 26199 w 52397"/>
                <a:gd name="connsiteY6" fmla="*/ 52349 h 52348"/>
                <a:gd name="connsiteX7" fmla="*/ 52398 w 52397"/>
                <a:gd name="connsiteY7" fmla="*/ 26174 h 52348"/>
                <a:gd name="connsiteX8" fmla="*/ 48564 w 52397"/>
                <a:gd name="connsiteY8" fmla="*/ 12768 h 52348"/>
                <a:gd name="connsiteX9" fmla="*/ 30672 w 52397"/>
                <a:gd name="connsiteY9" fmla="*/ 30643 h 52348"/>
                <a:gd name="connsiteX10" fmla="*/ 26199 w 52397"/>
                <a:gd name="connsiteY10" fmla="*/ 32558 h 52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397" h="52348">
                  <a:moveTo>
                    <a:pt x="26199" y="32558"/>
                  </a:moveTo>
                  <a:cubicBezTo>
                    <a:pt x="24282" y="32558"/>
                    <a:pt x="23004" y="31920"/>
                    <a:pt x="21726" y="30643"/>
                  </a:cubicBezTo>
                  <a:cubicBezTo>
                    <a:pt x="19170" y="28090"/>
                    <a:pt x="19170" y="24259"/>
                    <a:pt x="21726" y="21706"/>
                  </a:cubicBezTo>
                  <a:lnTo>
                    <a:pt x="39618" y="3830"/>
                  </a:lnTo>
                  <a:cubicBezTo>
                    <a:pt x="35784" y="1277"/>
                    <a:pt x="31311" y="0"/>
                    <a:pt x="26199" y="0"/>
                  </a:cubicBezTo>
                  <a:cubicBezTo>
                    <a:pt x="11502" y="0"/>
                    <a:pt x="0" y="12130"/>
                    <a:pt x="0" y="26174"/>
                  </a:cubicBezTo>
                  <a:cubicBezTo>
                    <a:pt x="0" y="40219"/>
                    <a:pt x="12141" y="52349"/>
                    <a:pt x="26199" y="52349"/>
                  </a:cubicBezTo>
                  <a:cubicBezTo>
                    <a:pt x="40257" y="52349"/>
                    <a:pt x="52398" y="40219"/>
                    <a:pt x="52398" y="26174"/>
                  </a:cubicBezTo>
                  <a:cubicBezTo>
                    <a:pt x="52398" y="21067"/>
                    <a:pt x="51119" y="16598"/>
                    <a:pt x="48564" y="12768"/>
                  </a:cubicBezTo>
                  <a:lnTo>
                    <a:pt x="30672" y="30643"/>
                  </a:lnTo>
                  <a:cubicBezTo>
                    <a:pt x="29394" y="31920"/>
                    <a:pt x="27477" y="32558"/>
                    <a:pt x="26199" y="32558"/>
                  </a:cubicBezTo>
                  <a:close/>
                </a:path>
              </a:pathLst>
            </a:custGeom>
            <a:solidFill>
              <a:schemeClr val="bg1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 dirty="0"/>
            </a:p>
          </p:txBody>
        </p:sp>
        <p:sp>
          <p:nvSpPr>
            <p:cNvPr id="12" name="Graphic 4">
              <a:extLst>
                <a:ext uri="{FF2B5EF4-FFF2-40B4-BE49-F238E27FC236}">
                  <a16:creationId xmlns:a16="http://schemas.microsoft.com/office/drawing/2014/main" id="{B2B2F699-A16F-D6DD-833D-70F9A68FAA19}"/>
                </a:ext>
              </a:extLst>
            </p:cNvPr>
            <p:cNvSpPr/>
            <p:nvPr/>
          </p:nvSpPr>
          <p:spPr>
            <a:xfrm>
              <a:off x="1188985" y="1237868"/>
              <a:ext cx="526064" cy="525572"/>
            </a:xfrm>
            <a:custGeom>
              <a:avLst/>
              <a:gdLst>
                <a:gd name="connsiteX0" fmla="*/ 164221 w 184030"/>
                <a:gd name="connsiteY0" fmla="*/ 91929 h 183858"/>
                <a:gd name="connsiteX1" fmla="*/ 92015 w 184030"/>
                <a:gd name="connsiteY1" fmla="*/ 164068 h 183858"/>
                <a:gd name="connsiteX2" fmla="*/ 19809 w 184030"/>
                <a:gd name="connsiteY2" fmla="*/ 91929 h 183858"/>
                <a:gd name="connsiteX3" fmla="*/ 92015 w 184030"/>
                <a:gd name="connsiteY3" fmla="*/ 19790 h 183858"/>
                <a:gd name="connsiteX4" fmla="*/ 138022 w 184030"/>
                <a:gd name="connsiteY4" fmla="*/ 36389 h 183858"/>
                <a:gd name="connsiteX5" fmla="*/ 152080 w 184030"/>
                <a:gd name="connsiteY5" fmla="*/ 22344 h 183858"/>
                <a:gd name="connsiteX6" fmla="*/ 92015 w 184030"/>
                <a:gd name="connsiteY6" fmla="*/ 0 h 183858"/>
                <a:gd name="connsiteX7" fmla="*/ 0 w 184030"/>
                <a:gd name="connsiteY7" fmla="*/ 91929 h 183858"/>
                <a:gd name="connsiteX8" fmla="*/ 92015 w 184030"/>
                <a:gd name="connsiteY8" fmla="*/ 183859 h 183858"/>
                <a:gd name="connsiteX9" fmla="*/ 184030 w 184030"/>
                <a:gd name="connsiteY9" fmla="*/ 91929 h 183858"/>
                <a:gd name="connsiteX10" fmla="*/ 161665 w 184030"/>
                <a:gd name="connsiteY10" fmla="*/ 31920 h 183858"/>
                <a:gd name="connsiteX11" fmla="*/ 147607 w 184030"/>
                <a:gd name="connsiteY11" fmla="*/ 45965 h 183858"/>
                <a:gd name="connsiteX12" fmla="*/ 164221 w 184030"/>
                <a:gd name="connsiteY12" fmla="*/ 91929 h 183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4030" h="183858">
                  <a:moveTo>
                    <a:pt x="164221" y="91929"/>
                  </a:moveTo>
                  <a:cubicBezTo>
                    <a:pt x="164221" y="131510"/>
                    <a:pt x="132271" y="164068"/>
                    <a:pt x="92015" y="164068"/>
                  </a:cubicBezTo>
                  <a:cubicBezTo>
                    <a:pt x="52397" y="164068"/>
                    <a:pt x="19809" y="132149"/>
                    <a:pt x="19809" y="91929"/>
                  </a:cubicBezTo>
                  <a:cubicBezTo>
                    <a:pt x="19809" y="51710"/>
                    <a:pt x="51758" y="19790"/>
                    <a:pt x="92015" y="19790"/>
                  </a:cubicBezTo>
                  <a:cubicBezTo>
                    <a:pt x="109268" y="19790"/>
                    <a:pt x="125881" y="26174"/>
                    <a:pt x="138022" y="36389"/>
                  </a:cubicBezTo>
                  <a:lnTo>
                    <a:pt x="152080" y="22344"/>
                  </a:lnTo>
                  <a:cubicBezTo>
                    <a:pt x="136106" y="8299"/>
                    <a:pt x="115019" y="0"/>
                    <a:pt x="92015" y="0"/>
                  </a:cubicBezTo>
                  <a:cubicBezTo>
                    <a:pt x="41535" y="0"/>
                    <a:pt x="0" y="41496"/>
                    <a:pt x="0" y="91929"/>
                  </a:cubicBezTo>
                  <a:cubicBezTo>
                    <a:pt x="0" y="142363"/>
                    <a:pt x="41535" y="183859"/>
                    <a:pt x="92015" y="183859"/>
                  </a:cubicBezTo>
                  <a:cubicBezTo>
                    <a:pt x="142496" y="183859"/>
                    <a:pt x="184030" y="142363"/>
                    <a:pt x="184030" y="91929"/>
                  </a:cubicBezTo>
                  <a:cubicBezTo>
                    <a:pt x="184030" y="68947"/>
                    <a:pt x="175723" y="47880"/>
                    <a:pt x="161665" y="31920"/>
                  </a:cubicBezTo>
                  <a:lnTo>
                    <a:pt x="147607" y="45965"/>
                  </a:lnTo>
                  <a:cubicBezTo>
                    <a:pt x="157831" y="58733"/>
                    <a:pt x="164221" y="74693"/>
                    <a:pt x="164221" y="91929"/>
                  </a:cubicBezTo>
                  <a:close/>
                </a:path>
              </a:pathLst>
            </a:custGeom>
            <a:solidFill>
              <a:schemeClr val="bg1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 dirty="0"/>
            </a:p>
          </p:txBody>
        </p:sp>
        <p:sp>
          <p:nvSpPr>
            <p:cNvPr id="13" name="Graphic 4">
              <a:extLst>
                <a:ext uri="{FF2B5EF4-FFF2-40B4-BE49-F238E27FC236}">
                  <a16:creationId xmlns:a16="http://schemas.microsoft.com/office/drawing/2014/main" id="{ADF16974-3BAD-F0BB-67DB-A04FB52B8B2B}"/>
                </a:ext>
              </a:extLst>
            </p:cNvPr>
            <p:cNvSpPr/>
            <p:nvPr/>
          </p:nvSpPr>
          <p:spPr>
            <a:xfrm>
              <a:off x="947873" y="971429"/>
              <a:ext cx="1033861" cy="1032898"/>
            </a:xfrm>
            <a:custGeom>
              <a:avLst/>
              <a:gdLst>
                <a:gd name="connsiteX0" fmla="*/ 180835 w 361670"/>
                <a:gd name="connsiteY0" fmla="*/ 0 h 361333"/>
                <a:gd name="connsiteX1" fmla="*/ 0 w 361670"/>
                <a:gd name="connsiteY1" fmla="*/ 180667 h 361333"/>
                <a:gd name="connsiteX2" fmla="*/ 180835 w 361670"/>
                <a:gd name="connsiteY2" fmla="*/ 361334 h 361333"/>
                <a:gd name="connsiteX3" fmla="*/ 361670 w 361670"/>
                <a:gd name="connsiteY3" fmla="*/ 180667 h 361333"/>
                <a:gd name="connsiteX4" fmla="*/ 180835 w 361670"/>
                <a:gd name="connsiteY4" fmla="*/ 0 h 361333"/>
                <a:gd name="connsiteX5" fmla="*/ 283074 w 361670"/>
                <a:gd name="connsiteY5" fmla="*/ 109805 h 361333"/>
                <a:gd name="connsiteX6" fmla="*/ 261348 w 361670"/>
                <a:gd name="connsiteY6" fmla="*/ 109805 h 361333"/>
                <a:gd name="connsiteX7" fmla="*/ 254958 w 361670"/>
                <a:gd name="connsiteY7" fmla="*/ 116189 h 361333"/>
                <a:gd name="connsiteX8" fmla="*/ 281157 w 361670"/>
                <a:gd name="connsiteY8" fmla="*/ 185135 h 361333"/>
                <a:gd name="connsiteX9" fmla="*/ 246651 w 361670"/>
                <a:gd name="connsiteY9" fmla="*/ 262382 h 361333"/>
                <a:gd name="connsiteX10" fmla="*/ 263266 w 361670"/>
                <a:gd name="connsiteY10" fmla="*/ 278980 h 361333"/>
                <a:gd name="connsiteX11" fmla="*/ 263266 w 361670"/>
                <a:gd name="connsiteY11" fmla="*/ 287918 h 361333"/>
                <a:gd name="connsiteX12" fmla="*/ 258792 w 361670"/>
                <a:gd name="connsiteY12" fmla="*/ 289833 h 361333"/>
                <a:gd name="connsiteX13" fmla="*/ 254319 w 361670"/>
                <a:gd name="connsiteY13" fmla="*/ 287918 h 361333"/>
                <a:gd name="connsiteX14" fmla="*/ 237706 w 361670"/>
                <a:gd name="connsiteY14" fmla="*/ 271319 h 361333"/>
                <a:gd name="connsiteX15" fmla="*/ 237067 w 361670"/>
                <a:gd name="connsiteY15" fmla="*/ 270043 h 361333"/>
                <a:gd name="connsiteX16" fmla="*/ 177001 w 361670"/>
                <a:gd name="connsiteY16" fmla="*/ 289195 h 361333"/>
                <a:gd name="connsiteX17" fmla="*/ 116936 w 361670"/>
                <a:gd name="connsiteY17" fmla="*/ 270043 h 361333"/>
                <a:gd name="connsiteX18" fmla="*/ 116297 w 361670"/>
                <a:gd name="connsiteY18" fmla="*/ 271319 h 361333"/>
                <a:gd name="connsiteX19" fmla="*/ 99683 w 361670"/>
                <a:gd name="connsiteY19" fmla="*/ 287918 h 361333"/>
                <a:gd name="connsiteX20" fmla="*/ 95210 w 361670"/>
                <a:gd name="connsiteY20" fmla="*/ 289833 h 361333"/>
                <a:gd name="connsiteX21" fmla="*/ 90737 w 361670"/>
                <a:gd name="connsiteY21" fmla="*/ 287918 h 361333"/>
                <a:gd name="connsiteX22" fmla="*/ 90737 w 361670"/>
                <a:gd name="connsiteY22" fmla="*/ 278980 h 361333"/>
                <a:gd name="connsiteX23" fmla="*/ 106712 w 361670"/>
                <a:gd name="connsiteY23" fmla="*/ 263020 h 361333"/>
                <a:gd name="connsiteX24" fmla="*/ 72206 w 361670"/>
                <a:gd name="connsiteY24" fmla="*/ 185774 h 361333"/>
                <a:gd name="connsiteX25" fmla="*/ 177001 w 361670"/>
                <a:gd name="connsiteY25" fmla="*/ 81077 h 361333"/>
                <a:gd name="connsiteX26" fmla="*/ 246013 w 361670"/>
                <a:gd name="connsiteY26" fmla="*/ 107251 h 361333"/>
                <a:gd name="connsiteX27" fmla="*/ 252403 w 361670"/>
                <a:gd name="connsiteY27" fmla="*/ 100867 h 361333"/>
                <a:gd name="connsiteX28" fmla="*/ 252403 w 361670"/>
                <a:gd name="connsiteY28" fmla="*/ 79162 h 361333"/>
                <a:gd name="connsiteX29" fmla="*/ 258792 w 361670"/>
                <a:gd name="connsiteY29" fmla="*/ 72778 h 361333"/>
                <a:gd name="connsiteX30" fmla="*/ 265182 w 361670"/>
                <a:gd name="connsiteY30" fmla="*/ 79162 h 361333"/>
                <a:gd name="connsiteX31" fmla="*/ 265182 w 361670"/>
                <a:gd name="connsiteY31" fmla="*/ 97037 h 361333"/>
                <a:gd name="connsiteX32" fmla="*/ 283074 w 361670"/>
                <a:gd name="connsiteY32" fmla="*/ 97037 h 361333"/>
                <a:gd name="connsiteX33" fmla="*/ 289464 w 361670"/>
                <a:gd name="connsiteY33" fmla="*/ 103421 h 361333"/>
                <a:gd name="connsiteX34" fmla="*/ 283074 w 361670"/>
                <a:gd name="connsiteY34" fmla="*/ 109805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61670" h="361333"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895"/>
                    <a:pt x="81152" y="361334"/>
                    <a:pt x="180835" y="361334"/>
                  </a:cubicBezTo>
                  <a:cubicBezTo>
                    <a:pt x="280518" y="361334"/>
                    <a:pt x="361670" y="280257"/>
                    <a:pt x="361670" y="180667"/>
                  </a:cubicBezTo>
                  <a:cubicBezTo>
                    <a:pt x="361670" y="81077"/>
                    <a:pt x="280518" y="0"/>
                    <a:pt x="180835" y="0"/>
                  </a:cubicBezTo>
                  <a:close/>
                  <a:moveTo>
                    <a:pt x="283074" y="109805"/>
                  </a:moveTo>
                  <a:lnTo>
                    <a:pt x="261348" y="109805"/>
                  </a:lnTo>
                  <a:lnTo>
                    <a:pt x="254958" y="116189"/>
                  </a:lnTo>
                  <a:cubicBezTo>
                    <a:pt x="271572" y="134702"/>
                    <a:pt x="281157" y="158961"/>
                    <a:pt x="281157" y="185135"/>
                  </a:cubicBezTo>
                  <a:cubicBezTo>
                    <a:pt x="281157" y="215779"/>
                    <a:pt x="267738" y="243230"/>
                    <a:pt x="246651" y="262382"/>
                  </a:cubicBezTo>
                  <a:lnTo>
                    <a:pt x="263266" y="278980"/>
                  </a:lnTo>
                  <a:cubicBezTo>
                    <a:pt x="265821" y="281534"/>
                    <a:pt x="265821" y="285364"/>
                    <a:pt x="263266" y="287918"/>
                  </a:cubicBezTo>
                  <a:cubicBezTo>
                    <a:pt x="261987" y="289195"/>
                    <a:pt x="260071" y="289833"/>
                    <a:pt x="258792" y="289833"/>
                  </a:cubicBezTo>
                  <a:cubicBezTo>
                    <a:pt x="257514" y="289833"/>
                    <a:pt x="255597" y="289195"/>
                    <a:pt x="254319" y="287918"/>
                  </a:cubicBezTo>
                  <a:lnTo>
                    <a:pt x="237706" y="271319"/>
                  </a:lnTo>
                  <a:cubicBezTo>
                    <a:pt x="237706" y="271319"/>
                    <a:pt x="237067" y="270681"/>
                    <a:pt x="237067" y="270043"/>
                  </a:cubicBezTo>
                  <a:cubicBezTo>
                    <a:pt x="219814" y="282172"/>
                    <a:pt x="199366" y="289195"/>
                    <a:pt x="177001" y="289195"/>
                  </a:cubicBezTo>
                  <a:cubicBezTo>
                    <a:pt x="154637" y="289195"/>
                    <a:pt x="133549" y="282172"/>
                    <a:pt x="116936" y="270043"/>
                  </a:cubicBezTo>
                  <a:cubicBezTo>
                    <a:pt x="116936" y="270681"/>
                    <a:pt x="116297" y="270681"/>
                    <a:pt x="116297" y="271319"/>
                  </a:cubicBezTo>
                  <a:lnTo>
                    <a:pt x="99683" y="287918"/>
                  </a:lnTo>
                  <a:cubicBezTo>
                    <a:pt x="98405" y="289195"/>
                    <a:pt x="96488" y="289833"/>
                    <a:pt x="95210" y="289833"/>
                  </a:cubicBezTo>
                  <a:cubicBezTo>
                    <a:pt x="93932" y="289833"/>
                    <a:pt x="92015" y="289195"/>
                    <a:pt x="90737" y="287918"/>
                  </a:cubicBezTo>
                  <a:cubicBezTo>
                    <a:pt x="88181" y="285364"/>
                    <a:pt x="88181" y="281534"/>
                    <a:pt x="90737" y="278980"/>
                  </a:cubicBezTo>
                  <a:lnTo>
                    <a:pt x="106712" y="263020"/>
                  </a:lnTo>
                  <a:cubicBezTo>
                    <a:pt x="85625" y="243868"/>
                    <a:pt x="72206" y="216417"/>
                    <a:pt x="72206" y="185774"/>
                  </a:cubicBezTo>
                  <a:cubicBezTo>
                    <a:pt x="72206" y="128318"/>
                    <a:pt x="119492" y="81077"/>
                    <a:pt x="177001" y="81077"/>
                  </a:cubicBezTo>
                  <a:cubicBezTo>
                    <a:pt x="203839" y="81077"/>
                    <a:pt x="227482" y="91291"/>
                    <a:pt x="246013" y="107251"/>
                  </a:cubicBezTo>
                  <a:lnTo>
                    <a:pt x="252403" y="100867"/>
                  </a:lnTo>
                  <a:lnTo>
                    <a:pt x="252403" y="79162"/>
                  </a:lnTo>
                  <a:cubicBezTo>
                    <a:pt x="252403" y="75331"/>
                    <a:pt x="254958" y="72778"/>
                    <a:pt x="258792" y="72778"/>
                  </a:cubicBezTo>
                  <a:cubicBezTo>
                    <a:pt x="262626" y="72778"/>
                    <a:pt x="265182" y="75331"/>
                    <a:pt x="265182" y="79162"/>
                  </a:cubicBezTo>
                  <a:lnTo>
                    <a:pt x="265182" y="97037"/>
                  </a:lnTo>
                  <a:lnTo>
                    <a:pt x="283074" y="97037"/>
                  </a:lnTo>
                  <a:cubicBezTo>
                    <a:pt x="286908" y="97037"/>
                    <a:pt x="289464" y="99590"/>
                    <a:pt x="289464" y="103421"/>
                  </a:cubicBezTo>
                  <a:cubicBezTo>
                    <a:pt x="289464" y="107251"/>
                    <a:pt x="286908" y="109805"/>
                    <a:pt x="283074" y="109805"/>
                  </a:cubicBezTo>
                  <a:close/>
                </a:path>
              </a:pathLst>
            </a:custGeom>
            <a:solidFill>
              <a:schemeClr val="bg1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 dirty="0"/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6D410CA4-F20C-9CDE-EA1E-E57B878D1D6F}"/>
              </a:ext>
            </a:extLst>
          </p:cNvPr>
          <p:cNvGrpSpPr/>
          <p:nvPr/>
        </p:nvGrpSpPr>
        <p:grpSpPr>
          <a:xfrm>
            <a:off x="862077" y="3358482"/>
            <a:ext cx="10467845" cy="2228016"/>
            <a:chOff x="861718" y="3092907"/>
            <a:chExt cx="10467845" cy="2228016"/>
          </a:xfrm>
        </p:grpSpPr>
        <p:sp>
          <p:nvSpPr>
            <p:cNvPr id="37" name="フリーフォーム 16">
              <a:extLst>
                <a:ext uri="{FF2B5EF4-FFF2-40B4-BE49-F238E27FC236}">
                  <a16:creationId xmlns:a16="http://schemas.microsoft.com/office/drawing/2014/main" id="{87774C8B-E0A8-48D8-9793-AA762ACDF4CB}"/>
                </a:ext>
              </a:extLst>
            </p:cNvPr>
            <p:cNvSpPr/>
            <p:nvPr/>
          </p:nvSpPr>
          <p:spPr bwMode="gray">
            <a:xfrm>
              <a:off x="861718" y="3092907"/>
              <a:ext cx="10467845" cy="1206171"/>
            </a:xfrm>
            <a:custGeom>
              <a:avLst/>
              <a:gdLst>
                <a:gd name="connsiteX0" fmla="*/ 504000 w 8748000"/>
                <a:gd name="connsiteY0" fmla="*/ 0 h 1008000"/>
                <a:gd name="connsiteX1" fmla="*/ 519058 w 8748000"/>
                <a:gd name="connsiteY1" fmla="*/ 1518 h 1008000"/>
                <a:gd name="connsiteX2" fmla="*/ 519058 w 8748000"/>
                <a:gd name="connsiteY2" fmla="*/ 0 h 1008000"/>
                <a:gd name="connsiteX3" fmla="*/ 8251258 w 8748000"/>
                <a:gd name="connsiteY3" fmla="*/ 0 h 1008000"/>
                <a:gd name="connsiteX4" fmla="*/ 8745019 w 8748000"/>
                <a:gd name="connsiteY4" fmla="*/ 402426 h 1008000"/>
                <a:gd name="connsiteX5" fmla="*/ 8748000 w 8748000"/>
                <a:gd name="connsiteY5" fmla="*/ 432000 h 1008000"/>
                <a:gd name="connsiteX6" fmla="*/ 1000742 w 8748000"/>
                <a:gd name="connsiteY6" fmla="*/ 432000 h 1008000"/>
                <a:gd name="connsiteX7" fmla="*/ 1008000 w 8748000"/>
                <a:gd name="connsiteY7" fmla="*/ 504000 h 1008000"/>
                <a:gd name="connsiteX8" fmla="*/ 504000 w 8748000"/>
                <a:gd name="connsiteY8" fmla="*/ 1008000 h 1008000"/>
                <a:gd name="connsiteX9" fmla="*/ 0 w 8748000"/>
                <a:gd name="connsiteY9" fmla="*/ 504000 h 1008000"/>
                <a:gd name="connsiteX10" fmla="*/ 504000 w 8748000"/>
                <a:gd name="connsiteY10" fmla="*/ 0 h 100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748000" h="1008000">
                  <a:moveTo>
                    <a:pt x="504000" y="0"/>
                  </a:moveTo>
                  <a:lnTo>
                    <a:pt x="519058" y="1518"/>
                  </a:lnTo>
                  <a:lnTo>
                    <a:pt x="519058" y="0"/>
                  </a:lnTo>
                  <a:lnTo>
                    <a:pt x="8251258" y="0"/>
                  </a:lnTo>
                  <a:cubicBezTo>
                    <a:pt x="8494816" y="0"/>
                    <a:pt x="8698022" y="172762"/>
                    <a:pt x="8745019" y="402426"/>
                  </a:cubicBezTo>
                  <a:lnTo>
                    <a:pt x="8748000" y="432000"/>
                  </a:lnTo>
                  <a:lnTo>
                    <a:pt x="1000742" y="432000"/>
                  </a:lnTo>
                  <a:lnTo>
                    <a:pt x="1008000" y="504000"/>
                  </a:lnTo>
                  <a:cubicBezTo>
                    <a:pt x="1008000" y="782352"/>
                    <a:pt x="782352" y="1008000"/>
                    <a:pt x="504000" y="1008000"/>
                  </a:cubicBezTo>
                  <a:cubicBezTo>
                    <a:pt x="225648" y="1008000"/>
                    <a:pt x="0" y="782352"/>
                    <a:pt x="0" y="504000"/>
                  </a:cubicBezTo>
                  <a:cubicBezTo>
                    <a:pt x="0" y="225648"/>
                    <a:pt x="225648" y="0"/>
                    <a:pt x="504000" y="0"/>
                  </a:cubicBezTo>
                  <a:close/>
                </a:path>
              </a:pathLst>
            </a:custGeom>
            <a:solidFill>
              <a:schemeClr val="accent3"/>
            </a:solidFill>
            <a:ln w="1270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1008000" tIns="0" rIns="0" bIns="57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60000" indent="-360000">
                <a:defRPr/>
              </a:pPr>
              <a:r>
                <a:rPr kumimoji="1" lang="hu-HU" altLang="ja-JP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+mn-cs"/>
                </a:rPr>
                <a:t>       </a:t>
              </a:r>
              <a:r>
                <a:rPr lang="hu-HU" sz="1800" b="1">
                  <a:solidFill>
                    <a:schemeClr val="bg1"/>
                  </a:solidFill>
                </a:rPr>
                <a:t>A </a:t>
              </a:r>
              <a:r>
                <a:rPr lang="hu-HU" sz="1800" b="1" dirty="0">
                  <a:solidFill>
                    <a:schemeClr val="bg1"/>
                  </a:solidFill>
                </a:rPr>
                <a:t>tréning módszertana</a:t>
              </a:r>
              <a:r>
                <a:rPr lang="hu-HU" sz="1800" b="1">
                  <a:solidFill>
                    <a:schemeClr val="bg1"/>
                  </a:solidFill>
                </a:rPr>
                <a:t>, megközelítésünk</a:t>
              </a:r>
              <a:endParaRPr lang="hu-HU" sz="18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正方形/長方形 11">
              <a:extLst>
                <a:ext uri="{FF2B5EF4-FFF2-40B4-BE49-F238E27FC236}">
                  <a16:creationId xmlns:a16="http://schemas.microsoft.com/office/drawing/2014/main" id="{72C9A126-1C69-A1F2-407E-A70A79C5FD3F}"/>
                </a:ext>
              </a:extLst>
            </p:cNvPr>
            <p:cNvSpPr/>
            <p:nvPr/>
          </p:nvSpPr>
          <p:spPr bwMode="gray">
            <a:xfrm>
              <a:off x="2219632" y="4151372"/>
              <a:ext cx="2568676" cy="1169551"/>
            </a:xfrm>
            <a:prstGeom prst="rect">
              <a:avLst/>
            </a:prstGeom>
            <a:noFill/>
            <a:ln w="12700">
              <a:solidFill>
                <a:srgbClr val="BB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91440" rIns="91440" bIns="91440" rtlCol="0" anchor="ctr" anchorCtr="0">
              <a:spAutoFit/>
            </a:bodyPr>
            <a:lstStyle/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1" lang="hu-HU" altLang="ja-JP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Az egyes tematikákban bemutatásra kerülnek a fontosabb definíciók </a:t>
              </a:r>
              <a:r>
                <a:rPr kumimoji="1" lang="hu-HU" altLang="ja-JP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és </a:t>
              </a:r>
              <a:r>
                <a:rPr kumimoji="1" lang="hu-HU" altLang="ja-JP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szakmai alapok</a:t>
              </a:r>
              <a:endParaRPr kumimoji="1" lang="hu-HU" altLang="ja-JP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6" name="正方形/長方形 14">
              <a:extLst>
                <a:ext uri="{FF2B5EF4-FFF2-40B4-BE49-F238E27FC236}">
                  <a16:creationId xmlns:a16="http://schemas.microsoft.com/office/drawing/2014/main" id="{1EBEE06A-DD8B-4313-1CF5-5D045D2F4086}"/>
                </a:ext>
              </a:extLst>
            </p:cNvPr>
            <p:cNvSpPr/>
            <p:nvPr/>
          </p:nvSpPr>
          <p:spPr bwMode="gray">
            <a:xfrm>
              <a:off x="2219634" y="3804591"/>
              <a:ext cx="2568676" cy="408336"/>
            </a:xfrm>
            <a:prstGeom prst="rect">
              <a:avLst/>
            </a:prstGeom>
            <a:solidFill>
              <a:schemeClr val="accent3"/>
            </a:solidFill>
            <a:ln w="12700" algn="ctr">
              <a:solidFill>
                <a:srgbClr val="86BC25"/>
              </a:solidFill>
              <a:miter lim="800000"/>
              <a:headEnd/>
              <a:tailEnd/>
            </a:ln>
          </p:spPr>
          <p:txBody>
            <a:bodyPr wrap="square"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1" lang="hu-HU" altLang="ja-JP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1. Szakmai </a:t>
              </a:r>
              <a:r>
                <a:rPr kumimoji="1" lang="hu-HU" altLang="ja-JP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alapok átadása</a:t>
              </a:r>
              <a:endParaRPr kumimoji="1" lang="hu-HU" altLang="ja-JP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8" name="Arrow: Right 17">
              <a:extLst>
                <a:ext uri="{FF2B5EF4-FFF2-40B4-BE49-F238E27FC236}">
                  <a16:creationId xmlns:a16="http://schemas.microsoft.com/office/drawing/2014/main" id="{FC7EA3B4-93D7-135A-CA96-C8E6B1F8EB52}"/>
                </a:ext>
              </a:extLst>
            </p:cNvPr>
            <p:cNvSpPr/>
            <p:nvPr/>
          </p:nvSpPr>
          <p:spPr bwMode="gray">
            <a:xfrm>
              <a:off x="4884093" y="4424138"/>
              <a:ext cx="342376" cy="522279"/>
            </a:xfrm>
            <a:prstGeom prst="rightArrow">
              <a:avLst/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hu-HU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9" name="正方形/長方形 11">
              <a:extLst>
                <a:ext uri="{FF2B5EF4-FFF2-40B4-BE49-F238E27FC236}">
                  <a16:creationId xmlns:a16="http://schemas.microsoft.com/office/drawing/2014/main" id="{C78FC4DD-0442-81B6-E75A-026D61885EC1}"/>
                </a:ext>
              </a:extLst>
            </p:cNvPr>
            <p:cNvSpPr/>
            <p:nvPr/>
          </p:nvSpPr>
          <p:spPr bwMode="gray">
            <a:xfrm>
              <a:off x="5322265" y="4145912"/>
              <a:ext cx="2906133" cy="1169551"/>
            </a:xfrm>
            <a:prstGeom prst="rect">
              <a:avLst/>
            </a:prstGeom>
            <a:noFill/>
            <a:ln w="12700">
              <a:solidFill>
                <a:srgbClr val="BB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91440" rIns="91440" bIns="91440" rtlCol="0" anchor="ctr" anchorCtr="0">
              <a:spAutoFit/>
            </a:bodyPr>
            <a:lstStyle/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1" lang="hu-HU" altLang="ja-JP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Gyakorlati előfordulási helyeket és példákat kaptok mindehhez, előnyök</a:t>
              </a:r>
              <a:r>
                <a:rPr kumimoji="1" lang="hu-HU" altLang="ja-JP" sz="1600">
                  <a:solidFill>
                    <a:prstClr val="black"/>
                  </a:solidFill>
                </a:rPr>
                <a:t>kel és </a:t>
              </a:r>
              <a:r>
                <a:rPr kumimoji="1" lang="hu-HU" altLang="ja-JP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hátrányok</a:t>
              </a:r>
              <a:r>
                <a:rPr kumimoji="1" lang="hu-HU" altLang="ja-JP" sz="1600">
                  <a:solidFill>
                    <a:prstClr val="black"/>
                  </a:solidFill>
                </a:rPr>
                <a:t>kal </a:t>
              </a:r>
              <a:r>
                <a:rPr kumimoji="1" lang="hu-HU" altLang="ja-JP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bemutatva</a:t>
              </a:r>
              <a:endParaRPr kumimoji="1" lang="hu-HU" altLang="ja-JP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0" name="正方形/長方形 14">
              <a:extLst>
                <a:ext uri="{FF2B5EF4-FFF2-40B4-BE49-F238E27FC236}">
                  <a16:creationId xmlns:a16="http://schemas.microsoft.com/office/drawing/2014/main" id="{4C69E2C5-ABD2-ED67-11EB-4E42DF4C9AD5}"/>
                </a:ext>
              </a:extLst>
            </p:cNvPr>
            <p:cNvSpPr/>
            <p:nvPr/>
          </p:nvSpPr>
          <p:spPr bwMode="gray">
            <a:xfrm>
              <a:off x="5322268" y="3799131"/>
              <a:ext cx="2906133" cy="408336"/>
            </a:xfrm>
            <a:prstGeom prst="rect">
              <a:avLst/>
            </a:prstGeom>
            <a:solidFill>
              <a:schemeClr val="accent3"/>
            </a:solidFill>
            <a:ln w="12700" algn="ctr">
              <a:solidFill>
                <a:srgbClr val="86BC25"/>
              </a:solidFill>
              <a:miter lim="800000"/>
              <a:headEnd/>
              <a:tailEnd/>
            </a:ln>
          </p:spPr>
          <p:txBody>
            <a:bodyPr wrap="square"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1" lang="hu-HU" altLang="ja-JP" sz="1600" b="1" dirty="0">
                  <a:solidFill>
                    <a:prstClr val="white"/>
                  </a:solidFill>
                </a:rPr>
                <a:t>2</a:t>
              </a:r>
              <a:r>
                <a:rPr kumimoji="1" lang="hu-HU" altLang="ja-JP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. Gyakorlati példák</a:t>
              </a:r>
              <a:r>
                <a:rPr kumimoji="1" lang="hu-HU" altLang="ja-JP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, kontextus</a:t>
              </a:r>
              <a:endParaRPr kumimoji="1" lang="hu-HU" altLang="ja-JP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" name="正方形/長方形 11">
              <a:extLst>
                <a:ext uri="{FF2B5EF4-FFF2-40B4-BE49-F238E27FC236}">
                  <a16:creationId xmlns:a16="http://schemas.microsoft.com/office/drawing/2014/main" id="{7F52A456-6869-2503-8A96-00C4FB338290}"/>
                </a:ext>
              </a:extLst>
            </p:cNvPr>
            <p:cNvSpPr/>
            <p:nvPr/>
          </p:nvSpPr>
          <p:spPr bwMode="gray">
            <a:xfrm>
              <a:off x="8762367" y="4145912"/>
              <a:ext cx="2567196" cy="1169551"/>
            </a:xfrm>
            <a:prstGeom prst="rect">
              <a:avLst/>
            </a:prstGeom>
            <a:noFill/>
            <a:ln w="12700">
              <a:solidFill>
                <a:srgbClr val="BB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91440" rIns="91440" bIns="91440" rtlCol="0" anchor="ctr" anchorCtr="0">
              <a:spAutoFit/>
            </a:bodyPr>
            <a:lstStyle/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1" lang="hu-HU" altLang="ja-JP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Tanultak, elhangzottak számonkérése egy </a:t>
              </a:r>
              <a:r>
                <a:rPr kumimoji="1" lang="hu-HU" altLang="ja-JP" sz="16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hihetetlenül</a:t>
              </a:r>
              <a:r>
                <a:rPr kumimoji="1" lang="hu-HU" altLang="ja-JP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 kemény </a:t>
              </a:r>
              <a:r>
                <a:rPr kumimoji="1" lang="hu-HU" altLang="ja-JP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vizsga keretében</a:t>
              </a:r>
              <a:endParaRPr kumimoji="1" lang="hu-HU" altLang="ja-JP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2" name="正方形/長方形 14">
              <a:extLst>
                <a:ext uri="{FF2B5EF4-FFF2-40B4-BE49-F238E27FC236}">
                  <a16:creationId xmlns:a16="http://schemas.microsoft.com/office/drawing/2014/main" id="{7D50D7E8-89C6-D121-0589-3EA7606F0114}"/>
                </a:ext>
              </a:extLst>
            </p:cNvPr>
            <p:cNvSpPr/>
            <p:nvPr/>
          </p:nvSpPr>
          <p:spPr bwMode="gray">
            <a:xfrm>
              <a:off x="8762367" y="3799131"/>
              <a:ext cx="2567196" cy="408336"/>
            </a:xfrm>
            <a:prstGeom prst="rect">
              <a:avLst/>
            </a:prstGeom>
            <a:solidFill>
              <a:schemeClr val="accent3"/>
            </a:solidFill>
            <a:ln w="12700" algn="ctr">
              <a:solidFill>
                <a:srgbClr val="86BC25"/>
              </a:solidFill>
              <a:miter lim="800000"/>
              <a:headEnd/>
              <a:tailEnd/>
            </a:ln>
          </p:spPr>
          <p:txBody>
            <a:bodyPr wrap="square"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1" lang="hu-HU" altLang="ja-JP" sz="1600" b="1" dirty="0">
                  <a:solidFill>
                    <a:prstClr val="white"/>
                  </a:solidFill>
                </a:rPr>
                <a:t>3.</a:t>
              </a:r>
              <a:r>
                <a:rPr kumimoji="1" lang="hu-HU" altLang="ja-JP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1" lang="hu-HU" altLang="ja-JP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Tudás visszamérése</a:t>
              </a:r>
              <a:endParaRPr kumimoji="1" lang="hu-HU" altLang="ja-JP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43" name="Graphic 4">
            <a:extLst>
              <a:ext uri="{FF2B5EF4-FFF2-40B4-BE49-F238E27FC236}">
                <a16:creationId xmlns:a16="http://schemas.microsoft.com/office/drawing/2014/main" id="{B292692B-8426-B784-7DB3-CB7ED2B308CC}"/>
              </a:ext>
            </a:extLst>
          </p:cNvPr>
          <p:cNvGrpSpPr>
            <a:grpSpLocks noChangeAspect="1"/>
          </p:cNvGrpSpPr>
          <p:nvPr/>
        </p:nvGrpSpPr>
        <p:grpSpPr>
          <a:xfrm>
            <a:off x="935086" y="3439605"/>
            <a:ext cx="1033861" cy="1032885"/>
            <a:chOff x="1952125" y="3339623"/>
            <a:chExt cx="362313" cy="361971"/>
          </a:xfrm>
          <a:solidFill>
            <a:schemeClr val="bg1"/>
          </a:solidFill>
        </p:grpSpPr>
        <p:sp>
          <p:nvSpPr>
            <p:cNvPr id="44" name="Graphic 4">
              <a:extLst>
                <a:ext uri="{FF2B5EF4-FFF2-40B4-BE49-F238E27FC236}">
                  <a16:creationId xmlns:a16="http://schemas.microsoft.com/office/drawing/2014/main" id="{F399FD42-4EED-0605-5D6A-70889ACF11A8}"/>
                </a:ext>
              </a:extLst>
            </p:cNvPr>
            <p:cNvSpPr/>
            <p:nvPr/>
          </p:nvSpPr>
          <p:spPr>
            <a:xfrm>
              <a:off x="2106026" y="3455149"/>
              <a:ext cx="56327" cy="68971"/>
            </a:xfrm>
            <a:custGeom>
              <a:avLst/>
              <a:gdLst>
                <a:gd name="connsiteX0" fmla="*/ 16710 w 56327"/>
                <a:gd name="connsiteY0" fmla="*/ 68971 h 68971"/>
                <a:gd name="connsiteX1" fmla="*/ 39075 w 56327"/>
                <a:gd name="connsiteY1" fmla="*/ 68971 h 68971"/>
                <a:gd name="connsiteX2" fmla="*/ 49299 w 56327"/>
                <a:gd name="connsiteY2" fmla="*/ 45989 h 68971"/>
                <a:gd name="connsiteX3" fmla="*/ 56328 w 56327"/>
                <a:gd name="connsiteY3" fmla="*/ 26837 h 68971"/>
                <a:gd name="connsiteX4" fmla="*/ 26934 w 56327"/>
                <a:gd name="connsiteY4" fmla="*/ 24 h 68971"/>
                <a:gd name="connsiteX5" fmla="*/ 97 w 56327"/>
                <a:gd name="connsiteY5" fmla="*/ 26837 h 68971"/>
                <a:gd name="connsiteX6" fmla="*/ 7125 w 56327"/>
                <a:gd name="connsiteY6" fmla="*/ 45989 h 68971"/>
                <a:gd name="connsiteX7" fmla="*/ 16710 w 56327"/>
                <a:gd name="connsiteY7" fmla="*/ 68971 h 68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327" h="68971">
                  <a:moveTo>
                    <a:pt x="16710" y="68971"/>
                  </a:moveTo>
                  <a:lnTo>
                    <a:pt x="39075" y="68971"/>
                  </a:lnTo>
                  <a:cubicBezTo>
                    <a:pt x="39714" y="60672"/>
                    <a:pt x="43548" y="52373"/>
                    <a:pt x="49299" y="45989"/>
                  </a:cubicBezTo>
                  <a:cubicBezTo>
                    <a:pt x="53772" y="40882"/>
                    <a:pt x="56328" y="33859"/>
                    <a:pt x="56328" y="26837"/>
                  </a:cubicBezTo>
                  <a:cubicBezTo>
                    <a:pt x="55689" y="11516"/>
                    <a:pt x="42270" y="-614"/>
                    <a:pt x="26934" y="24"/>
                  </a:cubicBezTo>
                  <a:cubicBezTo>
                    <a:pt x="12237" y="663"/>
                    <a:pt x="736" y="12154"/>
                    <a:pt x="97" y="26837"/>
                  </a:cubicBezTo>
                  <a:cubicBezTo>
                    <a:pt x="-543" y="33859"/>
                    <a:pt x="2013" y="40882"/>
                    <a:pt x="7125" y="45989"/>
                  </a:cubicBezTo>
                  <a:cubicBezTo>
                    <a:pt x="12237" y="52373"/>
                    <a:pt x="16071" y="60672"/>
                    <a:pt x="16710" y="6897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 dirty="0"/>
            </a:p>
          </p:txBody>
        </p:sp>
        <p:sp>
          <p:nvSpPr>
            <p:cNvPr id="45" name="Graphic 4">
              <a:extLst>
                <a:ext uri="{FF2B5EF4-FFF2-40B4-BE49-F238E27FC236}">
                  <a16:creationId xmlns:a16="http://schemas.microsoft.com/office/drawing/2014/main" id="{884680EE-DE10-A342-6B62-06806415B74D}"/>
                </a:ext>
              </a:extLst>
            </p:cNvPr>
            <p:cNvSpPr/>
            <p:nvPr/>
          </p:nvSpPr>
          <p:spPr>
            <a:xfrm>
              <a:off x="1952125" y="3339623"/>
              <a:ext cx="362313" cy="361971"/>
            </a:xfrm>
            <a:custGeom>
              <a:avLst/>
              <a:gdLst>
                <a:gd name="connsiteX0" fmla="*/ 181474 w 362313"/>
                <a:gd name="connsiteY0" fmla="*/ 0 h 361971"/>
                <a:gd name="connsiteX1" fmla="*/ 0 w 362313"/>
                <a:gd name="connsiteY1" fmla="*/ 180667 h 361971"/>
                <a:gd name="connsiteX2" fmla="*/ 180835 w 362313"/>
                <a:gd name="connsiteY2" fmla="*/ 361972 h 361971"/>
                <a:gd name="connsiteX3" fmla="*/ 362310 w 362313"/>
                <a:gd name="connsiteY3" fmla="*/ 181305 h 361971"/>
                <a:gd name="connsiteX4" fmla="*/ 362310 w 362313"/>
                <a:gd name="connsiteY4" fmla="*/ 181305 h 361971"/>
                <a:gd name="connsiteX5" fmla="*/ 181474 w 362313"/>
                <a:gd name="connsiteY5" fmla="*/ 0 h 361971"/>
                <a:gd name="connsiteX6" fmla="*/ 224926 w 362313"/>
                <a:gd name="connsiteY6" fmla="*/ 101505 h 361971"/>
                <a:gd name="connsiteX7" fmla="*/ 237706 w 362313"/>
                <a:gd name="connsiteY7" fmla="*/ 93206 h 361971"/>
                <a:gd name="connsiteX8" fmla="*/ 246652 w 362313"/>
                <a:gd name="connsiteY8" fmla="*/ 95121 h 361971"/>
                <a:gd name="connsiteX9" fmla="*/ 244735 w 362313"/>
                <a:gd name="connsiteY9" fmla="*/ 104059 h 361971"/>
                <a:gd name="connsiteX10" fmla="*/ 231955 w 362313"/>
                <a:gd name="connsiteY10" fmla="*/ 112358 h 361971"/>
                <a:gd name="connsiteX11" fmla="*/ 223009 w 362313"/>
                <a:gd name="connsiteY11" fmla="*/ 110443 h 361971"/>
                <a:gd name="connsiteX12" fmla="*/ 224926 w 362313"/>
                <a:gd name="connsiteY12" fmla="*/ 101505 h 361971"/>
                <a:gd name="connsiteX13" fmla="*/ 175084 w 362313"/>
                <a:gd name="connsiteY13" fmla="*/ 66394 h 361971"/>
                <a:gd name="connsiteX14" fmla="*/ 181474 w 362313"/>
                <a:gd name="connsiteY14" fmla="*/ 60010 h 361971"/>
                <a:gd name="connsiteX15" fmla="*/ 187864 w 362313"/>
                <a:gd name="connsiteY15" fmla="*/ 66394 h 361971"/>
                <a:gd name="connsiteX16" fmla="*/ 187864 w 362313"/>
                <a:gd name="connsiteY16" fmla="*/ 80438 h 361971"/>
                <a:gd name="connsiteX17" fmla="*/ 181474 w 362313"/>
                <a:gd name="connsiteY17" fmla="*/ 86822 h 361971"/>
                <a:gd name="connsiteX18" fmla="*/ 175084 w 362313"/>
                <a:gd name="connsiteY18" fmla="*/ 80438 h 361971"/>
                <a:gd name="connsiteX19" fmla="*/ 175084 w 362313"/>
                <a:gd name="connsiteY19" fmla="*/ 66394 h 361971"/>
                <a:gd name="connsiteX20" fmla="*/ 181474 w 362313"/>
                <a:gd name="connsiteY20" fmla="*/ 102144 h 361971"/>
                <a:gd name="connsiteX21" fmla="*/ 222370 w 362313"/>
                <a:gd name="connsiteY21" fmla="*/ 141086 h 361971"/>
                <a:gd name="connsiteX22" fmla="*/ 222370 w 362313"/>
                <a:gd name="connsiteY22" fmla="*/ 141724 h 361971"/>
                <a:gd name="connsiteX23" fmla="*/ 212785 w 362313"/>
                <a:gd name="connsiteY23" fmla="*/ 168537 h 361971"/>
                <a:gd name="connsiteX24" fmla="*/ 205117 w 362313"/>
                <a:gd name="connsiteY24" fmla="*/ 190243 h 361971"/>
                <a:gd name="connsiteX25" fmla="*/ 198727 w 362313"/>
                <a:gd name="connsiteY25" fmla="*/ 196627 h 361971"/>
                <a:gd name="connsiteX26" fmla="*/ 164221 w 362313"/>
                <a:gd name="connsiteY26" fmla="*/ 196627 h 361971"/>
                <a:gd name="connsiteX27" fmla="*/ 157832 w 362313"/>
                <a:gd name="connsiteY27" fmla="*/ 190243 h 361971"/>
                <a:gd name="connsiteX28" fmla="*/ 150164 w 362313"/>
                <a:gd name="connsiteY28" fmla="*/ 168537 h 361971"/>
                <a:gd name="connsiteX29" fmla="*/ 140579 w 362313"/>
                <a:gd name="connsiteY29" fmla="*/ 141724 h 361971"/>
                <a:gd name="connsiteX30" fmla="*/ 180835 w 362313"/>
                <a:gd name="connsiteY30" fmla="*/ 102144 h 361971"/>
                <a:gd name="connsiteX31" fmla="*/ 181474 w 362313"/>
                <a:gd name="connsiteY31" fmla="*/ 102144 h 361971"/>
                <a:gd name="connsiteX32" fmla="*/ 181474 w 362313"/>
                <a:gd name="connsiteY32" fmla="*/ 102144 h 361971"/>
                <a:gd name="connsiteX33" fmla="*/ 204478 w 362313"/>
                <a:gd name="connsiteY33" fmla="*/ 209395 h 361971"/>
                <a:gd name="connsiteX34" fmla="*/ 198088 w 362313"/>
                <a:gd name="connsiteY34" fmla="*/ 215779 h 361971"/>
                <a:gd name="connsiteX35" fmla="*/ 165499 w 362313"/>
                <a:gd name="connsiteY35" fmla="*/ 215779 h 361971"/>
                <a:gd name="connsiteX36" fmla="*/ 159109 w 362313"/>
                <a:gd name="connsiteY36" fmla="*/ 209395 h 361971"/>
                <a:gd name="connsiteX37" fmla="*/ 165499 w 362313"/>
                <a:gd name="connsiteY37" fmla="*/ 203011 h 361971"/>
                <a:gd name="connsiteX38" fmla="*/ 198088 w 362313"/>
                <a:gd name="connsiteY38" fmla="*/ 203011 h 361971"/>
                <a:gd name="connsiteX39" fmla="*/ 204478 w 362313"/>
                <a:gd name="connsiteY39" fmla="*/ 209395 h 361971"/>
                <a:gd name="connsiteX40" fmla="*/ 116936 w 362313"/>
                <a:gd name="connsiteY40" fmla="*/ 95121 h 361971"/>
                <a:gd name="connsiteX41" fmla="*/ 125882 w 362313"/>
                <a:gd name="connsiteY41" fmla="*/ 93206 h 361971"/>
                <a:gd name="connsiteX42" fmla="*/ 138662 w 362313"/>
                <a:gd name="connsiteY42" fmla="*/ 101505 h 361971"/>
                <a:gd name="connsiteX43" fmla="*/ 140579 w 362313"/>
                <a:gd name="connsiteY43" fmla="*/ 110443 h 361971"/>
                <a:gd name="connsiteX44" fmla="*/ 135467 w 362313"/>
                <a:gd name="connsiteY44" fmla="*/ 113635 h 361971"/>
                <a:gd name="connsiteX45" fmla="*/ 131633 w 362313"/>
                <a:gd name="connsiteY45" fmla="*/ 112358 h 361971"/>
                <a:gd name="connsiteX46" fmla="*/ 118853 w 362313"/>
                <a:gd name="connsiteY46" fmla="*/ 104059 h 361971"/>
                <a:gd name="connsiteX47" fmla="*/ 116936 w 362313"/>
                <a:gd name="connsiteY47" fmla="*/ 95121 h 361971"/>
                <a:gd name="connsiteX48" fmla="*/ 116936 w 362313"/>
                <a:gd name="connsiteY48" fmla="*/ 95121 h 361971"/>
                <a:gd name="connsiteX49" fmla="*/ 104156 w 362313"/>
                <a:gd name="connsiteY49" fmla="*/ 157684 h 361971"/>
                <a:gd name="connsiteX50" fmla="*/ 110546 w 362313"/>
                <a:gd name="connsiteY50" fmla="*/ 151300 h 361971"/>
                <a:gd name="connsiteX51" fmla="*/ 125882 w 362313"/>
                <a:gd name="connsiteY51" fmla="*/ 151300 h 361971"/>
                <a:gd name="connsiteX52" fmla="*/ 132272 w 362313"/>
                <a:gd name="connsiteY52" fmla="*/ 157684 h 361971"/>
                <a:gd name="connsiteX53" fmla="*/ 125882 w 362313"/>
                <a:gd name="connsiteY53" fmla="*/ 164068 h 361971"/>
                <a:gd name="connsiteX54" fmla="*/ 110546 w 362313"/>
                <a:gd name="connsiteY54" fmla="*/ 164068 h 361971"/>
                <a:gd name="connsiteX55" fmla="*/ 104156 w 362313"/>
                <a:gd name="connsiteY55" fmla="*/ 157684 h 361971"/>
                <a:gd name="connsiteX56" fmla="*/ 104156 w 362313"/>
                <a:gd name="connsiteY56" fmla="*/ 157684 h 361971"/>
                <a:gd name="connsiteX57" fmla="*/ 256876 w 362313"/>
                <a:gd name="connsiteY57" fmla="*/ 295578 h 361971"/>
                <a:gd name="connsiteX58" fmla="*/ 250486 w 362313"/>
                <a:gd name="connsiteY58" fmla="*/ 301962 h 361971"/>
                <a:gd name="connsiteX59" fmla="*/ 244096 w 362313"/>
                <a:gd name="connsiteY59" fmla="*/ 295578 h 361971"/>
                <a:gd name="connsiteX60" fmla="*/ 244096 w 362313"/>
                <a:gd name="connsiteY60" fmla="*/ 284087 h 361971"/>
                <a:gd name="connsiteX61" fmla="*/ 200644 w 362313"/>
                <a:gd name="connsiteY61" fmla="*/ 236846 h 361971"/>
                <a:gd name="connsiteX62" fmla="*/ 162304 w 362313"/>
                <a:gd name="connsiteY62" fmla="*/ 236846 h 361971"/>
                <a:gd name="connsiteX63" fmla="*/ 118853 w 362313"/>
                <a:gd name="connsiteY63" fmla="*/ 284087 h 361971"/>
                <a:gd name="connsiteX64" fmla="*/ 118853 w 362313"/>
                <a:gd name="connsiteY64" fmla="*/ 295578 h 361971"/>
                <a:gd name="connsiteX65" fmla="*/ 112463 w 362313"/>
                <a:gd name="connsiteY65" fmla="*/ 301962 h 361971"/>
                <a:gd name="connsiteX66" fmla="*/ 106073 w 362313"/>
                <a:gd name="connsiteY66" fmla="*/ 295578 h 361971"/>
                <a:gd name="connsiteX67" fmla="*/ 106073 w 362313"/>
                <a:gd name="connsiteY67" fmla="*/ 284087 h 361971"/>
                <a:gd name="connsiteX68" fmla="*/ 162304 w 362313"/>
                <a:gd name="connsiteY68" fmla="*/ 224078 h 361971"/>
                <a:gd name="connsiteX69" fmla="*/ 200644 w 362313"/>
                <a:gd name="connsiteY69" fmla="*/ 224078 h 361971"/>
                <a:gd name="connsiteX70" fmla="*/ 256876 w 362313"/>
                <a:gd name="connsiteY70" fmla="*/ 284087 h 361971"/>
                <a:gd name="connsiteX71" fmla="*/ 256876 w 362313"/>
                <a:gd name="connsiteY71" fmla="*/ 295578 h 361971"/>
                <a:gd name="connsiteX72" fmla="*/ 253042 w 362313"/>
                <a:gd name="connsiteY72" fmla="*/ 164068 h 361971"/>
                <a:gd name="connsiteX73" fmla="*/ 237706 w 362313"/>
                <a:gd name="connsiteY73" fmla="*/ 164068 h 361971"/>
                <a:gd name="connsiteX74" fmla="*/ 231316 w 362313"/>
                <a:gd name="connsiteY74" fmla="*/ 157684 h 361971"/>
                <a:gd name="connsiteX75" fmla="*/ 237706 w 362313"/>
                <a:gd name="connsiteY75" fmla="*/ 151300 h 361971"/>
                <a:gd name="connsiteX76" fmla="*/ 253042 w 362313"/>
                <a:gd name="connsiteY76" fmla="*/ 151300 h 361971"/>
                <a:gd name="connsiteX77" fmla="*/ 259431 w 362313"/>
                <a:gd name="connsiteY77" fmla="*/ 157684 h 361971"/>
                <a:gd name="connsiteX78" fmla="*/ 253042 w 362313"/>
                <a:gd name="connsiteY78" fmla="*/ 164068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362313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1157" y="361972"/>
                    <a:pt x="362310" y="280895"/>
                    <a:pt x="362310" y="181305"/>
                  </a:cubicBezTo>
                  <a:cubicBezTo>
                    <a:pt x="362310" y="181305"/>
                    <a:pt x="362310" y="181305"/>
                    <a:pt x="362310" y="181305"/>
                  </a:cubicBezTo>
                  <a:cubicBezTo>
                    <a:pt x="362948" y="81077"/>
                    <a:pt x="281796" y="0"/>
                    <a:pt x="181474" y="0"/>
                  </a:cubicBezTo>
                  <a:close/>
                  <a:moveTo>
                    <a:pt x="224926" y="101505"/>
                  </a:moveTo>
                  <a:lnTo>
                    <a:pt x="237706" y="93206"/>
                  </a:lnTo>
                  <a:cubicBezTo>
                    <a:pt x="240901" y="91291"/>
                    <a:pt x="244735" y="91930"/>
                    <a:pt x="246652" y="95121"/>
                  </a:cubicBezTo>
                  <a:cubicBezTo>
                    <a:pt x="248569" y="98313"/>
                    <a:pt x="247929" y="102144"/>
                    <a:pt x="244735" y="104059"/>
                  </a:cubicBezTo>
                  <a:lnTo>
                    <a:pt x="231955" y="112358"/>
                  </a:lnTo>
                  <a:cubicBezTo>
                    <a:pt x="228760" y="114273"/>
                    <a:pt x="224926" y="113635"/>
                    <a:pt x="223009" y="110443"/>
                  </a:cubicBezTo>
                  <a:cubicBezTo>
                    <a:pt x="221092" y="107889"/>
                    <a:pt x="221731" y="103421"/>
                    <a:pt x="224926" y="101505"/>
                  </a:cubicBezTo>
                  <a:close/>
                  <a:moveTo>
                    <a:pt x="175084" y="66394"/>
                  </a:moveTo>
                  <a:cubicBezTo>
                    <a:pt x="175084" y="62563"/>
                    <a:pt x="177640" y="60010"/>
                    <a:pt x="181474" y="60010"/>
                  </a:cubicBezTo>
                  <a:cubicBezTo>
                    <a:pt x="185308" y="60010"/>
                    <a:pt x="187864" y="62563"/>
                    <a:pt x="187864" y="66394"/>
                  </a:cubicBezTo>
                  <a:lnTo>
                    <a:pt x="187864" y="80438"/>
                  </a:lnTo>
                  <a:cubicBezTo>
                    <a:pt x="187864" y="84269"/>
                    <a:pt x="185308" y="86822"/>
                    <a:pt x="181474" y="86822"/>
                  </a:cubicBezTo>
                  <a:cubicBezTo>
                    <a:pt x="177640" y="86822"/>
                    <a:pt x="175084" y="84269"/>
                    <a:pt x="175084" y="80438"/>
                  </a:cubicBezTo>
                  <a:lnTo>
                    <a:pt x="175084" y="66394"/>
                  </a:lnTo>
                  <a:close/>
                  <a:moveTo>
                    <a:pt x="181474" y="102144"/>
                  </a:moveTo>
                  <a:cubicBezTo>
                    <a:pt x="203839" y="101505"/>
                    <a:pt x="221731" y="119381"/>
                    <a:pt x="222370" y="141086"/>
                  </a:cubicBezTo>
                  <a:cubicBezTo>
                    <a:pt x="222370" y="141086"/>
                    <a:pt x="222370" y="141724"/>
                    <a:pt x="222370" y="141724"/>
                  </a:cubicBezTo>
                  <a:cubicBezTo>
                    <a:pt x="223009" y="151939"/>
                    <a:pt x="219175" y="161515"/>
                    <a:pt x="212785" y="168537"/>
                  </a:cubicBezTo>
                  <a:cubicBezTo>
                    <a:pt x="207673" y="174283"/>
                    <a:pt x="204478" y="182582"/>
                    <a:pt x="205117" y="190243"/>
                  </a:cubicBezTo>
                  <a:cubicBezTo>
                    <a:pt x="205117" y="194073"/>
                    <a:pt x="202561" y="196627"/>
                    <a:pt x="198727" y="196627"/>
                  </a:cubicBezTo>
                  <a:lnTo>
                    <a:pt x="164221" y="196627"/>
                  </a:lnTo>
                  <a:cubicBezTo>
                    <a:pt x="160387" y="196627"/>
                    <a:pt x="157832" y="194073"/>
                    <a:pt x="157832" y="190243"/>
                  </a:cubicBezTo>
                  <a:cubicBezTo>
                    <a:pt x="158470" y="181944"/>
                    <a:pt x="155275" y="174283"/>
                    <a:pt x="150164" y="168537"/>
                  </a:cubicBezTo>
                  <a:cubicBezTo>
                    <a:pt x="143774" y="160876"/>
                    <a:pt x="139940" y="151300"/>
                    <a:pt x="140579" y="141724"/>
                  </a:cubicBezTo>
                  <a:cubicBezTo>
                    <a:pt x="140579" y="119381"/>
                    <a:pt x="158470" y="101505"/>
                    <a:pt x="180835" y="102144"/>
                  </a:cubicBezTo>
                  <a:cubicBezTo>
                    <a:pt x="181474" y="102144"/>
                    <a:pt x="181474" y="102144"/>
                    <a:pt x="181474" y="102144"/>
                  </a:cubicBezTo>
                  <a:lnTo>
                    <a:pt x="181474" y="102144"/>
                  </a:lnTo>
                  <a:close/>
                  <a:moveTo>
                    <a:pt x="204478" y="209395"/>
                  </a:moveTo>
                  <a:cubicBezTo>
                    <a:pt x="204478" y="213225"/>
                    <a:pt x="201922" y="215779"/>
                    <a:pt x="198088" y="215779"/>
                  </a:cubicBezTo>
                  <a:lnTo>
                    <a:pt x="165499" y="215779"/>
                  </a:lnTo>
                  <a:cubicBezTo>
                    <a:pt x="161665" y="215779"/>
                    <a:pt x="159109" y="213225"/>
                    <a:pt x="159109" y="209395"/>
                  </a:cubicBezTo>
                  <a:cubicBezTo>
                    <a:pt x="159109" y="205564"/>
                    <a:pt x="161665" y="203011"/>
                    <a:pt x="165499" y="203011"/>
                  </a:cubicBezTo>
                  <a:lnTo>
                    <a:pt x="198088" y="203011"/>
                  </a:lnTo>
                  <a:cubicBezTo>
                    <a:pt x="201283" y="203011"/>
                    <a:pt x="204478" y="205564"/>
                    <a:pt x="204478" y="209395"/>
                  </a:cubicBezTo>
                  <a:close/>
                  <a:moveTo>
                    <a:pt x="116936" y="95121"/>
                  </a:moveTo>
                  <a:cubicBezTo>
                    <a:pt x="118853" y="91930"/>
                    <a:pt x="122687" y="91291"/>
                    <a:pt x="125882" y="93206"/>
                  </a:cubicBezTo>
                  <a:lnTo>
                    <a:pt x="138662" y="101505"/>
                  </a:lnTo>
                  <a:cubicBezTo>
                    <a:pt x="141857" y="103421"/>
                    <a:pt x="142496" y="107251"/>
                    <a:pt x="140579" y="110443"/>
                  </a:cubicBezTo>
                  <a:cubicBezTo>
                    <a:pt x="139301" y="112358"/>
                    <a:pt x="137384" y="113635"/>
                    <a:pt x="135467" y="113635"/>
                  </a:cubicBezTo>
                  <a:cubicBezTo>
                    <a:pt x="134189" y="113635"/>
                    <a:pt x="132911" y="112997"/>
                    <a:pt x="131633" y="112358"/>
                  </a:cubicBezTo>
                  <a:lnTo>
                    <a:pt x="118853" y="104059"/>
                  </a:lnTo>
                  <a:cubicBezTo>
                    <a:pt x="115658" y="102144"/>
                    <a:pt x="115019" y="97675"/>
                    <a:pt x="116936" y="95121"/>
                  </a:cubicBezTo>
                  <a:cubicBezTo>
                    <a:pt x="116936" y="95121"/>
                    <a:pt x="116936" y="95121"/>
                    <a:pt x="116936" y="95121"/>
                  </a:cubicBezTo>
                  <a:close/>
                  <a:moveTo>
                    <a:pt x="104156" y="157684"/>
                  </a:moveTo>
                  <a:cubicBezTo>
                    <a:pt x="104156" y="153854"/>
                    <a:pt x="106712" y="151300"/>
                    <a:pt x="110546" y="151300"/>
                  </a:cubicBezTo>
                  <a:lnTo>
                    <a:pt x="125882" y="151300"/>
                  </a:lnTo>
                  <a:cubicBezTo>
                    <a:pt x="129716" y="151300"/>
                    <a:pt x="132272" y="153854"/>
                    <a:pt x="132272" y="157684"/>
                  </a:cubicBezTo>
                  <a:cubicBezTo>
                    <a:pt x="132272" y="161515"/>
                    <a:pt x="129716" y="164068"/>
                    <a:pt x="125882" y="164068"/>
                  </a:cubicBezTo>
                  <a:lnTo>
                    <a:pt x="110546" y="164068"/>
                  </a:lnTo>
                  <a:cubicBezTo>
                    <a:pt x="106712" y="164068"/>
                    <a:pt x="104156" y="160876"/>
                    <a:pt x="104156" y="157684"/>
                  </a:cubicBezTo>
                  <a:lnTo>
                    <a:pt x="104156" y="157684"/>
                  </a:lnTo>
                  <a:close/>
                  <a:moveTo>
                    <a:pt x="256876" y="295578"/>
                  </a:moveTo>
                  <a:cubicBezTo>
                    <a:pt x="256876" y="299409"/>
                    <a:pt x="254319" y="301962"/>
                    <a:pt x="250486" y="301962"/>
                  </a:cubicBezTo>
                  <a:cubicBezTo>
                    <a:pt x="246652" y="301962"/>
                    <a:pt x="244096" y="299409"/>
                    <a:pt x="244096" y="295578"/>
                  </a:cubicBezTo>
                  <a:lnTo>
                    <a:pt x="244096" y="284087"/>
                  </a:lnTo>
                  <a:cubicBezTo>
                    <a:pt x="244096" y="257913"/>
                    <a:pt x="224287" y="236846"/>
                    <a:pt x="200644" y="236846"/>
                  </a:cubicBezTo>
                  <a:lnTo>
                    <a:pt x="162304" y="236846"/>
                  </a:lnTo>
                  <a:cubicBezTo>
                    <a:pt x="138023" y="236846"/>
                    <a:pt x="118853" y="257913"/>
                    <a:pt x="118853" y="284087"/>
                  </a:cubicBezTo>
                  <a:lnTo>
                    <a:pt x="118853" y="295578"/>
                  </a:lnTo>
                  <a:cubicBezTo>
                    <a:pt x="118853" y="299409"/>
                    <a:pt x="116297" y="301962"/>
                    <a:pt x="112463" y="301962"/>
                  </a:cubicBezTo>
                  <a:cubicBezTo>
                    <a:pt x="108629" y="301962"/>
                    <a:pt x="106073" y="299409"/>
                    <a:pt x="106073" y="295578"/>
                  </a:cubicBezTo>
                  <a:lnTo>
                    <a:pt x="106073" y="284087"/>
                  </a:lnTo>
                  <a:cubicBezTo>
                    <a:pt x="106073" y="250890"/>
                    <a:pt x="131633" y="224078"/>
                    <a:pt x="162304" y="224078"/>
                  </a:cubicBezTo>
                  <a:lnTo>
                    <a:pt x="200644" y="224078"/>
                  </a:lnTo>
                  <a:cubicBezTo>
                    <a:pt x="231955" y="224078"/>
                    <a:pt x="256876" y="250890"/>
                    <a:pt x="256876" y="284087"/>
                  </a:cubicBezTo>
                  <a:lnTo>
                    <a:pt x="256876" y="295578"/>
                  </a:lnTo>
                  <a:close/>
                  <a:moveTo>
                    <a:pt x="253042" y="164068"/>
                  </a:moveTo>
                  <a:lnTo>
                    <a:pt x="237706" y="164068"/>
                  </a:lnTo>
                  <a:cubicBezTo>
                    <a:pt x="233872" y="164068"/>
                    <a:pt x="231316" y="161515"/>
                    <a:pt x="231316" y="157684"/>
                  </a:cubicBezTo>
                  <a:cubicBezTo>
                    <a:pt x="231316" y="153854"/>
                    <a:pt x="233872" y="151300"/>
                    <a:pt x="237706" y="151300"/>
                  </a:cubicBezTo>
                  <a:lnTo>
                    <a:pt x="253042" y="151300"/>
                  </a:lnTo>
                  <a:cubicBezTo>
                    <a:pt x="256876" y="151300"/>
                    <a:pt x="259431" y="153854"/>
                    <a:pt x="259431" y="157684"/>
                  </a:cubicBezTo>
                  <a:cubicBezTo>
                    <a:pt x="259431" y="161515"/>
                    <a:pt x="256237" y="164068"/>
                    <a:pt x="253042" y="16406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 dirty="0"/>
            </a:p>
          </p:txBody>
        </p:sp>
      </p:grpSp>
      <p:sp>
        <p:nvSpPr>
          <p:cNvPr id="47" name="Title 46">
            <a:extLst>
              <a:ext uri="{FF2B5EF4-FFF2-40B4-BE49-F238E27FC236}">
                <a16:creationId xmlns:a16="http://schemas.microsoft.com/office/drawing/2014/main" id="{61F69DF8-41EF-73F9-1FDF-25FF00ECD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hu-HU"/>
              <a:t>Előszó</a:t>
            </a:r>
            <a:endParaRPr lang="hu-HU" dirty="0"/>
          </a:p>
        </p:txBody>
      </p:sp>
      <p:sp>
        <p:nvSpPr>
          <p:cNvPr id="48" name="Arrow: Right 47">
            <a:extLst>
              <a:ext uri="{FF2B5EF4-FFF2-40B4-BE49-F238E27FC236}">
                <a16:creationId xmlns:a16="http://schemas.microsoft.com/office/drawing/2014/main" id="{9558041E-348B-6E79-533E-6416E1AC0157}"/>
              </a:ext>
            </a:extLst>
          </p:cNvPr>
          <p:cNvSpPr/>
          <p:nvPr/>
        </p:nvSpPr>
        <p:spPr bwMode="gray">
          <a:xfrm>
            <a:off x="8324553" y="4689419"/>
            <a:ext cx="342376" cy="522279"/>
          </a:xfrm>
          <a:prstGeom prst="rightArrow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u-HU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8956707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AD2270-E335-4B25-9479-9641996328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4072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AD2270-E335-4B25-9479-964199632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DC5B7055-0668-3D7C-79C4-87AD8C84C049}"/>
              </a:ext>
            </a:extLst>
          </p:cNvPr>
          <p:cNvSpPr/>
          <p:nvPr/>
        </p:nvSpPr>
        <p:spPr bwMode="gray">
          <a:xfrm>
            <a:off x="3267871" y="4062510"/>
            <a:ext cx="8626473" cy="2259898"/>
          </a:xfrm>
          <a:prstGeom prst="rect">
            <a:avLst/>
          </a:prstGeom>
          <a:solidFill>
            <a:srgbClr val="E3E48D">
              <a:alpha val="2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b" anchorCtr="0"/>
          <a:lstStyle/>
          <a:p>
            <a:pPr algn="r" defTabSz="685800"/>
            <a:endParaRPr lang="en-US" sz="1350" b="1" dirty="0">
              <a:solidFill>
                <a:srgbClr val="E3E48D"/>
              </a:solidFill>
              <a:latin typeface="+mj-lt"/>
            </a:endParaRPr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CF5878-E500-4DEF-AB4F-0DA9187B5E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 pitchFamily="50" charset="0"/>
              <a:ea typeface="+mn-ea"/>
              <a:cs typeface="+mn-cs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22F353-239C-4F9C-9C2B-0006F1686A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hu-HU" dirty="0">
                <a:latin typeface="+mj-lt"/>
              </a:rPr>
              <a:t>Rendszerintegráció a technológiában III.</a:t>
            </a:r>
            <a:endParaRPr lang="en-US" dirty="0">
              <a:latin typeface="+mj-l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AFCFF20-3F88-1FE7-8A2B-FF3C36F47624}"/>
              </a:ext>
            </a:extLst>
          </p:cNvPr>
          <p:cNvGrpSpPr/>
          <p:nvPr/>
        </p:nvGrpSpPr>
        <p:grpSpPr>
          <a:xfrm>
            <a:off x="492919" y="985701"/>
            <a:ext cx="6460328" cy="4301522"/>
            <a:chOff x="4726384" y="745283"/>
            <a:chExt cx="6460328" cy="4301522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E12F43A9-4511-FD22-DAD2-1DD2577F3480}"/>
                </a:ext>
              </a:extLst>
            </p:cNvPr>
            <p:cNvGrpSpPr/>
            <p:nvPr/>
          </p:nvGrpSpPr>
          <p:grpSpPr>
            <a:xfrm>
              <a:off x="4726384" y="745283"/>
              <a:ext cx="6460328" cy="4301522"/>
              <a:chOff x="4964087" y="1786267"/>
              <a:chExt cx="5339114" cy="3554977"/>
            </a:xfrm>
          </p:grpSpPr>
          <p:sp>
            <p:nvSpPr>
              <p:cNvPr id="35" name="Text Placeholder 5">
                <a:extLst>
                  <a:ext uri="{FF2B5EF4-FFF2-40B4-BE49-F238E27FC236}">
                    <a16:creationId xmlns:a16="http://schemas.microsoft.com/office/drawing/2014/main" id="{0A20EFE3-F661-67F2-55F2-A088F4831BFA}"/>
                  </a:ext>
                </a:extLst>
              </p:cNvPr>
              <p:cNvSpPr txBox="1">
                <a:spLocks/>
              </p:cNvSpPr>
              <p:nvPr/>
            </p:nvSpPr>
            <p:spPr>
              <a:xfrm flipH="1">
                <a:off x="6686547" y="1786267"/>
                <a:ext cx="3616654" cy="3554977"/>
              </a:xfrm>
              <a:prstGeom prst="homePlate">
                <a:avLst>
                  <a:gd name="adj" fmla="val 8173"/>
                </a:avLst>
              </a:prstGeom>
              <a:solidFill>
                <a:srgbClr val="DDEFE8"/>
              </a:solidFill>
              <a:ln w="12700">
                <a:noFill/>
              </a:ln>
            </p:spPr>
            <p:txBody>
              <a:bodyPr wrap="square" lIns="640080" tIns="88900" rIns="88900" bIns="88900"/>
              <a:lstStyle>
                <a:lvl1pPr marL="0" indent="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4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00" indent="-179388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90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hu-HU" sz="1600" b="1" dirty="0">
                    <a:solidFill>
                      <a:prstClr val="black"/>
                    </a:solidFill>
                    <a:latin typeface="+mj-lt"/>
                    <a:ea typeface="Open Sans" panose="020B0606030504020204" pitchFamily="34" charset="0"/>
                    <a:cs typeface="Open Sans" panose="020B0606030504020204" pitchFamily="34" charset="0"/>
                  </a:rPr>
                  <a:t>Legszűkebben vett SI: </a:t>
                </a:r>
                <a:r>
                  <a:rPr lang="hu-HU" sz="1600" dirty="0">
                    <a:solidFill>
                      <a:prstClr val="black"/>
                    </a:solidFill>
                    <a:latin typeface="+mj-lt"/>
                    <a:ea typeface="Open Sans" panose="020B0606030504020204" pitchFamily="34" charset="0"/>
                    <a:cs typeface="Open Sans" panose="020B0606030504020204" pitchFamily="34" charset="0"/>
                  </a:rPr>
                  <a:t>architektúra átépítés, integrációs eszközök bevezetése</a:t>
                </a:r>
                <a:endParaRPr lang="en-US" sz="1600" dirty="0">
                  <a:solidFill>
                    <a:prstClr val="black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  <a:p>
                <a:pPr defTabSz="685800">
                  <a:spcAft>
                    <a:spcPts val="0"/>
                  </a:spcAft>
                  <a:buSzTx/>
                </a:pPr>
                <a:endParaRPr lang="hu-HU" sz="1600" dirty="0">
                  <a:solidFill>
                    <a:prstClr val="black"/>
                  </a:solidFill>
                  <a:latin typeface="+mj-lt"/>
                </a:endParaRPr>
              </a:p>
              <a:p>
                <a:pPr marL="285750" indent="-285750" defTabSz="685800">
                  <a:spcAft>
                    <a:spcPts val="0"/>
                  </a:spcAft>
                  <a:buSzTx/>
                  <a:buFont typeface="Arial" panose="020B0604020202020204" pitchFamily="34" charset="0"/>
                  <a:buChar char="•"/>
                </a:pPr>
                <a:r>
                  <a:rPr lang="hu-HU" b="1" dirty="0">
                    <a:solidFill>
                      <a:prstClr val="black"/>
                    </a:solidFill>
                    <a:latin typeface="+mj-lt"/>
                  </a:rPr>
                  <a:t>Hol? </a:t>
                </a:r>
                <a:r>
                  <a:rPr lang="hu-HU" dirty="0">
                    <a:solidFill>
                      <a:prstClr val="black"/>
                    </a:solidFill>
                    <a:latin typeface="+mj-lt"/>
                  </a:rPr>
                  <a:t>Mi történik, ha az üzlet vagy a tanácsadó berúgja az ajtót, és olyat mond, ami miatt elkerülhetetlenné válik a takarítás és átszervezés? („A legtöbb nagy progresszió félreértésből ered.” TT XXI. sz.)</a:t>
                </a:r>
              </a:p>
              <a:p>
                <a:pPr marL="285750" indent="-285750" defTabSz="685800">
                  <a:spcAft>
                    <a:spcPts val="0"/>
                  </a:spcAft>
                  <a:buSzTx/>
                  <a:buFont typeface="Arial" panose="020B0604020202020204" pitchFamily="34" charset="0"/>
                  <a:buChar char="•"/>
                </a:pPr>
                <a:endParaRPr lang="hu-HU" dirty="0">
                  <a:solidFill>
                    <a:prstClr val="black"/>
                  </a:solidFill>
                  <a:latin typeface="+mj-lt"/>
                </a:endParaRPr>
              </a:p>
              <a:p>
                <a:pPr marL="285750" indent="-285750" defTabSz="685800">
                  <a:spcAft>
                    <a:spcPts val="0"/>
                  </a:spcAft>
                  <a:buSzTx/>
                  <a:buFont typeface="Arial" panose="020B0604020202020204" pitchFamily="34" charset="0"/>
                  <a:buChar char="•"/>
                </a:pPr>
                <a:r>
                  <a:rPr lang="hu-HU" b="1" dirty="0">
                    <a:solidFill>
                      <a:prstClr val="black"/>
                    </a:solidFill>
                    <a:latin typeface="+mj-lt"/>
                  </a:rPr>
                  <a:t>Kivel? </a:t>
                </a:r>
                <a:r>
                  <a:rPr lang="hu-HU" dirty="0">
                    <a:solidFill>
                      <a:prstClr val="black"/>
                    </a:solidFill>
                    <a:latin typeface="+mj-lt"/>
                  </a:rPr>
                  <a:t>Ráadásul jutányos tanácsadót is találunk, aki látott már ilyen rendrakást, tudja, hogy kell ezt – kérem – csinálni.</a:t>
                </a:r>
              </a:p>
              <a:p>
                <a:pPr marL="285750" indent="-285750" defTabSz="685800">
                  <a:spcAft>
                    <a:spcPts val="0"/>
                  </a:spcAft>
                  <a:buSzTx/>
                  <a:buFont typeface="Arial" panose="020B0604020202020204" pitchFamily="34" charset="0"/>
                  <a:buChar char="•"/>
                </a:pPr>
                <a:endParaRPr lang="hu-HU" dirty="0">
                  <a:solidFill>
                    <a:prstClr val="black"/>
                  </a:solidFill>
                  <a:latin typeface="+mj-lt"/>
                </a:endParaRPr>
              </a:p>
              <a:p>
                <a:pPr marL="285750" indent="-285750" defTabSz="685800">
                  <a:spcAft>
                    <a:spcPts val="0"/>
                  </a:spcAft>
                  <a:buSzTx/>
                  <a:buFont typeface="Arial" panose="020B0604020202020204" pitchFamily="34" charset="0"/>
                  <a:buChar char="•"/>
                </a:pPr>
                <a:r>
                  <a:rPr lang="hu-HU" b="1" dirty="0">
                    <a:solidFill>
                      <a:prstClr val="black"/>
                    </a:solidFill>
                    <a:latin typeface="+mj-lt"/>
                  </a:rPr>
                  <a:t>Mivel? </a:t>
                </a:r>
                <a:r>
                  <a:rPr lang="hu-HU" dirty="0">
                    <a:solidFill>
                      <a:prstClr val="black"/>
                    </a:solidFill>
                    <a:latin typeface="+mj-lt"/>
                  </a:rPr>
                  <a:t>Csakhamar kiderül, hogy nincs mivel elvégezni a feladatot. Na, ilyenkor kell integrációs eszközt bevezetni, és áthegeszteni a jó öreg struktúrát.</a:t>
                </a:r>
              </a:p>
              <a:p>
                <a:pPr marL="285750" indent="-285750" defTabSz="685800">
                  <a:spcAft>
                    <a:spcPts val="0"/>
                  </a:spcAft>
                  <a:buSzTx/>
                  <a:buFont typeface="Arial" panose="020B0604020202020204" pitchFamily="34" charset="0"/>
                  <a:buChar char="•"/>
                </a:pPr>
                <a:endParaRPr lang="hu-HU" dirty="0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0BA7D69A-2607-DC0F-EE9E-FB74B78A5A5F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4964087" y="2430541"/>
                <a:ext cx="2263829" cy="2266427"/>
              </a:xfrm>
              <a:prstGeom prst="ellipse">
                <a:avLst/>
              </a:prstGeom>
              <a:solidFill>
                <a:schemeClr val="accent3"/>
              </a:solidFill>
              <a:ln w="6350" algn="ctr">
                <a:noFill/>
                <a:round/>
                <a:headEnd/>
                <a:tailEnd/>
              </a:ln>
            </p:spPr>
            <p:txBody>
              <a:bodyPr lIns="88900" tIns="88900" rIns="88900" bIns="88900" anchor="ctr"/>
              <a:lstStyle/>
              <a:p>
                <a:pPr algn="ctr">
                  <a:defRPr/>
                </a:pPr>
                <a:r>
                  <a:rPr lang="hu-HU" b="1" kern="0" dirty="0">
                    <a:solidFill>
                      <a:prstClr val="white"/>
                    </a:solidFill>
                    <a:latin typeface="+mj-lt"/>
                    <a:ea typeface="ＭＳ Ｐゴシック" pitchFamily="50" charset="-128"/>
                  </a:rPr>
                  <a:t>SYSTEM INTEGRATION</a:t>
                </a:r>
              </a:p>
              <a:p>
                <a:pPr algn="ctr">
                  <a:defRPr/>
                </a:pPr>
                <a:endParaRPr lang="hu-HU" sz="1600" b="1" kern="0" dirty="0">
                  <a:solidFill>
                    <a:prstClr val="white"/>
                  </a:solidFill>
                  <a:latin typeface="+mj-lt"/>
                  <a:ea typeface="ＭＳ Ｐゴシック" pitchFamily="50" charset="-128"/>
                </a:endParaRPr>
              </a:p>
              <a:p>
                <a:pPr algn="ctr">
                  <a:defRPr/>
                </a:pPr>
                <a:endParaRPr lang="hu-HU" sz="1600" b="1" kern="0" dirty="0">
                  <a:solidFill>
                    <a:prstClr val="white"/>
                  </a:solidFill>
                  <a:latin typeface="+mj-lt"/>
                  <a:ea typeface="ＭＳ Ｐゴシック" pitchFamily="50" charset="-128"/>
                </a:endParaRPr>
              </a:p>
              <a:p>
                <a:pPr algn="ctr">
                  <a:defRPr/>
                </a:pPr>
                <a:endParaRPr lang="hu-HU" sz="1600" b="1" kern="0" dirty="0">
                  <a:solidFill>
                    <a:prstClr val="white"/>
                  </a:solidFill>
                  <a:latin typeface="+mj-lt"/>
                  <a:ea typeface="ＭＳ Ｐゴシック" pitchFamily="50" charset="-128"/>
                </a:endParaRPr>
              </a:p>
            </p:txBody>
          </p:sp>
        </p:grpSp>
        <p:grpSp>
          <p:nvGrpSpPr>
            <p:cNvPr id="45" name="Graphic 4">
              <a:extLst>
                <a:ext uri="{FF2B5EF4-FFF2-40B4-BE49-F238E27FC236}">
                  <a16:creationId xmlns:a16="http://schemas.microsoft.com/office/drawing/2014/main" id="{42F921DC-4300-8C25-C8D1-595F13BE6F8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762648" y="3095959"/>
              <a:ext cx="666703" cy="666081"/>
              <a:chOff x="905454" y="2855717"/>
              <a:chExt cx="362309" cy="361971"/>
            </a:xfrm>
            <a:solidFill>
              <a:schemeClr val="bg1"/>
            </a:solidFill>
          </p:grpSpPr>
          <p:sp>
            <p:nvSpPr>
              <p:cNvPr id="46" name="Graphic 4">
                <a:extLst>
                  <a:ext uri="{FF2B5EF4-FFF2-40B4-BE49-F238E27FC236}">
                    <a16:creationId xmlns:a16="http://schemas.microsoft.com/office/drawing/2014/main" id="{04E791AF-9014-EBB1-8117-79DBA9A211B0}"/>
                  </a:ext>
                </a:extLst>
              </p:cNvPr>
              <p:cNvSpPr/>
              <p:nvPr/>
            </p:nvSpPr>
            <p:spPr>
              <a:xfrm>
                <a:off x="969992" y="3029362"/>
                <a:ext cx="14057" cy="14044"/>
              </a:xfrm>
              <a:custGeom>
                <a:avLst/>
                <a:gdLst>
                  <a:gd name="connsiteX0" fmla="*/ 7029 w 14057"/>
                  <a:gd name="connsiteY0" fmla="*/ 0 h 14044"/>
                  <a:gd name="connsiteX1" fmla="*/ 0 w 14057"/>
                  <a:gd name="connsiteY1" fmla="*/ 7022 h 14044"/>
                  <a:gd name="connsiteX2" fmla="*/ 7029 w 14057"/>
                  <a:gd name="connsiteY2" fmla="*/ 14045 h 14044"/>
                  <a:gd name="connsiteX3" fmla="*/ 14058 w 14057"/>
                  <a:gd name="connsiteY3" fmla="*/ 7022 h 14044"/>
                  <a:gd name="connsiteX4" fmla="*/ 7029 w 14057"/>
                  <a:gd name="connsiteY4" fmla="*/ 0 h 14044"/>
                  <a:gd name="connsiteX5" fmla="*/ 7029 w 14057"/>
                  <a:gd name="connsiteY5" fmla="*/ 0 h 14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057" h="14044">
                    <a:moveTo>
                      <a:pt x="7029" y="0"/>
                    </a:moveTo>
                    <a:cubicBezTo>
                      <a:pt x="3195" y="0"/>
                      <a:pt x="0" y="3192"/>
                      <a:pt x="0" y="7022"/>
                    </a:cubicBezTo>
                    <a:cubicBezTo>
                      <a:pt x="0" y="10853"/>
                      <a:pt x="3195" y="14045"/>
                      <a:pt x="7029" y="14045"/>
                    </a:cubicBezTo>
                    <a:cubicBezTo>
                      <a:pt x="10863" y="14045"/>
                      <a:pt x="14058" y="10853"/>
                      <a:pt x="14058" y="7022"/>
                    </a:cubicBezTo>
                    <a:cubicBezTo>
                      <a:pt x="14058" y="3192"/>
                      <a:pt x="11502" y="0"/>
                      <a:pt x="7029" y="0"/>
                    </a:cubicBezTo>
                    <a:lnTo>
                      <a:pt x="7029" y="0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47" name="Graphic 4">
                <a:extLst>
                  <a:ext uri="{FF2B5EF4-FFF2-40B4-BE49-F238E27FC236}">
                    <a16:creationId xmlns:a16="http://schemas.microsoft.com/office/drawing/2014/main" id="{423E0D0F-736A-E24B-DC82-E44D2E7374FE}"/>
                  </a:ext>
                </a:extLst>
              </p:cNvPr>
              <p:cNvSpPr/>
              <p:nvPr/>
            </p:nvSpPr>
            <p:spPr>
              <a:xfrm>
                <a:off x="1078621" y="3138528"/>
                <a:ext cx="14696" cy="14683"/>
              </a:xfrm>
              <a:custGeom>
                <a:avLst/>
                <a:gdLst>
                  <a:gd name="connsiteX0" fmla="*/ 7668 w 14696"/>
                  <a:gd name="connsiteY0" fmla="*/ 0 h 14683"/>
                  <a:gd name="connsiteX1" fmla="*/ 0 w 14696"/>
                  <a:gd name="connsiteY1" fmla="*/ 7022 h 14683"/>
                  <a:gd name="connsiteX2" fmla="*/ 7029 w 14696"/>
                  <a:gd name="connsiteY2" fmla="*/ 14683 h 14683"/>
                  <a:gd name="connsiteX3" fmla="*/ 14697 w 14696"/>
                  <a:gd name="connsiteY3" fmla="*/ 7661 h 14683"/>
                  <a:gd name="connsiteX4" fmla="*/ 14697 w 14696"/>
                  <a:gd name="connsiteY4" fmla="*/ 7661 h 14683"/>
                  <a:gd name="connsiteX5" fmla="*/ 7668 w 14696"/>
                  <a:gd name="connsiteY5" fmla="*/ 0 h 14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696" h="14683">
                    <a:moveTo>
                      <a:pt x="7668" y="0"/>
                    </a:moveTo>
                    <a:cubicBezTo>
                      <a:pt x="3834" y="0"/>
                      <a:pt x="0" y="3192"/>
                      <a:pt x="0" y="7022"/>
                    </a:cubicBezTo>
                    <a:cubicBezTo>
                      <a:pt x="0" y="10853"/>
                      <a:pt x="3195" y="14683"/>
                      <a:pt x="7029" y="14683"/>
                    </a:cubicBezTo>
                    <a:cubicBezTo>
                      <a:pt x="10863" y="14683"/>
                      <a:pt x="14697" y="11491"/>
                      <a:pt x="14697" y="7661"/>
                    </a:cubicBezTo>
                    <a:cubicBezTo>
                      <a:pt x="14697" y="7661"/>
                      <a:pt x="14697" y="7661"/>
                      <a:pt x="14697" y="7661"/>
                    </a:cubicBezTo>
                    <a:cubicBezTo>
                      <a:pt x="14697" y="3192"/>
                      <a:pt x="11502" y="0"/>
                      <a:pt x="7668" y="0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48" name="Graphic 4">
                <a:extLst>
                  <a:ext uri="{FF2B5EF4-FFF2-40B4-BE49-F238E27FC236}">
                    <a16:creationId xmlns:a16="http://schemas.microsoft.com/office/drawing/2014/main" id="{B85FC350-EE95-C46E-B393-4E2F8899DD09}"/>
                  </a:ext>
                </a:extLst>
              </p:cNvPr>
              <p:cNvSpPr/>
              <p:nvPr/>
            </p:nvSpPr>
            <p:spPr>
              <a:xfrm>
                <a:off x="1074787" y="3051706"/>
                <a:ext cx="24281" cy="28089"/>
              </a:xfrm>
              <a:custGeom>
                <a:avLst/>
                <a:gdLst>
                  <a:gd name="connsiteX0" fmla="*/ 21726 w 24281"/>
                  <a:gd name="connsiteY0" fmla="*/ 13406 h 28089"/>
                  <a:gd name="connsiteX1" fmla="*/ 21726 w 24281"/>
                  <a:gd name="connsiteY1" fmla="*/ 0 h 28089"/>
                  <a:gd name="connsiteX2" fmla="*/ 2556 w 24281"/>
                  <a:gd name="connsiteY2" fmla="*/ 0 h 28089"/>
                  <a:gd name="connsiteX3" fmla="*/ 2556 w 24281"/>
                  <a:gd name="connsiteY3" fmla="*/ 13406 h 28089"/>
                  <a:gd name="connsiteX4" fmla="*/ 0 w 24281"/>
                  <a:gd name="connsiteY4" fmla="*/ 18514 h 28089"/>
                  <a:gd name="connsiteX5" fmla="*/ 12141 w 24281"/>
                  <a:gd name="connsiteY5" fmla="*/ 28089 h 28089"/>
                  <a:gd name="connsiteX6" fmla="*/ 24282 w 24281"/>
                  <a:gd name="connsiteY6" fmla="*/ 18514 h 28089"/>
                  <a:gd name="connsiteX7" fmla="*/ 21726 w 24281"/>
                  <a:gd name="connsiteY7" fmla="*/ 13406 h 28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281" h="28089">
                    <a:moveTo>
                      <a:pt x="21726" y="13406"/>
                    </a:moveTo>
                    <a:lnTo>
                      <a:pt x="21726" y="0"/>
                    </a:lnTo>
                    <a:lnTo>
                      <a:pt x="2556" y="0"/>
                    </a:lnTo>
                    <a:lnTo>
                      <a:pt x="2556" y="13406"/>
                    </a:lnTo>
                    <a:cubicBezTo>
                      <a:pt x="2556" y="15322"/>
                      <a:pt x="1278" y="17237"/>
                      <a:pt x="0" y="18514"/>
                    </a:cubicBezTo>
                    <a:lnTo>
                      <a:pt x="12141" y="28089"/>
                    </a:lnTo>
                    <a:lnTo>
                      <a:pt x="24282" y="18514"/>
                    </a:lnTo>
                    <a:cubicBezTo>
                      <a:pt x="22365" y="17875"/>
                      <a:pt x="21087" y="15322"/>
                      <a:pt x="21726" y="13406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49" name="Graphic 4">
                <a:extLst>
                  <a:ext uri="{FF2B5EF4-FFF2-40B4-BE49-F238E27FC236}">
                    <a16:creationId xmlns:a16="http://schemas.microsoft.com/office/drawing/2014/main" id="{3F8A9DB4-2E91-52ED-F4B3-DC26D7459FAB}"/>
                  </a:ext>
                </a:extLst>
              </p:cNvPr>
              <p:cNvSpPr/>
              <p:nvPr/>
            </p:nvSpPr>
            <p:spPr>
              <a:xfrm>
                <a:off x="1156099" y="3106608"/>
                <a:ext cx="15016" cy="14523"/>
              </a:xfrm>
              <a:custGeom>
                <a:avLst/>
                <a:gdLst>
                  <a:gd name="connsiteX0" fmla="*/ 2396 w 15016"/>
                  <a:gd name="connsiteY0" fmla="*/ 1915 h 14523"/>
                  <a:gd name="connsiteX1" fmla="*/ 2396 w 15016"/>
                  <a:gd name="connsiteY1" fmla="*/ 1915 h 14523"/>
                  <a:gd name="connsiteX2" fmla="*/ 2396 w 15016"/>
                  <a:gd name="connsiteY2" fmla="*/ 12130 h 14523"/>
                  <a:gd name="connsiteX3" fmla="*/ 12620 w 15016"/>
                  <a:gd name="connsiteY3" fmla="*/ 12130 h 14523"/>
                  <a:gd name="connsiteX4" fmla="*/ 12620 w 15016"/>
                  <a:gd name="connsiteY4" fmla="*/ 1915 h 14523"/>
                  <a:gd name="connsiteX5" fmla="*/ 12620 w 15016"/>
                  <a:gd name="connsiteY5" fmla="*/ 1915 h 14523"/>
                  <a:gd name="connsiteX6" fmla="*/ 2396 w 15016"/>
                  <a:gd name="connsiteY6" fmla="*/ 1915 h 14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016" h="14523">
                    <a:moveTo>
                      <a:pt x="2396" y="1915"/>
                    </a:moveTo>
                    <a:lnTo>
                      <a:pt x="2396" y="1915"/>
                    </a:lnTo>
                    <a:cubicBezTo>
                      <a:pt x="-799" y="4469"/>
                      <a:pt x="-799" y="9576"/>
                      <a:pt x="2396" y="12130"/>
                    </a:cubicBezTo>
                    <a:cubicBezTo>
                      <a:pt x="4952" y="15322"/>
                      <a:pt x="10064" y="15322"/>
                      <a:pt x="12620" y="12130"/>
                    </a:cubicBezTo>
                    <a:cubicBezTo>
                      <a:pt x="15815" y="9576"/>
                      <a:pt x="15815" y="4469"/>
                      <a:pt x="12620" y="1915"/>
                    </a:cubicBezTo>
                    <a:cubicBezTo>
                      <a:pt x="12620" y="1915"/>
                      <a:pt x="12620" y="1915"/>
                      <a:pt x="12620" y="1915"/>
                    </a:cubicBezTo>
                    <a:cubicBezTo>
                      <a:pt x="10064" y="-638"/>
                      <a:pt x="5591" y="-638"/>
                      <a:pt x="2396" y="1915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0" name="Graphic 4">
                <a:extLst>
                  <a:ext uri="{FF2B5EF4-FFF2-40B4-BE49-F238E27FC236}">
                    <a16:creationId xmlns:a16="http://schemas.microsoft.com/office/drawing/2014/main" id="{9D1BC872-7821-FA08-364D-CBFE22CDA616}"/>
                  </a:ext>
                </a:extLst>
              </p:cNvPr>
              <p:cNvSpPr/>
              <p:nvPr/>
            </p:nvSpPr>
            <p:spPr>
              <a:xfrm>
                <a:off x="1002581" y="2951477"/>
                <a:ext cx="14623" cy="14393"/>
              </a:xfrm>
              <a:custGeom>
                <a:avLst/>
                <a:gdLst>
                  <a:gd name="connsiteX0" fmla="*/ 12141 w 14623"/>
                  <a:gd name="connsiteY0" fmla="*/ 12768 h 14393"/>
                  <a:gd name="connsiteX1" fmla="*/ 12141 w 14623"/>
                  <a:gd name="connsiteY1" fmla="*/ 12768 h 14393"/>
                  <a:gd name="connsiteX2" fmla="*/ 12780 w 14623"/>
                  <a:gd name="connsiteY2" fmla="*/ 2554 h 14393"/>
                  <a:gd name="connsiteX3" fmla="*/ 7029 w 14623"/>
                  <a:gd name="connsiteY3" fmla="*/ 0 h 14393"/>
                  <a:gd name="connsiteX4" fmla="*/ 1917 w 14623"/>
                  <a:gd name="connsiteY4" fmla="*/ 1915 h 14393"/>
                  <a:gd name="connsiteX5" fmla="*/ 1917 w 14623"/>
                  <a:gd name="connsiteY5" fmla="*/ 12130 h 14393"/>
                  <a:gd name="connsiteX6" fmla="*/ 12141 w 14623"/>
                  <a:gd name="connsiteY6" fmla="*/ 12768 h 14393"/>
                  <a:gd name="connsiteX7" fmla="*/ 12141 w 14623"/>
                  <a:gd name="connsiteY7" fmla="*/ 12768 h 14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623" h="14393">
                    <a:moveTo>
                      <a:pt x="12141" y="12768"/>
                    </a:moveTo>
                    <a:lnTo>
                      <a:pt x="12141" y="12768"/>
                    </a:lnTo>
                    <a:cubicBezTo>
                      <a:pt x="15336" y="10214"/>
                      <a:pt x="15336" y="5107"/>
                      <a:pt x="12780" y="2554"/>
                    </a:cubicBezTo>
                    <a:cubicBezTo>
                      <a:pt x="11502" y="1277"/>
                      <a:pt x="8946" y="0"/>
                      <a:pt x="7029" y="0"/>
                    </a:cubicBezTo>
                    <a:cubicBezTo>
                      <a:pt x="5112" y="0"/>
                      <a:pt x="3195" y="638"/>
                      <a:pt x="1917" y="1915"/>
                    </a:cubicBezTo>
                    <a:cubicBezTo>
                      <a:pt x="-639" y="4469"/>
                      <a:pt x="-639" y="9576"/>
                      <a:pt x="1917" y="12130"/>
                    </a:cubicBezTo>
                    <a:cubicBezTo>
                      <a:pt x="4473" y="14683"/>
                      <a:pt x="8946" y="15322"/>
                      <a:pt x="12141" y="12768"/>
                    </a:cubicBezTo>
                    <a:lnTo>
                      <a:pt x="12141" y="12768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1" name="Graphic 4">
                <a:extLst>
                  <a:ext uri="{FF2B5EF4-FFF2-40B4-BE49-F238E27FC236}">
                    <a16:creationId xmlns:a16="http://schemas.microsoft.com/office/drawing/2014/main" id="{21D0EC57-6F60-36FB-12C7-E7C4A437D698}"/>
                  </a:ext>
                </a:extLst>
              </p:cNvPr>
              <p:cNvSpPr/>
              <p:nvPr/>
            </p:nvSpPr>
            <p:spPr>
              <a:xfrm>
                <a:off x="1156578" y="2952115"/>
                <a:ext cx="14057" cy="14683"/>
              </a:xfrm>
              <a:custGeom>
                <a:avLst/>
                <a:gdLst>
                  <a:gd name="connsiteX0" fmla="*/ 12141 w 14057"/>
                  <a:gd name="connsiteY0" fmla="*/ 12130 h 14683"/>
                  <a:gd name="connsiteX1" fmla="*/ 12141 w 14057"/>
                  <a:gd name="connsiteY1" fmla="*/ 1915 h 14683"/>
                  <a:gd name="connsiteX2" fmla="*/ 7029 w 14057"/>
                  <a:gd name="connsiteY2" fmla="*/ 0 h 14683"/>
                  <a:gd name="connsiteX3" fmla="*/ 0 w 14057"/>
                  <a:gd name="connsiteY3" fmla="*/ 7661 h 14683"/>
                  <a:gd name="connsiteX4" fmla="*/ 7668 w 14057"/>
                  <a:gd name="connsiteY4" fmla="*/ 14683 h 14683"/>
                  <a:gd name="connsiteX5" fmla="*/ 12141 w 14057"/>
                  <a:gd name="connsiteY5" fmla="*/ 12130 h 14683"/>
                  <a:gd name="connsiteX6" fmla="*/ 12141 w 14057"/>
                  <a:gd name="connsiteY6" fmla="*/ 12130 h 14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057" h="14683">
                    <a:moveTo>
                      <a:pt x="12141" y="12130"/>
                    </a:moveTo>
                    <a:cubicBezTo>
                      <a:pt x="14697" y="9576"/>
                      <a:pt x="14697" y="4469"/>
                      <a:pt x="12141" y="1915"/>
                    </a:cubicBezTo>
                    <a:cubicBezTo>
                      <a:pt x="10863" y="638"/>
                      <a:pt x="8946" y="0"/>
                      <a:pt x="7029" y="0"/>
                    </a:cubicBezTo>
                    <a:cubicBezTo>
                      <a:pt x="3195" y="0"/>
                      <a:pt x="0" y="3830"/>
                      <a:pt x="0" y="7661"/>
                    </a:cubicBezTo>
                    <a:cubicBezTo>
                      <a:pt x="0" y="11491"/>
                      <a:pt x="3834" y="14683"/>
                      <a:pt x="7668" y="14683"/>
                    </a:cubicBezTo>
                    <a:cubicBezTo>
                      <a:pt x="9585" y="14045"/>
                      <a:pt x="10863" y="13406"/>
                      <a:pt x="12141" y="12130"/>
                    </a:cubicBezTo>
                    <a:lnTo>
                      <a:pt x="12141" y="12130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2" name="Graphic 4">
                <a:extLst>
                  <a:ext uri="{FF2B5EF4-FFF2-40B4-BE49-F238E27FC236}">
                    <a16:creationId xmlns:a16="http://schemas.microsoft.com/office/drawing/2014/main" id="{F0E8E974-98B1-7E75-8A99-33EE4FBB225D}"/>
                  </a:ext>
                </a:extLst>
              </p:cNvPr>
              <p:cNvSpPr/>
              <p:nvPr/>
            </p:nvSpPr>
            <p:spPr>
              <a:xfrm>
                <a:off x="1079260" y="2920196"/>
                <a:ext cx="14057" cy="14044"/>
              </a:xfrm>
              <a:custGeom>
                <a:avLst/>
                <a:gdLst>
                  <a:gd name="connsiteX0" fmla="*/ 7029 w 14057"/>
                  <a:gd name="connsiteY0" fmla="*/ 14045 h 14044"/>
                  <a:gd name="connsiteX1" fmla="*/ 14058 w 14057"/>
                  <a:gd name="connsiteY1" fmla="*/ 7022 h 14044"/>
                  <a:gd name="connsiteX2" fmla="*/ 7029 w 14057"/>
                  <a:gd name="connsiteY2" fmla="*/ 0 h 14044"/>
                  <a:gd name="connsiteX3" fmla="*/ 0 w 14057"/>
                  <a:gd name="connsiteY3" fmla="*/ 7022 h 14044"/>
                  <a:gd name="connsiteX4" fmla="*/ 7029 w 14057"/>
                  <a:gd name="connsiteY4" fmla="*/ 14045 h 14044"/>
                  <a:gd name="connsiteX5" fmla="*/ 7029 w 14057"/>
                  <a:gd name="connsiteY5" fmla="*/ 14045 h 14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057" h="14044">
                    <a:moveTo>
                      <a:pt x="7029" y="14045"/>
                    </a:moveTo>
                    <a:cubicBezTo>
                      <a:pt x="10863" y="14045"/>
                      <a:pt x="14058" y="10853"/>
                      <a:pt x="14058" y="7022"/>
                    </a:cubicBezTo>
                    <a:cubicBezTo>
                      <a:pt x="14058" y="3192"/>
                      <a:pt x="10863" y="0"/>
                      <a:pt x="7029" y="0"/>
                    </a:cubicBezTo>
                    <a:cubicBezTo>
                      <a:pt x="3195" y="0"/>
                      <a:pt x="0" y="3192"/>
                      <a:pt x="0" y="7022"/>
                    </a:cubicBezTo>
                    <a:cubicBezTo>
                      <a:pt x="0" y="10853"/>
                      <a:pt x="3195" y="14045"/>
                      <a:pt x="7029" y="14045"/>
                    </a:cubicBezTo>
                    <a:lnTo>
                      <a:pt x="7029" y="14045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3" name="Graphic 4">
                <a:extLst>
                  <a:ext uri="{FF2B5EF4-FFF2-40B4-BE49-F238E27FC236}">
                    <a16:creationId xmlns:a16="http://schemas.microsoft.com/office/drawing/2014/main" id="{3FBBC41E-0EEA-E7AC-85E1-187C9D036EA0}"/>
                  </a:ext>
                </a:extLst>
              </p:cNvPr>
              <p:cNvSpPr/>
              <p:nvPr/>
            </p:nvSpPr>
            <p:spPr>
              <a:xfrm>
                <a:off x="1001462" y="3106608"/>
                <a:ext cx="15016" cy="14523"/>
              </a:xfrm>
              <a:custGeom>
                <a:avLst/>
                <a:gdLst>
                  <a:gd name="connsiteX0" fmla="*/ 2396 w 15016"/>
                  <a:gd name="connsiteY0" fmla="*/ 1915 h 14523"/>
                  <a:gd name="connsiteX1" fmla="*/ 2396 w 15016"/>
                  <a:gd name="connsiteY1" fmla="*/ 12130 h 14523"/>
                  <a:gd name="connsiteX2" fmla="*/ 12620 w 15016"/>
                  <a:gd name="connsiteY2" fmla="*/ 12130 h 14523"/>
                  <a:gd name="connsiteX3" fmla="*/ 12620 w 15016"/>
                  <a:gd name="connsiteY3" fmla="*/ 1915 h 14523"/>
                  <a:gd name="connsiteX4" fmla="*/ 12620 w 15016"/>
                  <a:gd name="connsiteY4" fmla="*/ 1915 h 14523"/>
                  <a:gd name="connsiteX5" fmla="*/ 2396 w 15016"/>
                  <a:gd name="connsiteY5" fmla="*/ 1915 h 14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016" h="14523">
                    <a:moveTo>
                      <a:pt x="2396" y="1915"/>
                    </a:moveTo>
                    <a:cubicBezTo>
                      <a:pt x="-799" y="4469"/>
                      <a:pt x="-799" y="9576"/>
                      <a:pt x="2396" y="12130"/>
                    </a:cubicBezTo>
                    <a:cubicBezTo>
                      <a:pt x="4952" y="15322"/>
                      <a:pt x="10064" y="15322"/>
                      <a:pt x="12620" y="12130"/>
                    </a:cubicBezTo>
                    <a:cubicBezTo>
                      <a:pt x="15815" y="9576"/>
                      <a:pt x="15815" y="4469"/>
                      <a:pt x="12620" y="1915"/>
                    </a:cubicBezTo>
                    <a:cubicBezTo>
                      <a:pt x="12620" y="1915"/>
                      <a:pt x="12620" y="1915"/>
                      <a:pt x="12620" y="1915"/>
                    </a:cubicBezTo>
                    <a:cubicBezTo>
                      <a:pt x="10064" y="-638"/>
                      <a:pt x="5591" y="-638"/>
                      <a:pt x="2396" y="1915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4" name="Graphic 4">
                <a:extLst>
                  <a:ext uri="{FF2B5EF4-FFF2-40B4-BE49-F238E27FC236}">
                    <a16:creationId xmlns:a16="http://schemas.microsoft.com/office/drawing/2014/main" id="{D51F98D4-F6F1-F6C1-E9EA-61A1DF6D5721}"/>
                  </a:ext>
                </a:extLst>
              </p:cNvPr>
              <p:cNvSpPr/>
              <p:nvPr/>
            </p:nvSpPr>
            <p:spPr>
              <a:xfrm>
                <a:off x="905454" y="2855717"/>
                <a:ext cx="362309" cy="361971"/>
              </a:xfrm>
              <a:custGeom>
                <a:avLst/>
                <a:gdLst>
                  <a:gd name="connsiteX0" fmla="*/ 180835 w 362309"/>
                  <a:gd name="connsiteY0" fmla="*/ 0 h 361971"/>
                  <a:gd name="connsiteX1" fmla="*/ 0 w 362309"/>
                  <a:gd name="connsiteY1" fmla="*/ 181305 h 361971"/>
                  <a:gd name="connsiteX2" fmla="*/ 181474 w 362309"/>
                  <a:gd name="connsiteY2" fmla="*/ 361972 h 361971"/>
                  <a:gd name="connsiteX3" fmla="*/ 362309 w 362309"/>
                  <a:gd name="connsiteY3" fmla="*/ 180667 h 361971"/>
                  <a:gd name="connsiteX4" fmla="*/ 180835 w 362309"/>
                  <a:gd name="connsiteY4" fmla="*/ 0 h 361971"/>
                  <a:gd name="connsiteX5" fmla="*/ 180835 w 362309"/>
                  <a:gd name="connsiteY5" fmla="*/ 0 h 361971"/>
                  <a:gd name="connsiteX6" fmla="*/ 290103 w 362309"/>
                  <a:gd name="connsiteY6" fmla="*/ 200457 h 361971"/>
                  <a:gd name="connsiteX7" fmla="*/ 270933 w 362309"/>
                  <a:gd name="connsiteY7" fmla="*/ 187051 h 361971"/>
                  <a:gd name="connsiteX8" fmla="*/ 259431 w 362309"/>
                  <a:gd name="connsiteY8" fmla="*/ 187051 h 361971"/>
                  <a:gd name="connsiteX9" fmla="*/ 240901 w 362309"/>
                  <a:gd name="connsiteY9" fmla="*/ 231738 h 361971"/>
                  <a:gd name="connsiteX10" fmla="*/ 249208 w 362309"/>
                  <a:gd name="connsiteY10" fmla="*/ 240038 h 361971"/>
                  <a:gd name="connsiteX11" fmla="*/ 276045 w 362309"/>
                  <a:gd name="connsiteY11" fmla="*/ 248975 h 361971"/>
                  <a:gd name="connsiteX12" fmla="*/ 267099 w 362309"/>
                  <a:gd name="connsiteY12" fmla="*/ 275788 h 361971"/>
                  <a:gd name="connsiteX13" fmla="*/ 244096 w 362309"/>
                  <a:gd name="connsiteY13" fmla="*/ 271958 h 361971"/>
                  <a:gd name="connsiteX14" fmla="*/ 244096 w 362309"/>
                  <a:gd name="connsiteY14" fmla="*/ 271958 h 361971"/>
                  <a:gd name="connsiteX15" fmla="*/ 240262 w 362309"/>
                  <a:gd name="connsiteY15" fmla="*/ 248975 h 361971"/>
                  <a:gd name="connsiteX16" fmla="*/ 231955 w 362309"/>
                  <a:gd name="connsiteY16" fmla="*/ 240676 h 361971"/>
                  <a:gd name="connsiteX17" fmla="*/ 187225 w 362309"/>
                  <a:gd name="connsiteY17" fmla="*/ 259190 h 361971"/>
                  <a:gd name="connsiteX18" fmla="*/ 187225 w 362309"/>
                  <a:gd name="connsiteY18" fmla="*/ 270681 h 361971"/>
                  <a:gd name="connsiteX19" fmla="*/ 200005 w 362309"/>
                  <a:gd name="connsiteY19" fmla="*/ 296217 h 361971"/>
                  <a:gd name="connsiteX20" fmla="*/ 174445 w 362309"/>
                  <a:gd name="connsiteY20" fmla="*/ 308985 h 361971"/>
                  <a:gd name="connsiteX21" fmla="*/ 161665 w 362309"/>
                  <a:gd name="connsiteY21" fmla="*/ 283449 h 361971"/>
                  <a:gd name="connsiteX22" fmla="*/ 174445 w 362309"/>
                  <a:gd name="connsiteY22" fmla="*/ 270681 h 361971"/>
                  <a:gd name="connsiteX23" fmla="*/ 174445 w 362309"/>
                  <a:gd name="connsiteY23" fmla="*/ 259190 h 361971"/>
                  <a:gd name="connsiteX24" fmla="*/ 129716 w 362309"/>
                  <a:gd name="connsiteY24" fmla="*/ 240676 h 361971"/>
                  <a:gd name="connsiteX25" fmla="*/ 121409 w 362309"/>
                  <a:gd name="connsiteY25" fmla="*/ 248975 h 361971"/>
                  <a:gd name="connsiteX26" fmla="*/ 112463 w 362309"/>
                  <a:gd name="connsiteY26" fmla="*/ 275788 h 361971"/>
                  <a:gd name="connsiteX27" fmla="*/ 85625 w 362309"/>
                  <a:gd name="connsiteY27" fmla="*/ 266850 h 361971"/>
                  <a:gd name="connsiteX28" fmla="*/ 89459 w 362309"/>
                  <a:gd name="connsiteY28" fmla="*/ 243868 h 361971"/>
                  <a:gd name="connsiteX29" fmla="*/ 89459 w 362309"/>
                  <a:gd name="connsiteY29" fmla="*/ 243868 h 361971"/>
                  <a:gd name="connsiteX30" fmla="*/ 112463 w 362309"/>
                  <a:gd name="connsiteY30" fmla="*/ 240038 h 361971"/>
                  <a:gd name="connsiteX31" fmla="*/ 120770 w 362309"/>
                  <a:gd name="connsiteY31" fmla="*/ 231738 h 361971"/>
                  <a:gd name="connsiteX32" fmla="*/ 102239 w 362309"/>
                  <a:gd name="connsiteY32" fmla="*/ 187051 h 361971"/>
                  <a:gd name="connsiteX33" fmla="*/ 90737 w 362309"/>
                  <a:gd name="connsiteY33" fmla="*/ 187051 h 361971"/>
                  <a:gd name="connsiteX34" fmla="*/ 65177 w 362309"/>
                  <a:gd name="connsiteY34" fmla="*/ 199819 h 361971"/>
                  <a:gd name="connsiteX35" fmla="*/ 52397 w 362309"/>
                  <a:gd name="connsiteY35" fmla="*/ 174283 h 361971"/>
                  <a:gd name="connsiteX36" fmla="*/ 77957 w 362309"/>
                  <a:gd name="connsiteY36" fmla="*/ 161515 h 361971"/>
                  <a:gd name="connsiteX37" fmla="*/ 90737 w 362309"/>
                  <a:gd name="connsiteY37" fmla="*/ 174283 h 361971"/>
                  <a:gd name="connsiteX38" fmla="*/ 102239 w 362309"/>
                  <a:gd name="connsiteY38" fmla="*/ 174283 h 361971"/>
                  <a:gd name="connsiteX39" fmla="*/ 120770 w 362309"/>
                  <a:gd name="connsiteY39" fmla="*/ 129595 h 361971"/>
                  <a:gd name="connsiteX40" fmla="*/ 112463 w 362309"/>
                  <a:gd name="connsiteY40" fmla="*/ 121296 h 361971"/>
                  <a:gd name="connsiteX41" fmla="*/ 103517 w 362309"/>
                  <a:gd name="connsiteY41" fmla="*/ 123211 h 361971"/>
                  <a:gd name="connsiteX42" fmla="*/ 83708 w 362309"/>
                  <a:gd name="connsiteY42" fmla="*/ 102782 h 361971"/>
                  <a:gd name="connsiteX43" fmla="*/ 89459 w 362309"/>
                  <a:gd name="connsiteY43" fmla="*/ 88737 h 361971"/>
                  <a:gd name="connsiteX44" fmla="*/ 117575 w 362309"/>
                  <a:gd name="connsiteY44" fmla="*/ 88737 h 361971"/>
                  <a:gd name="connsiteX45" fmla="*/ 117575 w 362309"/>
                  <a:gd name="connsiteY45" fmla="*/ 88737 h 361971"/>
                  <a:gd name="connsiteX46" fmla="*/ 121409 w 362309"/>
                  <a:gd name="connsiteY46" fmla="*/ 111720 h 361971"/>
                  <a:gd name="connsiteX47" fmla="*/ 129716 w 362309"/>
                  <a:gd name="connsiteY47" fmla="*/ 120019 h 361971"/>
                  <a:gd name="connsiteX48" fmla="*/ 174445 w 362309"/>
                  <a:gd name="connsiteY48" fmla="*/ 101505 h 361971"/>
                  <a:gd name="connsiteX49" fmla="*/ 174445 w 362309"/>
                  <a:gd name="connsiteY49" fmla="*/ 90014 h 361971"/>
                  <a:gd name="connsiteX50" fmla="*/ 161665 w 362309"/>
                  <a:gd name="connsiteY50" fmla="*/ 64478 h 361971"/>
                  <a:gd name="connsiteX51" fmla="*/ 187225 w 362309"/>
                  <a:gd name="connsiteY51" fmla="*/ 51710 h 361971"/>
                  <a:gd name="connsiteX52" fmla="*/ 200005 w 362309"/>
                  <a:gd name="connsiteY52" fmla="*/ 77246 h 361971"/>
                  <a:gd name="connsiteX53" fmla="*/ 187225 w 362309"/>
                  <a:gd name="connsiteY53" fmla="*/ 90014 h 361971"/>
                  <a:gd name="connsiteX54" fmla="*/ 187225 w 362309"/>
                  <a:gd name="connsiteY54" fmla="*/ 101505 h 361971"/>
                  <a:gd name="connsiteX55" fmla="*/ 231955 w 362309"/>
                  <a:gd name="connsiteY55" fmla="*/ 120019 h 361971"/>
                  <a:gd name="connsiteX56" fmla="*/ 240262 w 362309"/>
                  <a:gd name="connsiteY56" fmla="*/ 111720 h 361971"/>
                  <a:gd name="connsiteX57" fmla="*/ 244096 w 362309"/>
                  <a:gd name="connsiteY57" fmla="*/ 88737 h 361971"/>
                  <a:gd name="connsiteX58" fmla="*/ 272211 w 362309"/>
                  <a:gd name="connsiteY58" fmla="*/ 88737 h 361971"/>
                  <a:gd name="connsiteX59" fmla="*/ 272211 w 362309"/>
                  <a:gd name="connsiteY59" fmla="*/ 116827 h 361971"/>
                  <a:gd name="connsiteX60" fmla="*/ 272211 w 362309"/>
                  <a:gd name="connsiteY60" fmla="*/ 116827 h 361971"/>
                  <a:gd name="connsiteX61" fmla="*/ 272211 w 362309"/>
                  <a:gd name="connsiteY61" fmla="*/ 116827 h 361971"/>
                  <a:gd name="connsiteX62" fmla="*/ 258154 w 362309"/>
                  <a:gd name="connsiteY62" fmla="*/ 122572 h 361971"/>
                  <a:gd name="connsiteX63" fmla="*/ 249208 w 362309"/>
                  <a:gd name="connsiteY63" fmla="*/ 120657 h 361971"/>
                  <a:gd name="connsiteX64" fmla="*/ 241540 w 362309"/>
                  <a:gd name="connsiteY64" fmla="*/ 128956 h 361971"/>
                  <a:gd name="connsiteX65" fmla="*/ 260070 w 362309"/>
                  <a:gd name="connsiteY65" fmla="*/ 173644 h 361971"/>
                  <a:gd name="connsiteX66" fmla="*/ 271572 w 362309"/>
                  <a:gd name="connsiteY66" fmla="*/ 173644 h 361971"/>
                  <a:gd name="connsiteX67" fmla="*/ 297132 w 362309"/>
                  <a:gd name="connsiteY67" fmla="*/ 160876 h 361971"/>
                  <a:gd name="connsiteX68" fmla="*/ 309912 w 362309"/>
                  <a:gd name="connsiteY68" fmla="*/ 186412 h 361971"/>
                  <a:gd name="connsiteX69" fmla="*/ 290103 w 362309"/>
                  <a:gd name="connsiteY69" fmla="*/ 200457 h 361971"/>
                  <a:gd name="connsiteX70" fmla="*/ 290103 w 362309"/>
                  <a:gd name="connsiteY70" fmla="*/ 200457 h 361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362309" h="361971">
                    <a:moveTo>
                      <a:pt x="180835" y="0"/>
                    </a:moveTo>
                    <a:cubicBezTo>
                      <a:pt x="80513" y="0"/>
                      <a:pt x="0" y="81076"/>
                      <a:pt x="0" y="181305"/>
                    </a:cubicBezTo>
                    <a:cubicBezTo>
                      <a:pt x="0" y="281533"/>
                      <a:pt x="81152" y="361972"/>
                      <a:pt x="181474" y="361972"/>
                    </a:cubicBezTo>
                    <a:cubicBezTo>
                      <a:pt x="281157" y="361972"/>
                      <a:pt x="362309" y="280895"/>
                      <a:pt x="362309" y="180667"/>
                    </a:cubicBezTo>
                    <a:cubicBezTo>
                      <a:pt x="362309" y="80438"/>
                      <a:pt x="281157" y="0"/>
                      <a:pt x="180835" y="0"/>
                    </a:cubicBezTo>
                    <a:cubicBezTo>
                      <a:pt x="180835" y="0"/>
                      <a:pt x="180835" y="0"/>
                      <a:pt x="180835" y="0"/>
                    </a:cubicBezTo>
                    <a:close/>
                    <a:moveTo>
                      <a:pt x="290103" y="200457"/>
                    </a:moveTo>
                    <a:cubicBezTo>
                      <a:pt x="281157" y="200457"/>
                      <a:pt x="273489" y="194711"/>
                      <a:pt x="270933" y="187051"/>
                    </a:cubicBezTo>
                    <a:lnTo>
                      <a:pt x="259431" y="187051"/>
                    </a:lnTo>
                    <a:cubicBezTo>
                      <a:pt x="258154" y="203649"/>
                      <a:pt x="251764" y="218971"/>
                      <a:pt x="240901" y="231738"/>
                    </a:cubicBezTo>
                    <a:lnTo>
                      <a:pt x="249208" y="240038"/>
                    </a:lnTo>
                    <a:cubicBezTo>
                      <a:pt x="258792" y="234930"/>
                      <a:pt x="270933" y="239399"/>
                      <a:pt x="276045" y="248975"/>
                    </a:cubicBezTo>
                    <a:cubicBezTo>
                      <a:pt x="281157" y="258551"/>
                      <a:pt x="276684" y="270681"/>
                      <a:pt x="267099" y="275788"/>
                    </a:cubicBezTo>
                    <a:cubicBezTo>
                      <a:pt x="259431" y="279618"/>
                      <a:pt x="249847" y="278341"/>
                      <a:pt x="244096" y="271958"/>
                    </a:cubicBezTo>
                    <a:lnTo>
                      <a:pt x="244096" y="271958"/>
                    </a:lnTo>
                    <a:cubicBezTo>
                      <a:pt x="238345" y="265574"/>
                      <a:pt x="236428" y="256636"/>
                      <a:pt x="240262" y="248975"/>
                    </a:cubicBezTo>
                    <a:lnTo>
                      <a:pt x="231955" y="240676"/>
                    </a:lnTo>
                    <a:cubicBezTo>
                      <a:pt x="219175" y="251529"/>
                      <a:pt x="203839" y="257913"/>
                      <a:pt x="187225" y="259190"/>
                    </a:cubicBezTo>
                    <a:lnTo>
                      <a:pt x="187225" y="270681"/>
                    </a:lnTo>
                    <a:cubicBezTo>
                      <a:pt x="197449" y="274511"/>
                      <a:pt x="203200" y="285364"/>
                      <a:pt x="200005" y="296217"/>
                    </a:cubicBezTo>
                    <a:cubicBezTo>
                      <a:pt x="196171" y="306431"/>
                      <a:pt x="185308" y="312177"/>
                      <a:pt x="174445" y="308985"/>
                    </a:cubicBezTo>
                    <a:cubicBezTo>
                      <a:pt x="164221" y="305154"/>
                      <a:pt x="158470" y="294301"/>
                      <a:pt x="161665" y="283449"/>
                    </a:cubicBezTo>
                    <a:cubicBezTo>
                      <a:pt x="163582" y="277703"/>
                      <a:pt x="168055" y="272596"/>
                      <a:pt x="174445" y="270681"/>
                    </a:cubicBezTo>
                    <a:lnTo>
                      <a:pt x="174445" y="259190"/>
                    </a:lnTo>
                    <a:cubicBezTo>
                      <a:pt x="157831" y="257913"/>
                      <a:pt x="142496" y="251529"/>
                      <a:pt x="129716" y="240676"/>
                    </a:cubicBezTo>
                    <a:lnTo>
                      <a:pt x="121409" y="248975"/>
                    </a:lnTo>
                    <a:cubicBezTo>
                      <a:pt x="126521" y="258551"/>
                      <a:pt x="122048" y="270681"/>
                      <a:pt x="112463" y="275788"/>
                    </a:cubicBezTo>
                    <a:cubicBezTo>
                      <a:pt x="102878" y="280895"/>
                      <a:pt x="90737" y="276426"/>
                      <a:pt x="85625" y="266850"/>
                    </a:cubicBezTo>
                    <a:cubicBezTo>
                      <a:pt x="81791" y="259190"/>
                      <a:pt x="83069" y="249614"/>
                      <a:pt x="89459" y="243868"/>
                    </a:cubicBezTo>
                    <a:lnTo>
                      <a:pt x="89459" y="243868"/>
                    </a:lnTo>
                    <a:cubicBezTo>
                      <a:pt x="95849" y="238122"/>
                      <a:pt x="104795" y="236207"/>
                      <a:pt x="112463" y="240038"/>
                    </a:cubicBezTo>
                    <a:lnTo>
                      <a:pt x="120770" y="231738"/>
                    </a:lnTo>
                    <a:cubicBezTo>
                      <a:pt x="109907" y="218971"/>
                      <a:pt x="103517" y="203649"/>
                      <a:pt x="102239" y="187051"/>
                    </a:cubicBezTo>
                    <a:lnTo>
                      <a:pt x="90737" y="187051"/>
                    </a:lnTo>
                    <a:cubicBezTo>
                      <a:pt x="86903" y="197265"/>
                      <a:pt x="76040" y="203011"/>
                      <a:pt x="65177" y="199819"/>
                    </a:cubicBezTo>
                    <a:cubicBezTo>
                      <a:pt x="54954" y="195988"/>
                      <a:pt x="49202" y="185135"/>
                      <a:pt x="52397" y="174283"/>
                    </a:cubicBezTo>
                    <a:cubicBezTo>
                      <a:pt x="56231" y="164068"/>
                      <a:pt x="67094" y="158323"/>
                      <a:pt x="77957" y="161515"/>
                    </a:cubicBezTo>
                    <a:cubicBezTo>
                      <a:pt x="83708" y="163430"/>
                      <a:pt x="88820" y="167899"/>
                      <a:pt x="90737" y="174283"/>
                    </a:cubicBezTo>
                    <a:lnTo>
                      <a:pt x="102239" y="174283"/>
                    </a:lnTo>
                    <a:cubicBezTo>
                      <a:pt x="103517" y="157684"/>
                      <a:pt x="109907" y="142363"/>
                      <a:pt x="120770" y="129595"/>
                    </a:cubicBezTo>
                    <a:lnTo>
                      <a:pt x="112463" y="121296"/>
                    </a:lnTo>
                    <a:cubicBezTo>
                      <a:pt x="109907" y="122572"/>
                      <a:pt x="106712" y="123211"/>
                      <a:pt x="103517" y="123211"/>
                    </a:cubicBezTo>
                    <a:cubicBezTo>
                      <a:pt x="92654" y="123211"/>
                      <a:pt x="83708" y="114273"/>
                      <a:pt x="83708" y="102782"/>
                    </a:cubicBezTo>
                    <a:cubicBezTo>
                      <a:pt x="83708" y="97675"/>
                      <a:pt x="85625" y="92568"/>
                      <a:pt x="89459" y="88737"/>
                    </a:cubicBezTo>
                    <a:cubicBezTo>
                      <a:pt x="97127" y="81076"/>
                      <a:pt x="109907" y="81076"/>
                      <a:pt x="117575" y="88737"/>
                    </a:cubicBezTo>
                    <a:lnTo>
                      <a:pt x="117575" y="88737"/>
                    </a:lnTo>
                    <a:cubicBezTo>
                      <a:pt x="123326" y="95121"/>
                      <a:pt x="125243" y="104059"/>
                      <a:pt x="121409" y="111720"/>
                    </a:cubicBezTo>
                    <a:lnTo>
                      <a:pt x="129716" y="120019"/>
                    </a:lnTo>
                    <a:cubicBezTo>
                      <a:pt x="142496" y="109166"/>
                      <a:pt x="157831" y="102782"/>
                      <a:pt x="174445" y="101505"/>
                    </a:cubicBezTo>
                    <a:lnTo>
                      <a:pt x="174445" y="90014"/>
                    </a:lnTo>
                    <a:cubicBezTo>
                      <a:pt x="164221" y="86184"/>
                      <a:pt x="158470" y="75331"/>
                      <a:pt x="161665" y="64478"/>
                    </a:cubicBezTo>
                    <a:cubicBezTo>
                      <a:pt x="165499" y="54264"/>
                      <a:pt x="176362" y="48518"/>
                      <a:pt x="187225" y="51710"/>
                    </a:cubicBezTo>
                    <a:cubicBezTo>
                      <a:pt x="197449" y="55541"/>
                      <a:pt x="203200" y="66393"/>
                      <a:pt x="200005" y="77246"/>
                    </a:cubicBezTo>
                    <a:cubicBezTo>
                      <a:pt x="198088" y="82992"/>
                      <a:pt x="193615" y="88099"/>
                      <a:pt x="187225" y="90014"/>
                    </a:cubicBezTo>
                    <a:lnTo>
                      <a:pt x="187225" y="101505"/>
                    </a:lnTo>
                    <a:cubicBezTo>
                      <a:pt x="203839" y="102782"/>
                      <a:pt x="219175" y="109166"/>
                      <a:pt x="231955" y="120019"/>
                    </a:cubicBezTo>
                    <a:lnTo>
                      <a:pt x="240262" y="111720"/>
                    </a:lnTo>
                    <a:cubicBezTo>
                      <a:pt x="236428" y="104059"/>
                      <a:pt x="237706" y="94483"/>
                      <a:pt x="244096" y="88737"/>
                    </a:cubicBezTo>
                    <a:cubicBezTo>
                      <a:pt x="251764" y="81076"/>
                      <a:pt x="264543" y="81076"/>
                      <a:pt x="272211" y="88737"/>
                    </a:cubicBezTo>
                    <a:cubicBezTo>
                      <a:pt x="279879" y="96398"/>
                      <a:pt x="279879" y="109166"/>
                      <a:pt x="272211" y="116827"/>
                    </a:cubicBezTo>
                    <a:cubicBezTo>
                      <a:pt x="272211" y="116827"/>
                      <a:pt x="272211" y="116827"/>
                      <a:pt x="272211" y="116827"/>
                    </a:cubicBezTo>
                    <a:lnTo>
                      <a:pt x="272211" y="116827"/>
                    </a:lnTo>
                    <a:cubicBezTo>
                      <a:pt x="268377" y="120657"/>
                      <a:pt x="263265" y="122572"/>
                      <a:pt x="258154" y="122572"/>
                    </a:cubicBezTo>
                    <a:cubicBezTo>
                      <a:pt x="254959" y="122572"/>
                      <a:pt x="251764" y="121934"/>
                      <a:pt x="249208" y="120657"/>
                    </a:cubicBezTo>
                    <a:lnTo>
                      <a:pt x="241540" y="128956"/>
                    </a:lnTo>
                    <a:cubicBezTo>
                      <a:pt x="252403" y="141724"/>
                      <a:pt x="258792" y="157046"/>
                      <a:pt x="260070" y="173644"/>
                    </a:cubicBezTo>
                    <a:lnTo>
                      <a:pt x="271572" y="173644"/>
                    </a:lnTo>
                    <a:cubicBezTo>
                      <a:pt x="275406" y="163430"/>
                      <a:pt x="286269" y="157684"/>
                      <a:pt x="297132" y="160876"/>
                    </a:cubicBezTo>
                    <a:cubicBezTo>
                      <a:pt x="307356" y="164707"/>
                      <a:pt x="313107" y="175560"/>
                      <a:pt x="309912" y="186412"/>
                    </a:cubicBezTo>
                    <a:cubicBezTo>
                      <a:pt x="306717" y="195350"/>
                      <a:pt x="299049" y="200457"/>
                      <a:pt x="290103" y="200457"/>
                    </a:cubicBezTo>
                    <a:lnTo>
                      <a:pt x="290103" y="200457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5" name="Graphic 4">
                <a:extLst>
                  <a:ext uri="{FF2B5EF4-FFF2-40B4-BE49-F238E27FC236}">
                    <a16:creationId xmlns:a16="http://schemas.microsoft.com/office/drawing/2014/main" id="{025A3CBF-9BF6-D3CA-1A24-C517E1A8299B}"/>
                  </a:ext>
                </a:extLst>
              </p:cNvPr>
              <p:cNvSpPr/>
              <p:nvPr/>
            </p:nvSpPr>
            <p:spPr>
              <a:xfrm>
                <a:off x="1188528" y="3029362"/>
                <a:ext cx="14057" cy="14044"/>
              </a:xfrm>
              <a:custGeom>
                <a:avLst/>
                <a:gdLst>
                  <a:gd name="connsiteX0" fmla="*/ 7029 w 14057"/>
                  <a:gd name="connsiteY0" fmla="*/ 0 h 14044"/>
                  <a:gd name="connsiteX1" fmla="*/ 0 w 14057"/>
                  <a:gd name="connsiteY1" fmla="*/ 7022 h 14044"/>
                  <a:gd name="connsiteX2" fmla="*/ 7029 w 14057"/>
                  <a:gd name="connsiteY2" fmla="*/ 14045 h 14044"/>
                  <a:gd name="connsiteX3" fmla="*/ 14058 w 14057"/>
                  <a:gd name="connsiteY3" fmla="*/ 7022 h 14044"/>
                  <a:gd name="connsiteX4" fmla="*/ 7029 w 14057"/>
                  <a:gd name="connsiteY4" fmla="*/ 0 h 14044"/>
                  <a:gd name="connsiteX5" fmla="*/ 7029 w 14057"/>
                  <a:gd name="connsiteY5" fmla="*/ 0 h 14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057" h="14044">
                    <a:moveTo>
                      <a:pt x="7029" y="0"/>
                    </a:moveTo>
                    <a:cubicBezTo>
                      <a:pt x="3195" y="0"/>
                      <a:pt x="0" y="3192"/>
                      <a:pt x="0" y="7022"/>
                    </a:cubicBezTo>
                    <a:cubicBezTo>
                      <a:pt x="0" y="10853"/>
                      <a:pt x="3195" y="14045"/>
                      <a:pt x="7029" y="14045"/>
                    </a:cubicBezTo>
                    <a:cubicBezTo>
                      <a:pt x="10863" y="14045"/>
                      <a:pt x="14058" y="10853"/>
                      <a:pt x="14058" y="7022"/>
                    </a:cubicBezTo>
                    <a:cubicBezTo>
                      <a:pt x="14058" y="3192"/>
                      <a:pt x="11502" y="0"/>
                      <a:pt x="7029" y="0"/>
                    </a:cubicBezTo>
                    <a:lnTo>
                      <a:pt x="7029" y="0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6" name="Graphic 4">
                <a:extLst>
                  <a:ext uri="{FF2B5EF4-FFF2-40B4-BE49-F238E27FC236}">
                    <a16:creationId xmlns:a16="http://schemas.microsoft.com/office/drawing/2014/main" id="{DE92A5A0-79C2-F39C-9B03-E7DF4D958F73}"/>
                  </a:ext>
                </a:extLst>
              </p:cNvPr>
              <p:cNvSpPr/>
              <p:nvPr/>
            </p:nvSpPr>
            <p:spPr>
              <a:xfrm>
                <a:off x="1019834" y="2969991"/>
                <a:ext cx="132910" cy="132786"/>
              </a:xfrm>
              <a:custGeom>
                <a:avLst/>
                <a:gdLst>
                  <a:gd name="connsiteX0" fmla="*/ 66455 w 132910"/>
                  <a:gd name="connsiteY0" fmla="*/ 0 h 132786"/>
                  <a:gd name="connsiteX1" fmla="*/ 0 w 132910"/>
                  <a:gd name="connsiteY1" fmla="*/ 66393 h 132786"/>
                  <a:gd name="connsiteX2" fmla="*/ 66455 w 132910"/>
                  <a:gd name="connsiteY2" fmla="*/ 132787 h 132786"/>
                  <a:gd name="connsiteX3" fmla="*/ 132911 w 132910"/>
                  <a:gd name="connsiteY3" fmla="*/ 66393 h 132786"/>
                  <a:gd name="connsiteX4" fmla="*/ 66455 w 132910"/>
                  <a:gd name="connsiteY4" fmla="*/ 0 h 132786"/>
                  <a:gd name="connsiteX5" fmla="*/ 66455 w 132910"/>
                  <a:gd name="connsiteY5" fmla="*/ 0 h 132786"/>
                  <a:gd name="connsiteX6" fmla="*/ 99683 w 132910"/>
                  <a:gd name="connsiteY6" fmla="*/ 100228 h 132786"/>
                  <a:gd name="connsiteX7" fmla="*/ 70928 w 132910"/>
                  <a:gd name="connsiteY7" fmla="*/ 123849 h 132786"/>
                  <a:gd name="connsiteX8" fmla="*/ 63260 w 132910"/>
                  <a:gd name="connsiteY8" fmla="*/ 123849 h 132786"/>
                  <a:gd name="connsiteX9" fmla="*/ 33867 w 132910"/>
                  <a:gd name="connsiteY9" fmla="*/ 100867 h 132786"/>
                  <a:gd name="connsiteX10" fmla="*/ 31950 w 132910"/>
                  <a:gd name="connsiteY10" fmla="*/ 93844 h 132786"/>
                  <a:gd name="connsiteX11" fmla="*/ 37701 w 132910"/>
                  <a:gd name="connsiteY11" fmla="*/ 89376 h 132786"/>
                  <a:gd name="connsiteX12" fmla="*/ 44730 w 132910"/>
                  <a:gd name="connsiteY12" fmla="*/ 89376 h 132786"/>
                  <a:gd name="connsiteX13" fmla="*/ 44730 w 132910"/>
                  <a:gd name="connsiteY13" fmla="*/ 75969 h 132786"/>
                  <a:gd name="connsiteX14" fmla="*/ 51119 w 132910"/>
                  <a:gd name="connsiteY14" fmla="*/ 69585 h 132786"/>
                  <a:gd name="connsiteX15" fmla="*/ 83069 w 132910"/>
                  <a:gd name="connsiteY15" fmla="*/ 69585 h 132786"/>
                  <a:gd name="connsiteX16" fmla="*/ 89459 w 132910"/>
                  <a:gd name="connsiteY16" fmla="*/ 75969 h 132786"/>
                  <a:gd name="connsiteX17" fmla="*/ 89459 w 132910"/>
                  <a:gd name="connsiteY17" fmla="*/ 89376 h 132786"/>
                  <a:gd name="connsiteX18" fmla="*/ 96488 w 132910"/>
                  <a:gd name="connsiteY18" fmla="*/ 89376 h 132786"/>
                  <a:gd name="connsiteX19" fmla="*/ 102239 w 132910"/>
                  <a:gd name="connsiteY19" fmla="*/ 93844 h 132786"/>
                  <a:gd name="connsiteX20" fmla="*/ 99683 w 132910"/>
                  <a:gd name="connsiteY20" fmla="*/ 100228 h 132786"/>
                  <a:gd name="connsiteX21" fmla="*/ 99683 w 132910"/>
                  <a:gd name="connsiteY21" fmla="*/ 100228 h 132786"/>
                  <a:gd name="connsiteX22" fmla="*/ 101600 w 132910"/>
                  <a:gd name="connsiteY22" fmla="*/ 39581 h 132786"/>
                  <a:gd name="connsiteX23" fmla="*/ 95849 w 132910"/>
                  <a:gd name="connsiteY23" fmla="*/ 44049 h 132786"/>
                  <a:gd name="connsiteX24" fmla="*/ 88820 w 132910"/>
                  <a:gd name="connsiteY24" fmla="*/ 44049 h 132786"/>
                  <a:gd name="connsiteX25" fmla="*/ 88820 w 132910"/>
                  <a:gd name="connsiteY25" fmla="*/ 57456 h 132786"/>
                  <a:gd name="connsiteX26" fmla="*/ 82430 w 132910"/>
                  <a:gd name="connsiteY26" fmla="*/ 63840 h 132786"/>
                  <a:gd name="connsiteX27" fmla="*/ 50480 w 132910"/>
                  <a:gd name="connsiteY27" fmla="*/ 63840 h 132786"/>
                  <a:gd name="connsiteX28" fmla="*/ 44091 w 132910"/>
                  <a:gd name="connsiteY28" fmla="*/ 57456 h 132786"/>
                  <a:gd name="connsiteX29" fmla="*/ 44091 w 132910"/>
                  <a:gd name="connsiteY29" fmla="*/ 44049 h 132786"/>
                  <a:gd name="connsiteX30" fmla="*/ 37062 w 132910"/>
                  <a:gd name="connsiteY30" fmla="*/ 44049 h 132786"/>
                  <a:gd name="connsiteX31" fmla="*/ 30672 w 132910"/>
                  <a:gd name="connsiteY31" fmla="*/ 37665 h 132786"/>
                  <a:gd name="connsiteX32" fmla="*/ 33228 w 132910"/>
                  <a:gd name="connsiteY32" fmla="*/ 32558 h 132786"/>
                  <a:gd name="connsiteX33" fmla="*/ 62621 w 132910"/>
                  <a:gd name="connsiteY33" fmla="*/ 9576 h 132786"/>
                  <a:gd name="connsiteX34" fmla="*/ 70289 w 132910"/>
                  <a:gd name="connsiteY34" fmla="*/ 9576 h 132786"/>
                  <a:gd name="connsiteX35" fmla="*/ 99683 w 132910"/>
                  <a:gd name="connsiteY35" fmla="*/ 32558 h 132786"/>
                  <a:gd name="connsiteX36" fmla="*/ 101600 w 132910"/>
                  <a:gd name="connsiteY36" fmla="*/ 39581 h 132786"/>
                  <a:gd name="connsiteX37" fmla="*/ 101600 w 132910"/>
                  <a:gd name="connsiteY37" fmla="*/ 39581 h 132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32910" h="132786">
                    <a:moveTo>
                      <a:pt x="66455" y="0"/>
                    </a:moveTo>
                    <a:cubicBezTo>
                      <a:pt x="30033" y="0"/>
                      <a:pt x="0" y="30005"/>
                      <a:pt x="0" y="66393"/>
                    </a:cubicBezTo>
                    <a:cubicBezTo>
                      <a:pt x="0" y="102782"/>
                      <a:pt x="30033" y="132787"/>
                      <a:pt x="66455" y="132787"/>
                    </a:cubicBezTo>
                    <a:cubicBezTo>
                      <a:pt x="102878" y="132787"/>
                      <a:pt x="132911" y="102782"/>
                      <a:pt x="132911" y="66393"/>
                    </a:cubicBezTo>
                    <a:cubicBezTo>
                      <a:pt x="132911" y="30005"/>
                      <a:pt x="103517" y="0"/>
                      <a:pt x="66455" y="0"/>
                    </a:cubicBezTo>
                    <a:cubicBezTo>
                      <a:pt x="66455" y="0"/>
                      <a:pt x="66455" y="0"/>
                      <a:pt x="66455" y="0"/>
                    </a:cubicBezTo>
                    <a:close/>
                    <a:moveTo>
                      <a:pt x="99683" y="100228"/>
                    </a:moveTo>
                    <a:lnTo>
                      <a:pt x="70928" y="123849"/>
                    </a:lnTo>
                    <a:cubicBezTo>
                      <a:pt x="68372" y="125764"/>
                      <a:pt x="65177" y="125764"/>
                      <a:pt x="63260" y="123849"/>
                    </a:cubicBezTo>
                    <a:lnTo>
                      <a:pt x="33867" y="100867"/>
                    </a:lnTo>
                    <a:cubicBezTo>
                      <a:pt x="31950" y="98952"/>
                      <a:pt x="30672" y="96398"/>
                      <a:pt x="31950" y="93844"/>
                    </a:cubicBezTo>
                    <a:cubicBezTo>
                      <a:pt x="32589" y="91291"/>
                      <a:pt x="35145" y="89376"/>
                      <a:pt x="37701" y="89376"/>
                    </a:cubicBezTo>
                    <a:lnTo>
                      <a:pt x="44730" y="89376"/>
                    </a:lnTo>
                    <a:lnTo>
                      <a:pt x="44730" y="75969"/>
                    </a:lnTo>
                    <a:cubicBezTo>
                      <a:pt x="44730" y="72139"/>
                      <a:pt x="47285" y="69585"/>
                      <a:pt x="51119" y="69585"/>
                    </a:cubicBezTo>
                    <a:lnTo>
                      <a:pt x="83069" y="69585"/>
                    </a:lnTo>
                    <a:cubicBezTo>
                      <a:pt x="86903" y="69585"/>
                      <a:pt x="89459" y="72139"/>
                      <a:pt x="89459" y="75969"/>
                    </a:cubicBezTo>
                    <a:lnTo>
                      <a:pt x="89459" y="89376"/>
                    </a:lnTo>
                    <a:lnTo>
                      <a:pt x="96488" y="89376"/>
                    </a:lnTo>
                    <a:cubicBezTo>
                      <a:pt x="99044" y="89376"/>
                      <a:pt x="101600" y="91291"/>
                      <a:pt x="102239" y="93844"/>
                    </a:cubicBezTo>
                    <a:cubicBezTo>
                      <a:pt x="102878" y="95760"/>
                      <a:pt x="101600" y="98952"/>
                      <a:pt x="99683" y="100228"/>
                    </a:cubicBezTo>
                    <a:lnTo>
                      <a:pt x="99683" y="100228"/>
                    </a:lnTo>
                    <a:close/>
                    <a:moveTo>
                      <a:pt x="101600" y="39581"/>
                    </a:moveTo>
                    <a:cubicBezTo>
                      <a:pt x="100961" y="42134"/>
                      <a:pt x="98405" y="44049"/>
                      <a:pt x="95849" y="44049"/>
                    </a:cubicBezTo>
                    <a:lnTo>
                      <a:pt x="88820" y="44049"/>
                    </a:lnTo>
                    <a:lnTo>
                      <a:pt x="88820" y="57456"/>
                    </a:lnTo>
                    <a:cubicBezTo>
                      <a:pt x="88820" y="61286"/>
                      <a:pt x="86264" y="63840"/>
                      <a:pt x="82430" y="63840"/>
                    </a:cubicBezTo>
                    <a:lnTo>
                      <a:pt x="50480" y="63840"/>
                    </a:lnTo>
                    <a:cubicBezTo>
                      <a:pt x="46646" y="63840"/>
                      <a:pt x="44091" y="61286"/>
                      <a:pt x="44091" y="57456"/>
                    </a:cubicBezTo>
                    <a:lnTo>
                      <a:pt x="44091" y="44049"/>
                    </a:lnTo>
                    <a:lnTo>
                      <a:pt x="37062" y="44049"/>
                    </a:lnTo>
                    <a:cubicBezTo>
                      <a:pt x="33228" y="44049"/>
                      <a:pt x="30672" y="40857"/>
                      <a:pt x="30672" y="37665"/>
                    </a:cubicBezTo>
                    <a:cubicBezTo>
                      <a:pt x="30672" y="35750"/>
                      <a:pt x="31311" y="33835"/>
                      <a:pt x="33228" y="32558"/>
                    </a:cubicBezTo>
                    <a:lnTo>
                      <a:pt x="62621" y="9576"/>
                    </a:lnTo>
                    <a:cubicBezTo>
                      <a:pt x="65177" y="7661"/>
                      <a:pt x="68372" y="7661"/>
                      <a:pt x="70289" y="9576"/>
                    </a:cubicBezTo>
                    <a:lnTo>
                      <a:pt x="99683" y="32558"/>
                    </a:lnTo>
                    <a:cubicBezTo>
                      <a:pt x="102239" y="34473"/>
                      <a:pt x="102878" y="37027"/>
                      <a:pt x="101600" y="39581"/>
                    </a:cubicBezTo>
                    <a:lnTo>
                      <a:pt x="101600" y="39581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57" name="Graphic 4">
                <a:extLst>
                  <a:ext uri="{FF2B5EF4-FFF2-40B4-BE49-F238E27FC236}">
                    <a16:creationId xmlns:a16="http://schemas.microsoft.com/office/drawing/2014/main" id="{425BAF3B-7A48-C6A4-5C66-B22F41648EC5}"/>
                  </a:ext>
                </a:extLst>
              </p:cNvPr>
              <p:cNvSpPr/>
              <p:nvPr/>
            </p:nvSpPr>
            <p:spPr>
              <a:xfrm>
                <a:off x="1074148" y="2992973"/>
                <a:ext cx="24281" cy="28089"/>
              </a:xfrm>
              <a:custGeom>
                <a:avLst/>
                <a:gdLst>
                  <a:gd name="connsiteX0" fmla="*/ 0 w 24281"/>
                  <a:gd name="connsiteY0" fmla="*/ 9576 h 28089"/>
                  <a:gd name="connsiteX1" fmla="*/ 2556 w 24281"/>
                  <a:gd name="connsiteY1" fmla="*/ 14683 h 28089"/>
                  <a:gd name="connsiteX2" fmla="*/ 2556 w 24281"/>
                  <a:gd name="connsiteY2" fmla="*/ 28089 h 28089"/>
                  <a:gd name="connsiteX3" fmla="*/ 21726 w 24281"/>
                  <a:gd name="connsiteY3" fmla="*/ 28089 h 28089"/>
                  <a:gd name="connsiteX4" fmla="*/ 21726 w 24281"/>
                  <a:gd name="connsiteY4" fmla="*/ 14683 h 28089"/>
                  <a:gd name="connsiteX5" fmla="*/ 24282 w 24281"/>
                  <a:gd name="connsiteY5" fmla="*/ 9576 h 28089"/>
                  <a:gd name="connsiteX6" fmla="*/ 12141 w 24281"/>
                  <a:gd name="connsiteY6" fmla="*/ 0 h 28089"/>
                  <a:gd name="connsiteX7" fmla="*/ 0 w 24281"/>
                  <a:gd name="connsiteY7" fmla="*/ 9576 h 28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281" h="28089">
                    <a:moveTo>
                      <a:pt x="0" y="9576"/>
                    </a:moveTo>
                    <a:cubicBezTo>
                      <a:pt x="1917" y="10853"/>
                      <a:pt x="2556" y="12768"/>
                      <a:pt x="2556" y="14683"/>
                    </a:cubicBezTo>
                    <a:lnTo>
                      <a:pt x="2556" y="28089"/>
                    </a:lnTo>
                    <a:lnTo>
                      <a:pt x="21726" y="28089"/>
                    </a:lnTo>
                    <a:lnTo>
                      <a:pt x="21726" y="14683"/>
                    </a:lnTo>
                    <a:cubicBezTo>
                      <a:pt x="21726" y="12768"/>
                      <a:pt x="23004" y="10853"/>
                      <a:pt x="24282" y="9576"/>
                    </a:cubicBezTo>
                    <a:lnTo>
                      <a:pt x="12141" y="0"/>
                    </a:lnTo>
                    <a:lnTo>
                      <a:pt x="0" y="9576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latin typeface="+mj-lt"/>
                </a:endParaRPr>
              </a:p>
            </p:txBody>
          </p:sp>
        </p:grpSp>
      </p:grp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3C872B8-FECD-7CC1-D26C-B84422E48030}"/>
              </a:ext>
            </a:extLst>
          </p:cNvPr>
          <p:cNvSpPr txBox="1">
            <a:spLocks/>
          </p:cNvSpPr>
          <p:nvPr/>
        </p:nvSpPr>
        <p:spPr>
          <a:xfrm>
            <a:off x="497681" y="651601"/>
            <a:ext cx="11201400" cy="334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hu-HU" dirty="0">
                <a:latin typeface="+mj-lt"/>
              </a:rPr>
              <a:t>Legszűkebben vett SI</a:t>
            </a:r>
            <a:endParaRPr lang="en-AU" dirty="0">
              <a:latin typeface="+mj-lt"/>
            </a:endParaRPr>
          </a:p>
          <a:p>
            <a:endParaRPr lang="en-US" dirty="0">
              <a:latin typeface="+mj-lt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22EC91B-6278-1B1B-4170-B81E50109EE3}"/>
              </a:ext>
            </a:extLst>
          </p:cNvPr>
          <p:cNvGrpSpPr/>
          <p:nvPr/>
        </p:nvGrpSpPr>
        <p:grpSpPr>
          <a:xfrm>
            <a:off x="7147241" y="985701"/>
            <a:ext cx="4547079" cy="2965377"/>
            <a:chOff x="7147241" y="671376"/>
            <a:chExt cx="4547079" cy="2965377"/>
          </a:xfrm>
        </p:grpSpPr>
        <p:pic>
          <p:nvPicPr>
            <p:cNvPr id="11" name="Picture 2" descr="KÃ©ptalÃ¡lat a kÃ¶vetkezÅre: âspagetti architectureâ">
              <a:extLst>
                <a:ext uri="{FF2B5EF4-FFF2-40B4-BE49-F238E27FC236}">
                  <a16:creationId xmlns:a16="http://schemas.microsoft.com/office/drawing/2014/main" id="{A5DBEF2B-4325-7458-EB21-8EFE7CA1DC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7241" y="671376"/>
              <a:ext cx="1977709" cy="29653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F90AEAF8-02AD-4427-86EB-189EEB603A52}"/>
                </a:ext>
              </a:extLst>
            </p:cNvPr>
            <p:cNvGrpSpPr/>
            <p:nvPr/>
          </p:nvGrpSpPr>
          <p:grpSpPr>
            <a:xfrm>
              <a:off x="9188919" y="1475021"/>
              <a:ext cx="2505401" cy="1323439"/>
              <a:chOff x="9188919" y="1309442"/>
              <a:chExt cx="2505401" cy="1323439"/>
            </a:xfrm>
          </p:grpSpPr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7C82579F-A14B-DAE0-2D4D-6CAEB87905BC}"/>
                  </a:ext>
                </a:extLst>
              </p:cNvPr>
              <p:cNvSpPr txBox="1"/>
              <p:nvPr/>
            </p:nvSpPr>
            <p:spPr>
              <a:xfrm>
                <a:off x="9750148" y="1309442"/>
                <a:ext cx="1944172" cy="132343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/>
                <a:r>
                  <a:rPr lang="hu-HU" sz="1600" b="1" dirty="0">
                    <a:latin typeface="+mj-lt"/>
                  </a:rPr>
                  <a:t>Rendrakás a kamrában</a:t>
                </a:r>
                <a:r>
                  <a:rPr lang="hu-HU" sz="1600" dirty="0">
                    <a:latin typeface="+mj-lt"/>
                  </a:rPr>
                  <a:t>: miért kell változtatni a rendetlenségen?</a:t>
                </a:r>
              </a:p>
              <a:p>
                <a:pPr lvl="0"/>
                <a:r>
                  <a:rPr lang="hu-HU" sz="1600" dirty="0">
                    <a:latin typeface="+mj-lt"/>
                  </a:rPr>
                  <a:t>Spagettiből </a:t>
                </a:r>
                <a:r>
                  <a:rPr lang="hu-HU" sz="1600" dirty="0" err="1">
                    <a:latin typeface="+mj-lt"/>
                  </a:rPr>
                  <a:t>raviolit</a:t>
                </a:r>
                <a:r>
                  <a:rPr lang="hu-HU" sz="1600" dirty="0">
                    <a:latin typeface="+mj-lt"/>
                  </a:rPr>
                  <a:t>?</a:t>
                </a:r>
                <a:endParaRPr lang="en-AU" sz="1600" dirty="0">
                  <a:latin typeface="+mj-lt"/>
                </a:endParaRPr>
              </a:p>
            </p:txBody>
          </p:sp>
          <p:sp>
            <p:nvSpPr>
              <p:cNvPr id="12" name="Arrow: Right 11">
                <a:extLst>
                  <a:ext uri="{FF2B5EF4-FFF2-40B4-BE49-F238E27FC236}">
                    <a16:creationId xmlns:a16="http://schemas.microsoft.com/office/drawing/2014/main" id="{14D8CA0C-7BC1-F66F-A385-AAF2438C0221}"/>
                  </a:ext>
                </a:extLst>
              </p:cNvPr>
              <p:cNvSpPr/>
              <p:nvPr/>
            </p:nvSpPr>
            <p:spPr bwMode="gray">
              <a:xfrm>
                <a:off x="9188919" y="1739010"/>
                <a:ext cx="497260" cy="452574"/>
              </a:xfrm>
              <a:prstGeom prst="rightArrow">
                <a:avLst>
                  <a:gd name="adj1" fmla="val 37043"/>
                  <a:gd name="adj2" fmla="val 57662"/>
                </a:avLst>
              </a:prstGeom>
              <a:solidFill>
                <a:schemeClr val="accent3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sp>
        <p:nvSpPr>
          <p:cNvPr id="13" name="Text Placeholder 27">
            <a:extLst>
              <a:ext uri="{FF2B5EF4-FFF2-40B4-BE49-F238E27FC236}">
                <a16:creationId xmlns:a16="http://schemas.microsoft.com/office/drawing/2014/main" id="{52D01C84-70C9-5E3D-E46A-F7DEB682EC17}"/>
              </a:ext>
            </a:extLst>
          </p:cNvPr>
          <p:cNvSpPr txBox="1">
            <a:spLocks/>
          </p:cNvSpPr>
          <p:nvPr/>
        </p:nvSpPr>
        <p:spPr>
          <a:xfrm>
            <a:off x="3629446" y="5417687"/>
            <a:ext cx="3364231" cy="78871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b="1" dirty="0">
                <a:latin typeface="+mj-lt"/>
              </a:rPr>
              <a:t>Integrációs módszertanok</a:t>
            </a:r>
            <a:endParaRPr lang="en-US" b="1" dirty="0">
              <a:latin typeface="+mj-lt"/>
            </a:endParaRPr>
          </a:p>
          <a:p>
            <a:r>
              <a:rPr lang="hu-HU" dirty="0">
                <a:latin typeface="+mj-lt"/>
              </a:rPr>
              <a:t>Integrációs adatbázisok és Jeff </a:t>
            </a:r>
            <a:r>
              <a:rPr lang="hu-HU" dirty="0" err="1">
                <a:latin typeface="+mj-lt"/>
              </a:rPr>
              <a:t>Bezos</a:t>
            </a:r>
            <a:r>
              <a:rPr lang="hu-HU" dirty="0">
                <a:latin typeface="+mj-lt"/>
              </a:rPr>
              <a:t>. SOA és API </a:t>
            </a:r>
            <a:r>
              <a:rPr lang="hu-HU" dirty="0" err="1">
                <a:latin typeface="+mj-lt"/>
              </a:rPr>
              <a:t>led</a:t>
            </a:r>
            <a:r>
              <a:rPr lang="hu-HU" dirty="0">
                <a:latin typeface="+mj-lt"/>
              </a:rPr>
              <a:t>. </a:t>
            </a:r>
            <a:r>
              <a:rPr lang="hu-HU" dirty="0" err="1">
                <a:latin typeface="+mj-lt"/>
              </a:rPr>
              <a:t>Pattenrek</a:t>
            </a:r>
            <a:r>
              <a:rPr lang="hu-HU" dirty="0">
                <a:latin typeface="+mj-lt"/>
              </a:rPr>
              <a:t> és Anti-</a:t>
            </a:r>
            <a:r>
              <a:rPr lang="hu-HU" dirty="0" err="1">
                <a:latin typeface="+mj-lt"/>
              </a:rPr>
              <a:t>patternek</a:t>
            </a:r>
            <a:r>
              <a:rPr lang="hu-HU" dirty="0">
                <a:latin typeface="+mj-lt"/>
              </a:rPr>
              <a:t>.</a:t>
            </a:r>
            <a:endParaRPr lang="en-AU" dirty="0">
              <a:latin typeface="+mj-lt"/>
            </a:endParaRPr>
          </a:p>
        </p:txBody>
      </p:sp>
      <p:sp>
        <p:nvSpPr>
          <p:cNvPr id="14" name="Text Placeholder 27">
            <a:extLst>
              <a:ext uri="{FF2B5EF4-FFF2-40B4-BE49-F238E27FC236}">
                <a16:creationId xmlns:a16="http://schemas.microsoft.com/office/drawing/2014/main" id="{2AD3003B-D7C4-FF87-D56D-249754F2E488}"/>
              </a:ext>
            </a:extLst>
          </p:cNvPr>
          <p:cNvSpPr txBox="1">
            <a:spLocks/>
          </p:cNvSpPr>
          <p:nvPr/>
        </p:nvSpPr>
        <p:spPr>
          <a:xfrm>
            <a:off x="7121681" y="4239603"/>
            <a:ext cx="2365219" cy="196679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b="1" dirty="0">
                <a:latin typeface="+mj-lt"/>
              </a:rPr>
              <a:t>Szabályozás nélkül nem megy</a:t>
            </a:r>
            <a:endParaRPr lang="en-AU" b="1" dirty="0">
              <a:latin typeface="+mj-lt"/>
            </a:endParaRPr>
          </a:p>
          <a:p>
            <a:r>
              <a:rPr lang="hu-HU" dirty="0">
                <a:latin typeface="+mj-lt"/>
              </a:rPr>
              <a:t>Nem egy ráncfelvarrásról van szó, hanem kulturális forradalomról</a:t>
            </a:r>
          </a:p>
          <a:p>
            <a:r>
              <a:rPr lang="hu-HU" dirty="0" err="1">
                <a:latin typeface="+mj-lt"/>
              </a:rPr>
              <a:t>Rutinszerűen</a:t>
            </a:r>
            <a:r>
              <a:rPr lang="hu-HU" dirty="0">
                <a:latin typeface="+mj-lt"/>
              </a:rPr>
              <a:t> ismétlődő tevékenységhez szigorú szabályokat kell alkotni. A komplexitást igyekezni kell csökkenteni, tervezési sablonok.</a:t>
            </a:r>
            <a:endParaRPr lang="en-US" dirty="0">
              <a:latin typeface="+mj-lt"/>
            </a:endParaRPr>
          </a:p>
        </p:txBody>
      </p:sp>
      <p:sp>
        <p:nvSpPr>
          <p:cNvPr id="15" name="Text Placeholder 27">
            <a:extLst>
              <a:ext uri="{FF2B5EF4-FFF2-40B4-BE49-F238E27FC236}">
                <a16:creationId xmlns:a16="http://schemas.microsoft.com/office/drawing/2014/main" id="{7AC604B3-AA1E-FFF7-D653-2F58EDF5C24A}"/>
              </a:ext>
            </a:extLst>
          </p:cNvPr>
          <p:cNvSpPr txBox="1">
            <a:spLocks/>
          </p:cNvSpPr>
          <p:nvPr/>
        </p:nvSpPr>
        <p:spPr>
          <a:xfrm>
            <a:off x="9614904" y="4239602"/>
            <a:ext cx="2079416" cy="196679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b="1" dirty="0">
                <a:latin typeface="+mj-lt"/>
              </a:rPr>
              <a:t>Integrációs eszközök</a:t>
            </a:r>
            <a:endParaRPr lang="en-AU" b="1" dirty="0">
              <a:latin typeface="+mj-lt"/>
            </a:endParaRPr>
          </a:p>
          <a:p>
            <a:r>
              <a:rPr lang="hu-HU" dirty="0">
                <a:latin typeface="+mj-lt"/>
              </a:rPr>
              <a:t>Mivel logikai, alkalmazásrétegben sétálunk, ezek maguk is alkalmazások. Követik a módszertani trendeket. Az ismétlődő célfejlesztésük miatt </a:t>
            </a:r>
            <a:r>
              <a:rPr lang="hu-HU" dirty="0" err="1">
                <a:latin typeface="+mj-lt"/>
              </a:rPr>
              <a:t>low-code</a:t>
            </a:r>
            <a:r>
              <a:rPr lang="hu-HU" dirty="0">
                <a:latin typeface="+mj-lt"/>
              </a:rPr>
              <a:t> </a:t>
            </a:r>
            <a:r>
              <a:rPr lang="hu-HU" dirty="0" err="1">
                <a:latin typeface="+mj-lt"/>
              </a:rPr>
              <a:t>dev</a:t>
            </a:r>
            <a:r>
              <a:rPr lang="hu-HU" dirty="0">
                <a:latin typeface="+mj-lt"/>
              </a:rPr>
              <a:t>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2EFD3C7-F319-BEE2-B141-550589FE59F9}"/>
              </a:ext>
            </a:extLst>
          </p:cNvPr>
          <p:cNvSpPr/>
          <p:nvPr/>
        </p:nvSpPr>
        <p:spPr bwMode="gray">
          <a:xfrm>
            <a:off x="3267872" y="4062510"/>
            <a:ext cx="8626473" cy="2259898"/>
          </a:xfrm>
          <a:prstGeom prst="rect">
            <a:avLst/>
          </a:prstGeom>
          <a:noFill/>
          <a:ln w="19050" algn="ctr">
            <a:solidFill>
              <a:schemeClr val="accent3"/>
            </a:solidFill>
            <a:prstDash val="dash"/>
            <a:miter lim="800000"/>
            <a:headEnd/>
            <a:tailEnd/>
          </a:ln>
        </p:spPr>
        <p:txBody>
          <a:bodyPr wrap="square" lIns="0" tIns="0" rIns="0" bIns="0" rtlCol="0" anchor="b" anchorCtr="0"/>
          <a:lstStyle/>
          <a:p>
            <a:pPr algn="r" defTabSz="685800"/>
            <a:endParaRPr lang="en-US" sz="1350" b="1" dirty="0">
              <a:solidFill>
                <a:srgbClr val="E3E48D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98071744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AD2270-E335-4B25-9479-9641996328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7254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AD2270-E335-4B25-9479-964199632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AutoShape 12">
            <a:extLst>
              <a:ext uri="{FF2B5EF4-FFF2-40B4-BE49-F238E27FC236}">
                <a16:creationId xmlns:a16="http://schemas.microsoft.com/office/drawing/2014/main" id="{8C51022B-6930-C88D-0BB3-AA205895AB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97914" y="1101544"/>
            <a:ext cx="1134524" cy="4973933"/>
          </a:xfrm>
          <a:prstGeom prst="homePlate">
            <a:avLst>
              <a:gd name="adj" fmla="val 100000"/>
            </a:avLst>
          </a:prstGeom>
          <a:solidFill>
            <a:srgbClr val="F2F2F2"/>
          </a:solidFill>
          <a:ln w="6350" algn="ctr">
            <a:noFill/>
            <a:miter lim="800000"/>
            <a:headEnd/>
            <a:tailEnd/>
          </a:ln>
        </p:spPr>
        <p:txBody>
          <a:bodyPr wrap="square" lIns="65303" tIns="65303" rIns="65303" bIns="65303" anchor="ctr"/>
          <a:lstStyle/>
          <a:p>
            <a:pPr marL="0" marR="0" lvl="0" indent="0" algn="ctr" defTabSz="6717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28" b="0" i="0" u="none" strike="noStrike" kern="1200" cap="none" spc="0" normalizeH="0" baseline="0" noProof="0" dirty="0">
              <a:ln>
                <a:noFill/>
              </a:ln>
              <a:solidFill>
                <a:srgbClr val="343434"/>
              </a:solidFill>
              <a:effectLst/>
              <a:uLnTx/>
              <a:uFillTx/>
              <a:latin typeface="Gotham Book" charset="0"/>
              <a:ea typeface="ヒラギノ角ゴ ProN W3" charset="0"/>
              <a:cs typeface="+mn-cs"/>
              <a:sym typeface="Gotham Book" charset="0"/>
            </a:endParaRPr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CF5878-E500-4DEF-AB4F-0DA9187B5E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 pitchFamily="50" charset="0"/>
              <a:ea typeface="+mn-ea"/>
              <a:cs typeface="+mn-cs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22F353-239C-4F9C-9C2B-0006F1686A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7681" y="298265"/>
            <a:ext cx="11201400" cy="342900"/>
          </a:xfrm>
        </p:spPr>
        <p:txBody>
          <a:bodyPr vert="horz"/>
          <a:lstStyle/>
          <a:p>
            <a:r>
              <a:rPr lang="hu-HU" dirty="0">
                <a:latin typeface="+mj-lt"/>
              </a:rPr>
              <a:t>Integrációs keretrendszer</a:t>
            </a:r>
            <a:endParaRPr lang="en-US" dirty="0">
              <a:latin typeface="+mj-lt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3C872B8-FECD-7CC1-D26C-B84422E48030}"/>
              </a:ext>
            </a:extLst>
          </p:cNvPr>
          <p:cNvSpPr txBox="1">
            <a:spLocks/>
          </p:cNvSpPr>
          <p:nvPr/>
        </p:nvSpPr>
        <p:spPr>
          <a:xfrm>
            <a:off x="497681" y="645066"/>
            <a:ext cx="11201400" cy="334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dirty="0">
                <a:latin typeface="+mj-lt"/>
              </a:rPr>
              <a:t>Vagyis már megint az üzlettől kezdődik</a:t>
            </a:r>
            <a:endParaRPr lang="en-US" dirty="0">
              <a:latin typeface="+mj-lt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D276245-7721-24AE-DF34-FF7A2DB4C34C}"/>
              </a:ext>
            </a:extLst>
          </p:cNvPr>
          <p:cNvSpPr txBox="1">
            <a:spLocks/>
          </p:cNvSpPr>
          <p:nvPr/>
        </p:nvSpPr>
        <p:spPr>
          <a:xfrm>
            <a:off x="9002250" y="1941041"/>
            <a:ext cx="2696831" cy="12858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+mj-lt"/>
            </a:endParaRPr>
          </a:p>
        </p:txBody>
      </p: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AFF6E105-556E-C27A-DB58-0CF4D3ECFBF2}"/>
              </a:ext>
            </a:extLst>
          </p:cNvPr>
          <p:cNvGrpSpPr/>
          <p:nvPr/>
        </p:nvGrpSpPr>
        <p:grpSpPr>
          <a:xfrm>
            <a:off x="3309345" y="1107560"/>
            <a:ext cx="8389736" cy="4973934"/>
            <a:chOff x="398129" y="1114632"/>
            <a:chExt cx="8389736" cy="4973934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8AA1102B-42C2-1762-2257-290EA4A6EC3E}"/>
                </a:ext>
              </a:extLst>
            </p:cNvPr>
            <p:cNvSpPr/>
            <p:nvPr/>
          </p:nvSpPr>
          <p:spPr bwMode="gray">
            <a:xfrm>
              <a:off x="398129" y="3789739"/>
              <a:ext cx="8389736" cy="2298827"/>
            </a:xfrm>
            <a:prstGeom prst="rect">
              <a:avLst/>
            </a:prstGeom>
            <a:solidFill>
              <a:schemeClr val="accent1">
                <a:lumMod val="40000"/>
                <a:lumOff val="60000"/>
                <a:alpha val="2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b" anchorCtr="0"/>
            <a:lstStyle/>
            <a:p>
              <a:pPr algn="r" defTabSz="685800"/>
              <a:r>
                <a:rPr lang="en-US" sz="1350" b="1" dirty="0">
                  <a:latin typeface="+mj-lt"/>
                </a:rPr>
                <a:t>Integration Framework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FFE8E631-2404-F044-913C-7701F8165F0B}"/>
                </a:ext>
              </a:extLst>
            </p:cNvPr>
            <p:cNvSpPr txBox="1"/>
            <p:nvPr/>
          </p:nvSpPr>
          <p:spPr>
            <a:xfrm>
              <a:off x="3078677" y="1501194"/>
              <a:ext cx="2054747" cy="7137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128588" indent="-128588" defTabSz="685800">
                <a:spcBef>
                  <a:spcPts val="450"/>
                </a:spcBef>
                <a:buSzPct val="100000"/>
                <a:buFont typeface="Arial" panose="020B0604020202020204" pitchFamily="34" charset="0"/>
                <a:buChar char="•"/>
              </a:pPr>
              <a:endParaRPr lang="en-US" sz="750" dirty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FC0143E7-E7A3-1C37-1509-10BF57F9B0FE}"/>
                </a:ext>
              </a:extLst>
            </p:cNvPr>
            <p:cNvSpPr txBox="1"/>
            <p:nvPr/>
          </p:nvSpPr>
          <p:spPr>
            <a:xfrm>
              <a:off x="3038337" y="1816673"/>
              <a:ext cx="2147156" cy="8165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128588" indent="-128588" defTabSz="685800">
                <a:spcBef>
                  <a:spcPts val="450"/>
                </a:spcBef>
                <a:buSzPct val="100000"/>
                <a:buFont typeface="Courier New" panose="02070309020205020404" pitchFamily="49" charset="0"/>
                <a:buChar char="o"/>
              </a:pPr>
              <a:endParaRPr lang="en-US" sz="750" b="1" dirty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AB14A9D5-F8AF-5190-F0DE-C36E49F89A49}"/>
                </a:ext>
              </a:extLst>
            </p:cNvPr>
            <p:cNvSpPr/>
            <p:nvPr/>
          </p:nvSpPr>
          <p:spPr>
            <a:xfrm>
              <a:off x="546430" y="5111018"/>
              <a:ext cx="1345121" cy="37024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r>
                <a:rPr lang="en-US" sz="1000" dirty="0" err="1">
                  <a:solidFill>
                    <a:prstClr val="black"/>
                  </a:solidFill>
                  <a:latin typeface="+mj-lt"/>
                </a:rPr>
                <a:t>Integrációs</a:t>
              </a:r>
              <a:r>
                <a:rPr lang="en-US" sz="1000" dirty="0">
                  <a:solidFill>
                    <a:prstClr val="black"/>
                  </a:solidFill>
                  <a:latin typeface="+mj-lt"/>
                </a:rPr>
                <a:t> </a:t>
              </a:r>
              <a:r>
                <a:rPr lang="en-US" sz="1000" dirty="0" err="1">
                  <a:solidFill>
                    <a:prstClr val="black"/>
                  </a:solidFill>
                  <a:latin typeface="+mj-lt"/>
                </a:rPr>
                <a:t>szabályzat</a:t>
              </a:r>
              <a:endParaRPr lang="en-US" sz="1000" dirty="0">
                <a:solidFill>
                  <a:prstClr val="black"/>
                </a:solidFill>
                <a:latin typeface="+mj-lt"/>
              </a:endParaRPr>
            </a:p>
            <a:p>
              <a:pPr algn="ctr" defTabSz="685800"/>
              <a:r>
                <a:rPr lang="en-US" sz="1000" dirty="0">
                  <a:solidFill>
                    <a:prstClr val="black"/>
                  </a:solidFill>
                  <a:latin typeface="+mj-lt"/>
                </a:rPr>
                <a:t>(SOA Governance)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37973AC6-2E81-3484-555E-63891ED4535E}"/>
                </a:ext>
              </a:extLst>
            </p:cNvPr>
            <p:cNvSpPr/>
            <p:nvPr/>
          </p:nvSpPr>
          <p:spPr>
            <a:xfrm>
              <a:off x="538967" y="5609294"/>
              <a:ext cx="1345121" cy="370238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r>
                <a:rPr lang="en-US" sz="1000" dirty="0" err="1">
                  <a:solidFill>
                    <a:prstClr val="black"/>
                  </a:solidFill>
                  <a:latin typeface="+mj-lt"/>
                </a:rPr>
                <a:t>Integrációs</a:t>
              </a:r>
              <a:r>
                <a:rPr lang="en-US" sz="1000" dirty="0">
                  <a:solidFill>
                    <a:prstClr val="black"/>
                  </a:solidFill>
                  <a:latin typeface="+mj-lt"/>
                </a:rPr>
                <a:t> </a:t>
              </a:r>
              <a:r>
                <a:rPr lang="en-US" sz="1000" dirty="0" err="1">
                  <a:solidFill>
                    <a:prstClr val="black"/>
                  </a:solidFill>
                  <a:latin typeface="+mj-lt"/>
                </a:rPr>
                <a:t>sablonok</a:t>
              </a:r>
              <a:endParaRPr lang="en-US" sz="1000" dirty="0">
                <a:solidFill>
                  <a:prstClr val="black"/>
                </a:solidFill>
                <a:latin typeface="+mj-lt"/>
              </a:endParaRPr>
            </a:p>
            <a:p>
              <a:pPr algn="ctr" defTabSz="685800"/>
              <a:r>
                <a:rPr lang="en-US" sz="1000" dirty="0">
                  <a:solidFill>
                    <a:prstClr val="black"/>
                  </a:solidFill>
                  <a:latin typeface="+mj-lt"/>
                </a:rPr>
                <a:t>(Integration patterns)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F54AF74C-0C72-BB5D-1187-19A0E8C7DC34}"/>
                </a:ext>
              </a:extLst>
            </p:cNvPr>
            <p:cNvSpPr/>
            <p:nvPr/>
          </p:nvSpPr>
          <p:spPr>
            <a:xfrm>
              <a:off x="2045982" y="5111017"/>
              <a:ext cx="1352584" cy="37023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r>
                <a:rPr lang="en-US" sz="1000" dirty="0">
                  <a:solidFill>
                    <a:prstClr val="black"/>
                  </a:solidFill>
                  <a:latin typeface="+mj-lt"/>
                </a:rPr>
                <a:t>Service agreement</a:t>
              </a:r>
            </a:p>
            <a:p>
              <a:pPr algn="ctr" defTabSz="685800"/>
              <a:r>
                <a:rPr lang="en-US" sz="1000" dirty="0">
                  <a:solidFill>
                    <a:prstClr val="black"/>
                  </a:solidFill>
                  <a:latin typeface="+mj-lt"/>
                </a:rPr>
                <a:t>(API Portal)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69374F4F-1CB5-6826-FDBC-F3B8111116FE}"/>
                </a:ext>
              </a:extLst>
            </p:cNvPr>
            <p:cNvSpPr/>
            <p:nvPr/>
          </p:nvSpPr>
          <p:spPr>
            <a:xfrm>
              <a:off x="2045982" y="5609290"/>
              <a:ext cx="1345121" cy="37023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r>
                <a:rPr lang="en-US" sz="1000" dirty="0" err="1">
                  <a:solidFill>
                    <a:prstClr val="black"/>
                  </a:solidFill>
                  <a:latin typeface="+mj-lt"/>
                </a:rPr>
                <a:t>Int</a:t>
              </a:r>
              <a:r>
                <a:rPr lang="en-US" sz="1000" dirty="0">
                  <a:solidFill>
                    <a:prstClr val="black"/>
                  </a:solidFill>
                  <a:latin typeface="+mj-lt"/>
                </a:rPr>
                <a:t> data model</a:t>
              </a:r>
              <a:br>
                <a:rPr lang="en-US" sz="1000" dirty="0">
                  <a:solidFill>
                    <a:prstClr val="black"/>
                  </a:solidFill>
                  <a:latin typeface="+mj-lt"/>
                </a:rPr>
              </a:br>
              <a:r>
                <a:rPr lang="en-US" sz="1000" dirty="0" err="1">
                  <a:solidFill>
                    <a:prstClr val="black"/>
                  </a:solidFill>
                  <a:latin typeface="+mj-lt"/>
                </a:rPr>
                <a:t>int</a:t>
              </a:r>
              <a:r>
                <a:rPr lang="en-US" sz="1000" dirty="0">
                  <a:solidFill>
                    <a:prstClr val="black"/>
                  </a:solidFill>
                  <a:latin typeface="+mj-lt"/>
                </a:rPr>
                <a:t> dev rulebook</a:t>
              </a:r>
            </a:p>
          </p:txBody>
        </p:sp>
        <p:sp>
          <p:nvSpPr>
            <p:cNvPr id="67" name="Text Placeholder 5">
              <a:extLst>
                <a:ext uri="{FF2B5EF4-FFF2-40B4-BE49-F238E27FC236}">
                  <a16:creationId xmlns:a16="http://schemas.microsoft.com/office/drawing/2014/main" id="{A9102DF7-96E7-3613-777B-2C5B8E7A4928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4081884" y="1114632"/>
              <a:ext cx="4547057" cy="1006768"/>
            </a:xfrm>
            <a:prstGeom prst="homePlate">
              <a:avLst>
                <a:gd name="adj" fmla="val 22028"/>
              </a:avLst>
            </a:prstGeom>
            <a:noFill/>
            <a:ln w="15875">
              <a:solidFill>
                <a:srgbClr val="00ABAB"/>
              </a:solidFill>
              <a:prstDash val="dash"/>
            </a:ln>
          </p:spPr>
          <p:txBody>
            <a:bodyPr wrap="square" lIns="274320" tIns="88900" rIns="88900" bIns="88900" anchor="ctr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 defTabSz="685800">
                <a:spcBef>
                  <a:spcPts val="45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1200" b="1" dirty="0">
                  <a:solidFill>
                    <a:schemeClr val="tx1"/>
                  </a:solidFill>
                  <a:latin typeface="+mj-lt"/>
                </a:rPr>
                <a:t>Business Capabilities</a:t>
              </a:r>
            </a:p>
            <a:p>
              <a:pPr marL="171450" indent="-171450" defTabSz="685800">
                <a:spcBef>
                  <a:spcPts val="45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Issues: 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</a:rPr>
                <a:t>Eg.</a:t>
              </a: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 Time to market ,</a:t>
              </a:r>
              <a:r>
                <a:rPr lang="en-US" sz="1200" dirty="0" err="1">
                  <a:solidFill>
                    <a:schemeClr val="tx1"/>
                  </a:solidFill>
                  <a:latin typeface="+mj-lt"/>
                </a:rPr>
                <a:t>Vendorlock</a:t>
              </a:r>
              <a:endParaRPr lang="en-US" sz="1200" dirty="0">
                <a:solidFill>
                  <a:schemeClr val="tx1"/>
                </a:solidFill>
                <a:latin typeface="+mj-lt"/>
              </a:endParaRPr>
            </a:p>
            <a:p>
              <a:pPr marL="171450" indent="-171450" defTabSz="685800">
                <a:spcBef>
                  <a:spcPts val="45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Business cases</a:t>
              </a:r>
            </a:p>
            <a:p>
              <a:pPr marL="171450" indent="-171450" defTabSz="685800">
                <a:spcBef>
                  <a:spcPts val="45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Business roadmap</a:t>
              </a:r>
            </a:p>
          </p:txBody>
        </p:sp>
        <p:sp>
          <p:nvSpPr>
            <p:cNvPr id="68" name="Text Placeholder 5">
              <a:extLst>
                <a:ext uri="{FF2B5EF4-FFF2-40B4-BE49-F238E27FC236}">
                  <a16:creationId xmlns:a16="http://schemas.microsoft.com/office/drawing/2014/main" id="{DC25E494-348F-01EF-9652-4A6D04CDABB1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4081885" y="2224945"/>
              <a:ext cx="4547053" cy="1536991"/>
            </a:xfrm>
            <a:prstGeom prst="homePlate">
              <a:avLst>
                <a:gd name="adj" fmla="val 15795"/>
              </a:avLst>
            </a:prstGeom>
            <a:noFill/>
            <a:ln w="15875">
              <a:solidFill>
                <a:schemeClr val="accent3"/>
              </a:solidFill>
              <a:prstDash val="dash"/>
            </a:ln>
          </p:spPr>
          <p:txBody>
            <a:bodyPr wrap="square" lIns="274320" tIns="88900" rIns="88900" bIns="88900" anchor="ctr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 defTabSz="685800">
                <a:spcBef>
                  <a:spcPts val="45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hu-HU" sz="1200" dirty="0" err="1">
                  <a:solidFill>
                    <a:prstClr val="black"/>
                  </a:solidFill>
                  <a:latin typeface="+mj-lt"/>
                </a:rPr>
                <a:t>Principles</a:t>
              </a:r>
              <a:endParaRPr lang="hu-HU" sz="1200" dirty="0">
                <a:solidFill>
                  <a:prstClr val="black"/>
                </a:solidFill>
                <a:latin typeface="+mj-lt"/>
              </a:endParaRPr>
            </a:p>
            <a:p>
              <a:pPr marL="171450" indent="-171450" defTabSz="685800">
                <a:spcBef>
                  <a:spcPts val="45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prstClr val="black"/>
                  </a:solidFill>
                  <a:latin typeface="+mj-lt"/>
                </a:rPr>
                <a:t>Infra, </a:t>
              </a:r>
              <a:r>
                <a:rPr lang="en-US" sz="1200" dirty="0" err="1">
                  <a:solidFill>
                    <a:prstClr val="black"/>
                  </a:solidFill>
                  <a:latin typeface="+mj-lt"/>
                </a:rPr>
                <a:t>Integ</a:t>
              </a:r>
              <a:r>
                <a:rPr lang="en-US" sz="1200" dirty="0">
                  <a:solidFill>
                    <a:prstClr val="black"/>
                  </a:solidFill>
                  <a:latin typeface="+mj-lt"/>
                </a:rPr>
                <a:t>, SW dev strategy, IT HC</a:t>
              </a:r>
              <a:r>
                <a:rPr lang="hu-HU" sz="1200" dirty="0">
                  <a:solidFill>
                    <a:prstClr val="black"/>
                  </a:solidFill>
                  <a:latin typeface="+mj-lt"/>
                </a:rPr>
                <a:t>, </a:t>
              </a:r>
              <a:r>
                <a:rPr lang="en-US" sz="1200" dirty="0">
                  <a:solidFill>
                    <a:prstClr val="black"/>
                  </a:solidFill>
                  <a:latin typeface="+mj-lt"/>
                </a:rPr>
                <a:t>IT sec, IT Operation  </a:t>
              </a:r>
            </a:p>
            <a:p>
              <a:pPr marL="171450" indent="-171450" defTabSz="685800">
                <a:spcBef>
                  <a:spcPts val="45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prstClr val="black"/>
                  </a:solidFill>
                  <a:latin typeface="+mj-lt"/>
                </a:rPr>
                <a:t>IT roadmap</a:t>
              </a:r>
            </a:p>
            <a:p>
              <a:pPr marL="171450" indent="-171450" defTabSz="685800">
                <a:spcBef>
                  <a:spcPts val="45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1200" b="1" dirty="0">
                  <a:solidFill>
                    <a:prstClr val="black"/>
                  </a:solidFill>
                  <a:latin typeface="+mj-lt"/>
                </a:rPr>
                <a:t>Functional Catalog: Target Application Landscape </a:t>
              </a:r>
              <a:r>
                <a:rPr lang="hu-HU" sz="1200" b="1" dirty="0">
                  <a:solidFill>
                    <a:prstClr val="black"/>
                  </a:solidFill>
                  <a:latin typeface="+mj-lt"/>
                </a:rPr>
                <a:t> </a:t>
              </a:r>
              <a:r>
                <a:rPr lang="hu-HU" sz="1200" dirty="0">
                  <a:solidFill>
                    <a:prstClr val="black"/>
                  </a:solidFill>
                  <a:latin typeface="+mj-lt"/>
                </a:rPr>
                <a:t>(</a:t>
              </a:r>
              <a:r>
                <a:rPr lang="en-US" sz="1200" dirty="0">
                  <a:solidFill>
                    <a:prstClr val="black"/>
                  </a:solidFill>
                  <a:latin typeface="+mj-lt"/>
                </a:rPr>
                <a:t>Int capability, system connections, int service catalog)</a:t>
              </a:r>
            </a:p>
          </p:txBody>
        </p:sp>
        <p:sp>
          <p:nvSpPr>
            <p:cNvPr id="69" name="Text Placeholder 5">
              <a:extLst>
                <a:ext uri="{FF2B5EF4-FFF2-40B4-BE49-F238E27FC236}">
                  <a16:creationId xmlns:a16="http://schemas.microsoft.com/office/drawing/2014/main" id="{016A74CE-B9A8-284E-9FFC-18245D736BB1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4081885" y="3861053"/>
              <a:ext cx="4547057" cy="1536991"/>
            </a:xfrm>
            <a:prstGeom prst="homePlate">
              <a:avLst>
                <a:gd name="adj" fmla="val 16362"/>
              </a:avLst>
            </a:prstGeom>
            <a:noFill/>
            <a:ln w="15875">
              <a:solidFill>
                <a:schemeClr val="accent1"/>
              </a:solidFill>
              <a:prstDash val="dash"/>
            </a:ln>
          </p:spPr>
          <p:txBody>
            <a:bodyPr wrap="square" lIns="274320" tIns="88900" rIns="88900" bIns="88900" anchor="ctr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 defTabSz="685800">
                <a:spcBef>
                  <a:spcPts val="45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prstClr val="black"/>
                  </a:solidFill>
                  <a:latin typeface="+mj-lt"/>
                </a:rPr>
                <a:t>Principles (digital, architectural)</a:t>
              </a:r>
            </a:p>
            <a:p>
              <a:pPr marL="171450" indent="-171450" defTabSz="685800">
                <a:spcBef>
                  <a:spcPts val="45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prstClr val="black"/>
                  </a:solidFill>
                  <a:latin typeface="+mj-lt"/>
                </a:rPr>
                <a:t>Service layer (middleware service catalog)</a:t>
              </a:r>
            </a:p>
            <a:p>
              <a:pPr marL="171450" indent="-171450" defTabSz="685800">
                <a:spcBef>
                  <a:spcPts val="45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prstClr val="black"/>
                  </a:solidFill>
                  <a:latin typeface="+mj-lt"/>
                </a:rPr>
                <a:t>Integration layer</a:t>
              </a:r>
            </a:p>
            <a:p>
              <a:pPr marL="171450" indent="-171450" defTabSz="685800">
                <a:spcBef>
                  <a:spcPts val="45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prstClr val="black"/>
                  </a:solidFill>
                  <a:latin typeface="+mj-lt"/>
                </a:rPr>
                <a:t>Architecture roadmap (as-is, interim, target)</a:t>
              </a:r>
            </a:p>
            <a:p>
              <a:pPr marL="171450" indent="-171450" defTabSz="685800">
                <a:spcBef>
                  <a:spcPts val="45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prstClr val="black"/>
                  </a:solidFill>
                  <a:latin typeface="+mj-lt"/>
                </a:rPr>
                <a:t>Tech stack</a:t>
              </a:r>
              <a:r>
                <a:rPr lang="hu-HU" sz="1200" dirty="0">
                  <a:solidFill>
                    <a:prstClr val="black"/>
                  </a:solidFill>
                  <a:latin typeface="+mj-lt"/>
                </a:rPr>
                <a:t> &amp; </a:t>
              </a:r>
              <a:r>
                <a:rPr lang="hu-HU" sz="1200" dirty="0" err="1">
                  <a:solidFill>
                    <a:prstClr val="black"/>
                  </a:solidFill>
                  <a:latin typeface="+mj-lt"/>
                </a:rPr>
                <a:t>roadmap</a:t>
              </a:r>
              <a:endParaRPr lang="en-US" sz="1200" dirty="0">
                <a:solidFill>
                  <a:prstClr val="black"/>
                </a:solidFill>
                <a:latin typeface="+mj-lt"/>
              </a:endParaRPr>
            </a:p>
            <a:p>
              <a:pPr marL="171450" indent="-171450" defTabSz="685800">
                <a:spcBef>
                  <a:spcPts val="45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prstClr val="black"/>
                  </a:solidFill>
                  <a:latin typeface="+mj-lt"/>
                </a:rPr>
                <a:t>Int development and operation, RACI</a:t>
              </a:r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D92FA426-BB9C-AB2C-DEA1-48560AE094C6}"/>
                </a:ext>
              </a:extLst>
            </p:cNvPr>
            <p:cNvGrpSpPr/>
            <p:nvPr/>
          </p:nvGrpSpPr>
          <p:grpSpPr>
            <a:xfrm>
              <a:off x="492919" y="1274111"/>
              <a:ext cx="2898184" cy="690859"/>
              <a:chOff x="6468766" y="327350"/>
              <a:chExt cx="2898184" cy="690859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2C049288-C88A-B3BE-808A-14E3DD123F0D}"/>
                  </a:ext>
                </a:extLst>
              </p:cNvPr>
              <p:cNvSpPr/>
              <p:nvPr/>
            </p:nvSpPr>
            <p:spPr>
              <a:xfrm>
                <a:off x="6857828" y="503622"/>
                <a:ext cx="2509122" cy="335268"/>
              </a:xfrm>
              <a:prstGeom prst="rect">
                <a:avLst/>
              </a:prstGeom>
              <a:solidFill>
                <a:srgbClr val="00ABA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r>
                  <a:rPr lang="en-US" sz="1600" b="1" dirty="0">
                    <a:solidFill>
                      <a:prstClr val="white"/>
                    </a:solidFill>
                    <a:latin typeface="+mj-lt"/>
                  </a:rPr>
                  <a:t>Business strategy</a:t>
                </a: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155E440A-3ED6-6BC9-7CF5-B595B628CA35}"/>
                  </a:ext>
                </a:extLst>
              </p:cNvPr>
              <p:cNvSpPr/>
              <p:nvPr/>
            </p:nvSpPr>
            <p:spPr>
              <a:xfrm>
                <a:off x="6514814" y="332181"/>
                <a:ext cx="686028" cy="68602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en-US" sz="1350" dirty="0">
                  <a:solidFill>
                    <a:prstClr val="white"/>
                  </a:solidFill>
                  <a:latin typeface="+mj-lt"/>
                </a:endParaRPr>
              </a:p>
            </p:txBody>
          </p:sp>
          <p:grpSp>
            <p:nvGrpSpPr>
              <p:cNvPr id="71" name="Graphic 4">
                <a:extLst>
                  <a:ext uri="{FF2B5EF4-FFF2-40B4-BE49-F238E27FC236}">
                    <a16:creationId xmlns:a16="http://schemas.microsoft.com/office/drawing/2014/main" id="{B9E0BAC5-2B56-F58B-297F-CE7DF0411CF9}"/>
                  </a:ext>
                </a:extLst>
              </p:cNvPr>
              <p:cNvGrpSpPr/>
              <p:nvPr/>
            </p:nvGrpSpPr>
            <p:grpSpPr>
              <a:xfrm>
                <a:off x="6468766" y="327350"/>
                <a:ext cx="686028" cy="687811"/>
                <a:chOff x="467743" y="2855717"/>
                <a:chExt cx="361670" cy="362610"/>
              </a:xfrm>
              <a:solidFill>
                <a:srgbClr val="00ABAB"/>
              </a:solidFill>
            </p:grpSpPr>
            <p:sp>
              <p:nvSpPr>
                <p:cNvPr id="72" name="Graphic 4">
                  <a:extLst>
                    <a:ext uri="{FF2B5EF4-FFF2-40B4-BE49-F238E27FC236}">
                      <a16:creationId xmlns:a16="http://schemas.microsoft.com/office/drawing/2014/main" id="{AAF4B0C5-8C63-E5AC-2320-587F189CC6EC}"/>
                    </a:ext>
                  </a:extLst>
                </p:cNvPr>
                <p:cNvSpPr/>
                <p:nvPr/>
              </p:nvSpPr>
              <p:spPr>
                <a:xfrm>
                  <a:off x="467743" y="2855717"/>
                  <a:ext cx="361670" cy="362610"/>
                </a:xfrm>
                <a:custGeom>
                  <a:avLst/>
                  <a:gdLst>
                    <a:gd name="connsiteX0" fmla="*/ 180835 w 361670"/>
                    <a:gd name="connsiteY0" fmla="*/ 0 h 362610"/>
                    <a:gd name="connsiteX1" fmla="*/ 0 w 361670"/>
                    <a:gd name="connsiteY1" fmla="*/ 181305 h 362610"/>
                    <a:gd name="connsiteX2" fmla="*/ 180835 w 361670"/>
                    <a:gd name="connsiteY2" fmla="*/ 362610 h 362610"/>
                    <a:gd name="connsiteX3" fmla="*/ 361670 w 361670"/>
                    <a:gd name="connsiteY3" fmla="*/ 181305 h 362610"/>
                    <a:gd name="connsiteX4" fmla="*/ 361670 w 361670"/>
                    <a:gd name="connsiteY4" fmla="*/ 181305 h 362610"/>
                    <a:gd name="connsiteX5" fmla="*/ 180835 w 361670"/>
                    <a:gd name="connsiteY5" fmla="*/ 0 h 362610"/>
                    <a:gd name="connsiteX6" fmla="*/ 180835 w 361670"/>
                    <a:gd name="connsiteY6" fmla="*/ 0 h 362610"/>
                    <a:gd name="connsiteX7" fmla="*/ 180835 w 361670"/>
                    <a:gd name="connsiteY7" fmla="*/ 349204 h 362610"/>
                    <a:gd name="connsiteX8" fmla="*/ 12780 w 361670"/>
                    <a:gd name="connsiteY8" fmla="*/ 180667 h 362610"/>
                    <a:gd name="connsiteX9" fmla="*/ 180835 w 361670"/>
                    <a:gd name="connsiteY9" fmla="*/ 12130 h 362610"/>
                    <a:gd name="connsiteX10" fmla="*/ 348891 w 361670"/>
                    <a:gd name="connsiteY10" fmla="*/ 180667 h 362610"/>
                    <a:gd name="connsiteX11" fmla="*/ 180835 w 361670"/>
                    <a:gd name="connsiteY11" fmla="*/ 349204 h 362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61670" h="362610">
                      <a:moveTo>
                        <a:pt x="180835" y="0"/>
                      </a:moveTo>
                      <a:cubicBezTo>
                        <a:pt x="80513" y="0"/>
                        <a:pt x="0" y="81076"/>
                        <a:pt x="0" y="181305"/>
                      </a:cubicBezTo>
                      <a:cubicBezTo>
                        <a:pt x="0" y="281533"/>
                        <a:pt x="81152" y="362610"/>
                        <a:pt x="180835" y="362610"/>
                      </a:cubicBezTo>
                      <a:cubicBezTo>
                        <a:pt x="280518" y="362610"/>
                        <a:pt x="361670" y="281533"/>
                        <a:pt x="361670" y="181305"/>
                      </a:cubicBezTo>
                      <a:cubicBezTo>
                        <a:pt x="361670" y="181305"/>
                        <a:pt x="361670" y="181305"/>
                        <a:pt x="361670" y="181305"/>
                      </a:cubicBezTo>
                      <a:cubicBezTo>
                        <a:pt x="361670" y="80438"/>
                        <a:pt x="281157" y="0"/>
                        <a:pt x="180835" y="0"/>
                      </a:cubicBezTo>
                      <a:cubicBezTo>
                        <a:pt x="180835" y="0"/>
                        <a:pt x="180835" y="0"/>
                        <a:pt x="180835" y="0"/>
                      </a:cubicBezTo>
                      <a:close/>
                      <a:moveTo>
                        <a:pt x="180835" y="349204"/>
                      </a:moveTo>
                      <a:cubicBezTo>
                        <a:pt x="87542" y="349204"/>
                        <a:pt x="12780" y="273873"/>
                        <a:pt x="12780" y="180667"/>
                      </a:cubicBezTo>
                      <a:cubicBezTo>
                        <a:pt x="12780" y="87460"/>
                        <a:pt x="88181" y="12130"/>
                        <a:pt x="180835" y="12130"/>
                      </a:cubicBezTo>
                      <a:cubicBezTo>
                        <a:pt x="273489" y="12130"/>
                        <a:pt x="348891" y="87460"/>
                        <a:pt x="348891" y="180667"/>
                      </a:cubicBezTo>
                      <a:cubicBezTo>
                        <a:pt x="348891" y="273234"/>
                        <a:pt x="273489" y="348565"/>
                        <a:pt x="180835" y="349204"/>
                      </a:cubicBez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3" name="Graphic 4">
                  <a:extLst>
                    <a:ext uri="{FF2B5EF4-FFF2-40B4-BE49-F238E27FC236}">
                      <a16:creationId xmlns:a16="http://schemas.microsoft.com/office/drawing/2014/main" id="{CB6B6F66-70E5-10D1-E1FD-C72F848094BE}"/>
                    </a:ext>
                  </a:extLst>
                </p:cNvPr>
                <p:cNvSpPr/>
                <p:nvPr/>
              </p:nvSpPr>
              <p:spPr>
                <a:xfrm>
                  <a:off x="668387" y="2937084"/>
                  <a:ext cx="80862" cy="80148"/>
                </a:xfrm>
                <a:custGeom>
                  <a:avLst/>
                  <a:gdLst>
                    <a:gd name="connsiteX0" fmla="*/ 69011 w 80862"/>
                    <a:gd name="connsiteY0" fmla="*/ 1626 h 80148"/>
                    <a:gd name="connsiteX1" fmla="*/ 12780 w 80862"/>
                    <a:gd name="connsiteY1" fmla="*/ 57805 h 80148"/>
                    <a:gd name="connsiteX2" fmla="*/ 12780 w 80862"/>
                    <a:gd name="connsiteY2" fmla="*/ 25246 h 80148"/>
                    <a:gd name="connsiteX3" fmla="*/ 6390 w 80862"/>
                    <a:gd name="connsiteY3" fmla="*/ 18862 h 80148"/>
                    <a:gd name="connsiteX4" fmla="*/ 0 w 80862"/>
                    <a:gd name="connsiteY4" fmla="*/ 25246 h 80148"/>
                    <a:gd name="connsiteX5" fmla="*/ 0 w 80862"/>
                    <a:gd name="connsiteY5" fmla="*/ 73126 h 80148"/>
                    <a:gd name="connsiteX6" fmla="*/ 639 w 80862"/>
                    <a:gd name="connsiteY6" fmla="*/ 75680 h 80148"/>
                    <a:gd name="connsiteX7" fmla="*/ 639 w 80862"/>
                    <a:gd name="connsiteY7" fmla="*/ 76318 h 80148"/>
                    <a:gd name="connsiteX8" fmla="*/ 1278 w 80862"/>
                    <a:gd name="connsiteY8" fmla="*/ 77595 h 80148"/>
                    <a:gd name="connsiteX9" fmla="*/ 1917 w 80862"/>
                    <a:gd name="connsiteY9" fmla="*/ 78234 h 80148"/>
                    <a:gd name="connsiteX10" fmla="*/ 3834 w 80862"/>
                    <a:gd name="connsiteY10" fmla="*/ 79510 h 80148"/>
                    <a:gd name="connsiteX11" fmla="*/ 3834 w 80862"/>
                    <a:gd name="connsiteY11" fmla="*/ 79510 h 80148"/>
                    <a:gd name="connsiteX12" fmla="*/ 3834 w 80862"/>
                    <a:gd name="connsiteY12" fmla="*/ 79510 h 80148"/>
                    <a:gd name="connsiteX13" fmla="*/ 6390 w 80862"/>
                    <a:gd name="connsiteY13" fmla="*/ 80149 h 80148"/>
                    <a:gd name="connsiteX14" fmla="*/ 54314 w 80862"/>
                    <a:gd name="connsiteY14" fmla="*/ 80149 h 80148"/>
                    <a:gd name="connsiteX15" fmla="*/ 60704 w 80862"/>
                    <a:gd name="connsiteY15" fmla="*/ 73765 h 80148"/>
                    <a:gd name="connsiteX16" fmla="*/ 54314 w 80862"/>
                    <a:gd name="connsiteY16" fmla="*/ 67381 h 80148"/>
                    <a:gd name="connsiteX17" fmla="*/ 22365 w 80862"/>
                    <a:gd name="connsiteY17" fmla="*/ 67381 h 80148"/>
                    <a:gd name="connsiteX18" fmla="*/ 78596 w 80862"/>
                    <a:gd name="connsiteY18" fmla="*/ 11202 h 80148"/>
                    <a:gd name="connsiteX19" fmla="*/ 79235 w 80862"/>
                    <a:gd name="connsiteY19" fmla="*/ 2264 h 80148"/>
                    <a:gd name="connsiteX20" fmla="*/ 70289 w 80862"/>
                    <a:gd name="connsiteY20" fmla="*/ 1626 h 80148"/>
                    <a:gd name="connsiteX21" fmla="*/ 69011 w 80862"/>
                    <a:gd name="connsiteY21" fmla="*/ 1626 h 80148"/>
                    <a:gd name="connsiteX22" fmla="*/ 69011 w 80862"/>
                    <a:gd name="connsiteY22" fmla="*/ 1626 h 80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80862" h="80148">
                      <a:moveTo>
                        <a:pt x="69011" y="1626"/>
                      </a:moveTo>
                      <a:lnTo>
                        <a:pt x="12780" y="57805"/>
                      </a:lnTo>
                      <a:lnTo>
                        <a:pt x="12780" y="25246"/>
                      </a:lnTo>
                      <a:cubicBezTo>
                        <a:pt x="12780" y="21416"/>
                        <a:pt x="10224" y="18862"/>
                        <a:pt x="6390" y="18862"/>
                      </a:cubicBezTo>
                      <a:cubicBezTo>
                        <a:pt x="2556" y="18862"/>
                        <a:pt x="0" y="21416"/>
                        <a:pt x="0" y="25246"/>
                      </a:cubicBezTo>
                      <a:lnTo>
                        <a:pt x="0" y="73126"/>
                      </a:lnTo>
                      <a:cubicBezTo>
                        <a:pt x="0" y="73765"/>
                        <a:pt x="0" y="74403"/>
                        <a:pt x="639" y="75680"/>
                      </a:cubicBezTo>
                      <a:cubicBezTo>
                        <a:pt x="639" y="75680"/>
                        <a:pt x="639" y="76318"/>
                        <a:pt x="639" y="76318"/>
                      </a:cubicBezTo>
                      <a:lnTo>
                        <a:pt x="1278" y="77595"/>
                      </a:lnTo>
                      <a:lnTo>
                        <a:pt x="1917" y="78234"/>
                      </a:lnTo>
                      <a:cubicBezTo>
                        <a:pt x="2556" y="78872"/>
                        <a:pt x="3195" y="78872"/>
                        <a:pt x="3834" y="79510"/>
                      </a:cubicBezTo>
                      <a:lnTo>
                        <a:pt x="3834" y="79510"/>
                      </a:lnTo>
                      <a:lnTo>
                        <a:pt x="3834" y="79510"/>
                      </a:lnTo>
                      <a:cubicBezTo>
                        <a:pt x="4473" y="79510"/>
                        <a:pt x="5112" y="80149"/>
                        <a:pt x="6390" y="80149"/>
                      </a:cubicBezTo>
                      <a:lnTo>
                        <a:pt x="54314" y="80149"/>
                      </a:lnTo>
                      <a:cubicBezTo>
                        <a:pt x="58148" y="80149"/>
                        <a:pt x="60704" y="77595"/>
                        <a:pt x="60704" y="73765"/>
                      </a:cubicBezTo>
                      <a:cubicBezTo>
                        <a:pt x="60704" y="69934"/>
                        <a:pt x="58148" y="67381"/>
                        <a:pt x="54314" y="67381"/>
                      </a:cubicBezTo>
                      <a:lnTo>
                        <a:pt x="22365" y="67381"/>
                      </a:lnTo>
                      <a:lnTo>
                        <a:pt x="78596" y="11202"/>
                      </a:lnTo>
                      <a:cubicBezTo>
                        <a:pt x="81152" y="8648"/>
                        <a:pt x="81791" y="4818"/>
                        <a:pt x="79235" y="2264"/>
                      </a:cubicBezTo>
                      <a:cubicBezTo>
                        <a:pt x="76679" y="-290"/>
                        <a:pt x="72845" y="-928"/>
                        <a:pt x="70289" y="1626"/>
                      </a:cubicBezTo>
                      <a:cubicBezTo>
                        <a:pt x="69650" y="987"/>
                        <a:pt x="69650" y="987"/>
                        <a:pt x="69011" y="1626"/>
                      </a:cubicBezTo>
                      <a:lnTo>
                        <a:pt x="69011" y="1626"/>
                      </a:ln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4" name="Graphic 4">
                  <a:extLst>
                    <a:ext uri="{FF2B5EF4-FFF2-40B4-BE49-F238E27FC236}">
                      <a16:creationId xmlns:a16="http://schemas.microsoft.com/office/drawing/2014/main" id="{A69CA8ED-7BDA-42EC-C997-089C5B8224CE}"/>
                    </a:ext>
                  </a:extLst>
                </p:cNvPr>
                <p:cNvSpPr/>
                <p:nvPr/>
              </p:nvSpPr>
              <p:spPr>
                <a:xfrm>
                  <a:off x="548895" y="3056174"/>
                  <a:ext cx="79874" cy="79799"/>
                </a:xfrm>
                <a:custGeom>
                  <a:avLst/>
                  <a:gdLst>
                    <a:gd name="connsiteX0" fmla="*/ 79235 w 79874"/>
                    <a:gd name="connsiteY0" fmla="*/ 3830 h 79799"/>
                    <a:gd name="connsiteX1" fmla="*/ 79235 w 79874"/>
                    <a:gd name="connsiteY1" fmla="*/ 3830 h 79799"/>
                    <a:gd name="connsiteX2" fmla="*/ 79235 w 79874"/>
                    <a:gd name="connsiteY2" fmla="*/ 3830 h 79799"/>
                    <a:gd name="connsiteX3" fmla="*/ 77957 w 79874"/>
                    <a:gd name="connsiteY3" fmla="*/ 1915 h 79799"/>
                    <a:gd name="connsiteX4" fmla="*/ 77318 w 79874"/>
                    <a:gd name="connsiteY4" fmla="*/ 1277 h 79799"/>
                    <a:gd name="connsiteX5" fmla="*/ 76040 w 79874"/>
                    <a:gd name="connsiteY5" fmla="*/ 638 h 79799"/>
                    <a:gd name="connsiteX6" fmla="*/ 75401 w 79874"/>
                    <a:gd name="connsiteY6" fmla="*/ 638 h 79799"/>
                    <a:gd name="connsiteX7" fmla="*/ 73484 w 79874"/>
                    <a:gd name="connsiteY7" fmla="*/ 0 h 79799"/>
                    <a:gd name="connsiteX8" fmla="*/ 25560 w 79874"/>
                    <a:gd name="connsiteY8" fmla="*/ 0 h 79799"/>
                    <a:gd name="connsiteX9" fmla="*/ 19170 w 79874"/>
                    <a:gd name="connsiteY9" fmla="*/ 6384 h 79799"/>
                    <a:gd name="connsiteX10" fmla="*/ 25560 w 79874"/>
                    <a:gd name="connsiteY10" fmla="*/ 12768 h 79799"/>
                    <a:gd name="connsiteX11" fmla="*/ 58148 w 79874"/>
                    <a:gd name="connsiteY11" fmla="*/ 12768 h 79799"/>
                    <a:gd name="connsiteX12" fmla="*/ 1917 w 79874"/>
                    <a:gd name="connsiteY12" fmla="*/ 68947 h 79799"/>
                    <a:gd name="connsiteX13" fmla="*/ 1917 w 79874"/>
                    <a:gd name="connsiteY13" fmla="*/ 77884 h 79799"/>
                    <a:gd name="connsiteX14" fmla="*/ 1917 w 79874"/>
                    <a:gd name="connsiteY14" fmla="*/ 77884 h 79799"/>
                    <a:gd name="connsiteX15" fmla="*/ 6390 w 79874"/>
                    <a:gd name="connsiteY15" fmla="*/ 79800 h 79799"/>
                    <a:gd name="connsiteX16" fmla="*/ 10863 w 79874"/>
                    <a:gd name="connsiteY16" fmla="*/ 77884 h 79799"/>
                    <a:gd name="connsiteX17" fmla="*/ 67094 w 79874"/>
                    <a:gd name="connsiteY17" fmla="*/ 21706 h 79799"/>
                    <a:gd name="connsiteX18" fmla="*/ 67094 w 79874"/>
                    <a:gd name="connsiteY18" fmla="*/ 54264 h 79799"/>
                    <a:gd name="connsiteX19" fmla="*/ 73484 w 79874"/>
                    <a:gd name="connsiteY19" fmla="*/ 60648 h 79799"/>
                    <a:gd name="connsiteX20" fmla="*/ 79874 w 79874"/>
                    <a:gd name="connsiteY20" fmla="*/ 54264 h 79799"/>
                    <a:gd name="connsiteX21" fmla="*/ 79874 w 79874"/>
                    <a:gd name="connsiteY21" fmla="*/ 5746 h 79799"/>
                    <a:gd name="connsiteX22" fmla="*/ 79235 w 79874"/>
                    <a:gd name="connsiteY22" fmla="*/ 3830 h 79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79874" h="79799">
                      <a:moveTo>
                        <a:pt x="79235" y="3830"/>
                      </a:moveTo>
                      <a:lnTo>
                        <a:pt x="79235" y="3830"/>
                      </a:lnTo>
                      <a:lnTo>
                        <a:pt x="79235" y="3830"/>
                      </a:lnTo>
                      <a:cubicBezTo>
                        <a:pt x="79235" y="3192"/>
                        <a:pt x="78596" y="2554"/>
                        <a:pt x="77957" y="1915"/>
                      </a:cubicBezTo>
                      <a:lnTo>
                        <a:pt x="77318" y="1277"/>
                      </a:lnTo>
                      <a:cubicBezTo>
                        <a:pt x="76679" y="638"/>
                        <a:pt x="76679" y="638"/>
                        <a:pt x="76040" y="638"/>
                      </a:cubicBezTo>
                      <a:lnTo>
                        <a:pt x="75401" y="638"/>
                      </a:lnTo>
                      <a:cubicBezTo>
                        <a:pt x="74762" y="638"/>
                        <a:pt x="74123" y="0"/>
                        <a:pt x="73484" y="0"/>
                      </a:cubicBezTo>
                      <a:lnTo>
                        <a:pt x="25560" y="0"/>
                      </a:lnTo>
                      <a:cubicBezTo>
                        <a:pt x="21726" y="0"/>
                        <a:pt x="19170" y="2554"/>
                        <a:pt x="19170" y="6384"/>
                      </a:cubicBezTo>
                      <a:cubicBezTo>
                        <a:pt x="19170" y="10214"/>
                        <a:pt x="21726" y="12768"/>
                        <a:pt x="25560" y="12768"/>
                      </a:cubicBezTo>
                      <a:lnTo>
                        <a:pt x="58148" y="12768"/>
                      </a:lnTo>
                      <a:lnTo>
                        <a:pt x="1917" y="68947"/>
                      </a:lnTo>
                      <a:cubicBezTo>
                        <a:pt x="-639" y="71500"/>
                        <a:pt x="-639" y="75331"/>
                        <a:pt x="1917" y="77884"/>
                      </a:cubicBezTo>
                      <a:cubicBezTo>
                        <a:pt x="1917" y="77884"/>
                        <a:pt x="1917" y="77884"/>
                        <a:pt x="1917" y="77884"/>
                      </a:cubicBezTo>
                      <a:cubicBezTo>
                        <a:pt x="3195" y="79161"/>
                        <a:pt x="4473" y="79800"/>
                        <a:pt x="6390" y="79800"/>
                      </a:cubicBezTo>
                      <a:cubicBezTo>
                        <a:pt x="8307" y="79800"/>
                        <a:pt x="9585" y="79161"/>
                        <a:pt x="10863" y="77884"/>
                      </a:cubicBezTo>
                      <a:lnTo>
                        <a:pt x="67094" y="21706"/>
                      </a:lnTo>
                      <a:lnTo>
                        <a:pt x="67094" y="54264"/>
                      </a:lnTo>
                      <a:cubicBezTo>
                        <a:pt x="67094" y="58094"/>
                        <a:pt x="69650" y="60648"/>
                        <a:pt x="73484" y="60648"/>
                      </a:cubicBezTo>
                      <a:cubicBezTo>
                        <a:pt x="77318" y="60648"/>
                        <a:pt x="79874" y="58094"/>
                        <a:pt x="79874" y="54264"/>
                      </a:cubicBezTo>
                      <a:lnTo>
                        <a:pt x="79874" y="5746"/>
                      </a:lnTo>
                      <a:cubicBezTo>
                        <a:pt x="79874" y="5746"/>
                        <a:pt x="79874" y="4469"/>
                        <a:pt x="79235" y="3830"/>
                      </a:cubicBez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5" name="Graphic 4">
                  <a:extLst>
                    <a:ext uri="{FF2B5EF4-FFF2-40B4-BE49-F238E27FC236}">
                      <a16:creationId xmlns:a16="http://schemas.microsoft.com/office/drawing/2014/main" id="{EA770B6D-E4A8-2238-93F4-A97BB33E8E51}"/>
                    </a:ext>
                  </a:extLst>
                </p:cNvPr>
                <p:cNvSpPr/>
                <p:nvPr/>
              </p:nvSpPr>
              <p:spPr>
                <a:xfrm>
                  <a:off x="668387" y="3056174"/>
                  <a:ext cx="79874" cy="79799"/>
                </a:xfrm>
                <a:custGeom>
                  <a:avLst/>
                  <a:gdLst>
                    <a:gd name="connsiteX0" fmla="*/ 21726 w 79874"/>
                    <a:gd name="connsiteY0" fmla="*/ 12768 h 79799"/>
                    <a:gd name="connsiteX1" fmla="*/ 54314 w 79874"/>
                    <a:gd name="connsiteY1" fmla="*/ 12768 h 79799"/>
                    <a:gd name="connsiteX2" fmla="*/ 60704 w 79874"/>
                    <a:gd name="connsiteY2" fmla="*/ 6384 h 79799"/>
                    <a:gd name="connsiteX3" fmla="*/ 54314 w 79874"/>
                    <a:gd name="connsiteY3" fmla="*/ 0 h 79799"/>
                    <a:gd name="connsiteX4" fmla="*/ 6390 w 79874"/>
                    <a:gd name="connsiteY4" fmla="*/ 0 h 79799"/>
                    <a:gd name="connsiteX5" fmla="*/ 4473 w 79874"/>
                    <a:gd name="connsiteY5" fmla="*/ 638 h 79799"/>
                    <a:gd name="connsiteX6" fmla="*/ 3834 w 79874"/>
                    <a:gd name="connsiteY6" fmla="*/ 638 h 79799"/>
                    <a:gd name="connsiteX7" fmla="*/ 2556 w 79874"/>
                    <a:gd name="connsiteY7" fmla="*/ 1277 h 79799"/>
                    <a:gd name="connsiteX8" fmla="*/ 1917 w 79874"/>
                    <a:gd name="connsiteY8" fmla="*/ 1915 h 79799"/>
                    <a:gd name="connsiteX9" fmla="*/ 639 w 79874"/>
                    <a:gd name="connsiteY9" fmla="*/ 3830 h 79799"/>
                    <a:gd name="connsiteX10" fmla="*/ 639 w 79874"/>
                    <a:gd name="connsiteY10" fmla="*/ 3830 h 79799"/>
                    <a:gd name="connsiteX11" fmla="*/ 639 w 79874"/>
                    <a:gd name="connsiteY11" fmla="*/ 3830 h 79799"/>
                    <a:gd name="connsiteX12" fmla="*/ 0 w 79874"/>
                    <a:gd name="connsiteY12" fmla="*/ 6384 h 79799"/>
                    <a:gd name="connsiteX13" fmla="*/ 0 w 79874"/>
                    <a:gd name="connsiteY13" fmla="*/ 6384 h 79799"/>
                    <a:gd name="connsiteX14" fmla="*/ 0 w 79874"/>
                    <a:gd name="connsiteY14" fmla="*/ 54264 h 79799"/>
                    <a:gd name="connsiteX15" fmla="*/ 6390 w 79874"/>
                    <a:gd name="connsiteY15" fmla="*/ 60648 h 79799"/>
                    <a:gd name="connsiteX16" fmla="*/ 12780 w 79874"/>
                    <a:gd name="connsiteY16" fmla="*/ 54264 h 79799"/>
                    <a:gd name="connsiteX17" fmla="*/ 12780 w 79874"/>
                    <a:gd name="connsiteY17" fmla="*/ 21706 h 79799"/>
                    <a:gd name="connsiteX18" fmla="*/ 69011 w 79874"/>
                    <a:gd name="connsiteY18" fmla="*/ 77884 h 79799"/>
                    <a:gd name="connsiteX19" fmla="*/ 77957 w 79874"/>
                    <a:gd name="connsiteY19" fmla="*/ 77884 h 79799"/>
                    <a:gd name="connsiteX20" fmla="*/ 77957 w 79874"/>
                    <a:gd name="connsiteY20" fmla="*/ 68947 h 79799"/>
                    <a:gd name="connsiteX21" fmla="*/ 21726 w 79874"/>
                    <a:gd name="connsiteY21" fmla="*/ 12768 h 79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79874" h="79799">
                      <a:moveTo>
                        <a:pt x="21726" y="12768"/>
                      </a:moveTo>
                      <a:lnTo>
                        <a:pt x="54314" y="12768"/>
                      </a:lnTo>
                      <a:cubicBezTo>
                        <a:pt x="58148" y="12768"/>
                        <a:pt x="60704" y="10214"/>
                        <a:pt x="60704" y="6384"/>
                      </a:cubicBezTo>
                      <a:cubicBezTo>
                        <a:pt x="60704" y="2554"/>
                        <a:pt x="58148" y="0"/>
                        <a:pt x="54314" y="0"/>
                      </a:cubicBezTo>
                      <a:lnTo>
                        <a:pt x="6390" y="0"/>
                      </a:lnTo>
                      <a:cubicBezTo>
                        <a:pt x="5751" y="0"/>
                        <a:pt x="5112" y="0"/>
                        <a:pt x="4473" y="638"/>
                      </a:cubicBezTo>
                      <a:lnTo>
                        <a:pt x="3834" y="638"/>
                      </a:lnTo>
                      <a:cubicBezTo>
                        <a:pt x="3195" y="638"/>
                        <a:pt x="3195" y="1277"/>
                        <a:pt x="2556" y="1277"/>
                      </a:cubicBezTo>
                      <a:cubicBezTo>
                        <a:pt x="2556" y="1277"/>
                        <a:pt x="1917" y="1277"/>
                        <a:pt x="1917" y="1915"/>
                      </a:cubicBezTo>
                      <a:cubicBezTo>
                        <a:pt x="1278" y="2554"/>
                        <a:pt x="1278" y="3192"/>
                        <a:pt x="639" y="3830"/>
                      </a:cubicBezTo>
                      <a:lnTo>
                        <a:pt x="639" y="3830"/>
                      </a:lnTo>
                      <a:lnTo>
                        <a:pt x="639" y="3830"/>
                      </a:lnTo>
                      <a:cubicBezTo>
                        <a:pt x="639" y="4469"/>
                        <a:pt x="0" y="5107"/>
                        <a:pt x="0" y="6384"/>
                      </a:cubicBezTo>
                      <a:lnTo>
                        <a:pt x="0" y="6384"/>
                      </a:lnTo>
                      <a:lnTo>
                        <a:pt x="0" y="54264"/>
                      </a:lnTo>
                      <a:cubicBezTo>
                        <a:pt x="0" y="58094"/>
                        <a:pt x="2556" y="60648"/>
                        <a:pt x="6390" y="60648"/>
                      </a:cubicBezTo>
                      <a:cubicBezTo>
                        <a:pt x="10224" y="60648"/>
                        <a:pt x="12780" y="58094"/>
                        <a:pt x="12780" y="54264"/>
                      </a:cubicBezTo>
                      <a:lnTo>
                        <a:pt x="12780" y="21706"/>
                      </a:lnTo>
                      <a:lnTo>
                        <a:pt x="69011" y="77884"/>
                      </a:lnTo>
                      <a:cubicBezTo>
                        <a:pt x="71567" y="80438"/>
                        <a:pt x="75401" y="80438"/>
                        <a:pt x="77957" y="77884"/>
                      </a:cubicBezTo>
                      <a:cubicBezTo>
                        <a:pt x="80513" y="75331"/>
                        <a:pt x="80513" y="71500"/>
                        <a:pt x="77957" y="68947"/>
                      </a:cubicBezTo>
                      <a:lnTo>
                        <a:pt x="21726" y="12768"/>
                      </a:ln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6" name="Graphic 4">
                  <a:extLst>
                    <a:ext uri="{FF2B5EF4-FFF2-40B4-BE49-F238E27FC236}">
                      <a16:creationId xmlns:a16="http://schemas.microsoft.com/office/drawing/2014/main" id="{DB7C8120-3ACB-E445-1DED-C5465615FADB}"/>
                    </a:ext>
                  </a:extLst>
                </p:cNvPr>
                <p:cNvSpPr/>
                <p:nvPr/>
              </p:nvSpPr>
              <p:spPr>
                <a:xfrm>
                  <a:off x="548895" y="2936794"/>
                  <a:ext cx="79874" cy="79799"/>
                </a:xfrm>
                <a:custGeom>
                  <a:avLst/>
                  <a:gdLst>
                    <a:gd name="connsiteX0" fmla="*/ 73484 w 79874"/>
                    <a:gd name="connsiteY0" fmla="*/ 19152 h 79799"/>
                    <a:gd name="connsiteX1" fmla="*/ 67094 w 79874"/>
                    <a:gd name="connsiteY1" fmla="*/ 25536 h 79799"/>
                    <a:gd name="connsiteX2" fmla="*/ 67094 w 79874"/>
                    <a:gd name="connsiteY2" fmla="*/ 58094 h 79799"/>
                    <a:gd name="connsiteX3" fmla="*/ 10863 w 79874"/>
                    <a:gd name="connsiteY3" fmla="*/ 1915 h 79799"/>
                    <a:gd name="connsiteX4" fmla="*/ 1917 w 79874"/>
                    <a:gd name="connsiteY4" fmla="*/ 1915 h 79799"/>
                    <a:gd name="connsiteX5" fmla="*/ 1917 w 79874"/>
                    <a:gd name="connsiteY5" fmla="*/ 1915 h 79799"/>
                    <a:gd name="connsiteX6" fmla="*/ 1917 w 79874"/>
                    <a:gd name="connsiteY6" fmla="*/ 10853 h 79799"/>
                    <a:gd name="connsiteX7" fmla="*/ 58148 w 79874"/>
                    <a:gd name="connsiteY7" fmla="*/ 67032 h 79799"/>
                    <a:gd name="connsiteX8" fmla="*/ 25560 w 79874"/>
                    <a:gd name="connsiteY8" fmla="*/ 67032 h 79799"/>
                    <a:gd name="connsiteX9" fmla="*/ 19170 w 79874"/>
                    <a:gd name="connsiteY9" fmla="*/ 73416 h 79799"/>
                    <a:gd name="connsiteX10" fmla="*/ 25560 w 79874"/>
                    <a:gd name="connsiteY10" fmla="*/ 79800 h 79799"/>
                    <a:gd name="connsiteX11" fmla="*/ 73484 w 79874"/>
                    <a:gd name="connsiteY11" fmla="*/ 79800 h 79799"/>
                    <a:gd name="connsiteX12" fmla="*/ 76040 w 79874"/>
                    <a:gd name="connsiteY12" fmla="*/ 79161 h 79799"/>
                    <a:gd name="connsiteX13" fmla="*/ 76040 w 79874"/>
                    <a:gd name="connsiteY13" fmla="*/ 79161 h 79799"/>
                    <a:gd name="connsiteX14" fmla="*/ 76040 w 79874"/>
                    <a:gd name="connsiteY14" fmla="*/ 79161 h 79799"/>
                    <a:gd name="connsiteX15" fmla="*/ 77957 w 79874"/>
                    <a:gd name="connsiteY15" fmla="*/ 77885 h 79799"/>
                    <a:gd name="connsiteX16" fmla="*/ 78596 w 79874"/>
                    <a:gd name="connsiteY16" fmla="*/ 77246 h 79799"/>
                    <a:gd name="connsiteX17" fmla="*/ 79235 w 79874"/>
                    <a:gd name="connsiteY17" fmla="*/ 75969 h 79799"/>
                    <a:gd name="connsiteX18" fmla="*/ 79235 w 79874"/>
                    <a:gd name="connsiteY18" fmla="*/ 75331 h 79799"/>
                    <a:gd name="connsiteX19" fmla="*/ 79874 w 79874"/>
                    <a:gd name="connsiteY19" fmla="*/ 72777 h 79799"/>
                    <a:gd name="connsiteX20" fmla="*/ 79874 w 79874"/>
                    <a:gd name="connsiteY20" fmla="*/ 24897 h 79799"/>
                    <a:gd name="connsiteX21" fmla="*/ 73484 w 79874"/>
                    <a:gd name="connsiteY21" fmla="*/ 19152 h 79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79874" h="79799">
                      <a:moveTo>
                        <a:pt x="73484" y="19152"/>
                      </a:moveTo>
                      <a:cubicBezTo>
                        <a:pt x="69650" y="19152"/>
                        <a:pt x="67094" y="21706"/>
                        <a:pt x="67094" y="25536"/>
                      </a:cubicBezTo>
                      <a:lnTo>
                        <a:pt x="67094" y="58094"/>
                      </a:lnTo>
                      <a:lnTo>
                        <a:pt x="10863" y="1915"/>
                      </a:lnTo>
                      <a:cubicBezTo>
                        <a:pt x="8307" y="-638"/>
                        <a:pt x="4473" y="-638"/>
                        <a:pt x="1917" y="1915"/>
                      </a:cubicBezTo>
                      <a:cubicBezTo>
                        <a:pt x="1917" y="1915"/>
                        <a:pt x="1917" y="1915"/>
                        <a:pt x="1917" y="1915"/>
                      </a:cubicBezTo>
                      <a:cubicBezTo>
                        <a:pt x="-639" y="4469"/>
                        <a:pt x="-639" y="8299"/>
                        <a:pt x="1917" y="10853"/>
                      </a:cubicBezTo>
                      <a:lnTo>
                        <a:pt x="58148" y="67032"/>
                      </a:lnTo>
                      <a:lnTo>
                        <a:pt x="25560" y="67032"/>
                      </a:lnTo>
                      <a:cubicBezTo>
                        <a:pt x="21726" y="67032"/>
                        <a:pt x="19170" y="69585"/>
                        <a:pt x="19170" y="73416"/>
                      </a:cubicBezTo>
                      <a:cubicBezTo>
                        <a:pt x="19170" y="77246"/>
                        <a:pt x="21726" y="79800"/>
                        <a:pt x="25560" y="79800"/>
                      </a:cubicBezTo>
                      <a:lnTo>
                        <a:pt x="73484" y="79800"/>
                      </a:lnTo>
                      <a:cubicBezTo>
                        <a:pt x="74123" y="79800"/>
                        <a:pt x="75401" y="79800"/>
                        <a:pt x="76040" y="79161"/>
                      </a:cubicBezTo>
                      <a:lnTo>
                        <a:pt x="76040" y="79161"/>
                      </a:lnTo>
                      <a:lnTo>
                        <a:pt x="76040" y="79161"/>
                      </a:lnTo>
                      <a:cubicBezTo>
                        <a:pt x="76679" y="79161"/>
                        <a:pt x="77318" y="78523"/>
                        <a:pt x="77957" y="77885"/>
                      </a:cubicBezTo>
                      <a:lnTo>
                        <a:pt x="78596" y="77246"/>
                      </a:lnTo>
                      <a:cubicBezTo>
                        <a:pt x="79235" y="76608"/>
                        <a:pt x="79235" y="76608"/>
                        <a:pt x="79235" y="75969"/>
                      </a:cubicBezTo>
                      <a:cubicBezTo>
                        <a:pt x="79235" y="75969"/>
                        <a:pt x="79235" y="75331"/>
                        <a:pt x="79235" y="75331"/>
                      </a:cubicBezTo>
                      <a:cubicBezTo>
                        <a:pt x="79235" y="74693"/>
                        <a:pt x="79874" y="74054"/>
                        <a:pt x="79874" y="72777"/>
                      </a:cubicBezTo>
                      <a:lnTo>
                        <a:pt x="79874" y="24897"/>
                      </a:lnTo>
                      <a:cubicBezTo>
                        <a:pt x="79235" y="22344"/>
                        <a:pt x="76679" y="19152"/>
                        <a:pt x="73484" y="19152"/>
                      </a:cubicBez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0380C984-99C5-4F77-E992-33CE03D9C530}"/>
                </a:ext>
              </a:extLst>
            </p:cNvPr>
            <p:cNvGrpSpPr/>
            <p:nvPr/>
          </p:nvGrpSpPr>
          <p:grpSpPr>
            <a:xfrm>
              <a:off x="496995" y="2641127"/>
              <a:ext cx="2901571" cy="692815"/>
              <a:chOff x="3269273" y="2634251"/>
              <a:chExt cx="2901571" cy="692815"/>
            </a:xfrm>
          </p:grpSpPr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58CAB4CF-D561-25C1-AB1E-913901E32B38}"/>
                  </a:ext>
                </a:extLst>
              </p:cNvPr>
              <p:cNvSpPr/>
              <p:nvPr/>
            </p:nvSpPr>
            <p:spPr>
              <a:xfrm>
                <a:off x="3661722" y="2812479"/>
                <a:ext cx="2509122" cy="33526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r>
                  <a:rPr lang="hu-HU" sz="1600" b="1" dirty="0">
                    <a:solidFill>
                      <a:prstClr val="white"/>
                    </a:solidFill>
                    <a:latin typeface="+mj-lt"/>
                  </a:rPr>
                  <a:t>IT </a:t>
                </a:r>
                <a:r>
                  <a:rPr lang="en-US" sz="1600" b="1" dirty="0">
                    <a:solidFill>
                      <a:prstClr val="white"/>
                    </a:solidFill>
                    <a:latin typeface="+mj-lt"/>
                  </a:rPr>
                  <a:t>strategy</a:t>
                </a: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6493C11E-EA00-19C0-EEEE-23F0550B503B}"/>
                  </a:ext>
                </a:extLst>
              </p:cNvPr>
              <p:cNvSpPr/>
              <p:nvPr/>
            </p:nvSpPr>
            <p:spPr>
              <a:xfrm>
                <a:off x="3318708" y="2641038"/>
                <a:ext cx="686028" cy="68602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en-US" sz="1350" dirty="0">
                  <a:solidFill>
                    <a:prstClr val="white"/>
                  </a:solidFill>
                  <a:latin typeface="+mj-lt"/>
                </a:endParaRPr>
              </a:p>
            </p:txBody>
          </p:sp>
          <p:grpSp>
            <p:nvGrpSpPr>
              <p:cNvPr id="88" name="Graphic 4">
                <a:extLst>
                  <a:ext uri="{FF2B5EF4-FFF2-40B4-BE49-F238E27FC236}">
                    <a16:creationId xmlns:a16="http://schemas.microsoft.com/office/drawing/2014/main" id="{16269137-B244-47A1-61E2-8293375BFC49}"/>
                  </a:ext>
                </a:extLst>
              </p:cNvPr>
              <p:cNvGrpSpPr/>
              <p:nvPr/>
            </p:nvGrpSpPr>
            <p:grpSpPr>
              <a:xfrm>
                <a:off x="3269273" y="2634251"/>
                <a:ext cx="686027" cy="685387"/>
                <a:chOff x="1515054" y="918179"/>
                <a:chExt cx="362309" cy="361971"/>
              </a:xfrm>
              <a:solidFill>
                <a:schemeClr val="accent3"/>
              </a:solidFill>
            </p:grpSpPr>
            <p:sp>
              <p:nvSpPr>
                <p:cNvPr id="89" name="Graphic 4">
                  <a:extLst>
                    <a:ext uri="{FF2B5EF4-FFF2-40B4-BE49-F238E27FC236}">
                      <a16:creationId xmlns:a16="http://schemas.microsoft.com/office/drawing/2014/main" id="{3ABBDA14-625E-ACE0-AF29-DC639C9B68D6}"/>
                    </a:ext>
                  </a:extLst>
                </p:cNvPr>
                <p:cNvSpPr/>
                <p:nvPr/>
              </p:nvSpPr>
              <p:spPr>
                <a:xfrm>
                  <a:off x="1515054" y="918179"/>
                  <a:ext cx="362309" cy="361971"/>
                </a:xfrm>
                <a:custGeom>
                  <a:avLst/>
                  <a:gdLst>
                    <a:gd name="connsiteX0" fmla="*/ 180835 w 362309"/>
                    <a:gd name="connsiteY0" fmla="*/ 0 h 361971"/>
                    <a:gd name="connsiteX1" fmla="*/ 0 w 362309"/>
                    <a:gd name="connsiteY1" fmla="*/ 181305 h 361971"/>
                    <a:gd name="connsiteX2" fmla="*/ 180835 w 362309"/>
                    <a:gd name="connsiteY2" fmla="*/ 361972 h 361971"/>
                    <a:gd name="connsiteX3" fmla="*/ 362309 w 362309"/>
                    <a:gd name="connsiteY3" fmla="*/ 181305 h 361971"/>
                    <a:gd name="connsiteX4" fmla="*/ 180835 w 362309"/>
                    <a:gd name="connsiteY4" fmla="*/ 0 h 361971"/>
                    <a:gd name="connsiteX5" fmla="*/ 180835 w 362309"/>
                    <a:gd name="connsiteY5" fmla="*/ 0 h 361971"/>
                    <a:gd name="connsiteX6" fmla="*/ 180835 w 362309"/>
                    <a:gd name="connsiteY6" fmla="*/ 349204 h 361971"/>
                    <a:gd name="connsiteX7" fmla="*/ 12780 w 362309"/>
                    <a:gd name="connsiteY7" fmla="*/ 180667 h 361971"/>
                    <a:gd name="connsiteX8" fmla="*/ 180835 w 362309"/>
                    <a:gd name="connsiteY8" fmla="*/ 12768 h 361971"/>
                    <a:gd name="connsiteX9" fmla="*/ 349529 w 362309"/>
                    <a:gd name="connsiteY9" fmla="*/ 180667 h 361971"/>
                    <a:gd name="connsiteX10" fmla="*/ 180835 w 362309"/>
                    <a:gd name="connsiteY10" fmla="*/ 349204 h 3619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62309" h="361971">
                      <a:moveTo>
                        <a:pt x="180835" y="0"/>
                      </a:moveTo>
                      <a:cubicBezTo>
                        <a:pt x="80513" y="0"/>
                        <a:pt x="0" y="81077"/>
                        <a:pt x="0" y="181305"/>
                      </a:cubicBezTo>
                      <a:cubicBezTo>
                        <a:pt x="0" y="281534"/>
                        <a:pt x="81152" y="361972"/>
                        <a:pt x="180835" y="361972"/>
                      </a:cubicBezTo>
                      <a:cubicBezTo>
                        <a:pt x="280518" y="361972"/>
                        <a:pt x="362309" y="280895"/>
                        <a:pt x="362309" y="181305"/>
                      </a:cubicBezTo>
                      <a:cubicBezTo>
                        <a:pt x="362309" y="81715"/>
                        <a:pt x="280518" y="0"/>
                        <a:pt x="180835" y="0"/>
                      </a:cubicBezTo>
                      <a:lnTo>
                        <a:pt x="180835" y="0"/>
                      </a:lnTo>
                      <a:close/>
                      <a:moveTo>
                        <a:pt x="180835" y="349204"/>
                      </a:moveTo>
                      <a:cubicBezTo>
                        <a:pt x="87542" y="349204"/>
                        <a:pt x="12780" y="273873"/>
                        <a:pt x="12780" y="180667"/>
                      </a:cubicBezTo>
                      <a:cubicBezTo>
                        <a:pt x="12780" y="87461"/>
                        <a:pt x="88181" y="12768"/>
                        <a:pt x="180835" y="12768"/>
                      </a:cubicBezTo>
                      <a:cubicBezTo>
                        <a:pt x="274128" y="12768"/>
                        <a:pt x="349529" y="88099"/>
                        <a:pt x="349529" y="180667"/>
                      </a:cubicBezTo>
                      <a:cubicBezTo>
                        <a:pt x="348891" y="273873"/>
                        <a:pt x="273489" y="349204"/>
                        <a:pt x="180835" y="349204"/>
                      </a:cubicBez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0" name="Graphic 4">
                  <a:extLst>
                    <a:ext uri="{FF2B5EF4-FFF2-40B4-BE49-F238E27FC236}">
                      <a16:creationId xmlns:a16="http://schemas.microsoft.com/office/drawing/2014/main" id="{A007D53D-15D1-9B7A-5507-D063A1C70D91}"/>
                    </a:ext>
                  </a:extLst>
                </p:cNvPr>
                <p:cNvSpPr/>
                <p:nvPr/>
              </p:nvSpPr>
              <p:spPr>
                <a:xfrm>
                  <a:off x="1598123" y="1001809"/>
                  <a:ext cx="195532" cy="195349"/>
                </a:xfrm>
                <a:custGeom>
                  <a:avLst/>
                  <a:gdLst>
                    <a:gd name="connsiteX0" fmla="*/ 182113 w 195532"/>
                    <a:gd name="connsiteY0" fmla="*/ 0 h 195349"/>
                    <a:gd name="connsiteX1" fmla="*/ 13419 w 195532"/>
                    <a:gd name="connsiteY1" fmla="*/ 0 h 195349"/>
                    <a:gd name="connsiteX2" fmla="*/ 0 w 195532"/>
                    <a:gd name="connsiteY2" fmla="*/ 13406 h 195349"/>
                    <a:gd name="connsiteX3" fmla="*/ 0 w 195532"/>
                    <a:gd name="connsiteY3" fmla="*/ 181944 h 195349"/>
                    <a:gd name="connsiteX4" fmla="*/ 13419 w 195532"/>
                    <a:gd name="connsiteY4" fmla="*/ 195350 h 195349"/>
                    <a:gd name="connsiteX5" fmla="*/ 182113 w 195532"/>
                    <a:gd name="connsiteY5" fmla="*/ 195350 h 195349"/>
                    <a:gd name="connsiteX6" fmla="*/ 195532 w 195532"/>
                    <a:gd name="connsiteY6" fmla="*/ 181944 h 195349"/>
                    <a:gd name="connsiteX7" fmla="*/ 195532 w 195532"/>
                    <a:gd name="connsiteY7" fmla="*/ 13406 h 195349"/>
                    <a:gd name="connsiteX8" fmla="*/ 182113 w 195532"/>
                    <a:gd name="connsiteY8" fmla="*/ 0 h 195349"/>
                    <a:gd name="connsiteX9" fmla="*/ 182113 w 195532"/>
                    <a:gd name="connsiteY9" fmla="*/ 181305 h 195349"/>
                    <a:gd name="connsiteX10" fmla="*/ 182113 w 195532"/>
                    <a:gd name="connsiteY10" fmla="*/ 181305 h 195349"/>
                    <a:gd name="connsiteX11" fmla="*/ 13419 w 195532"/>
                    <a:gd name="connsiteY11" fmla="*/ 181944 h 195349"/>
                    <a:gd name="connsiteX12" fmla="*/ 12780 w 195532"/>
                    <a:gd name="connsiteY12" fmla="*/ 181305 h 195349"/>
                    <a:gd name="connsiteX13" fmla="*/ 12780 w 195532"/>
                    <a:gd name="connsiteY13" fmla="*/ 12768 h 195349"/>
                    <a:gd name="connsiteX14" fmla="*/ 13419 w 195532"/>
                    <a:gd name="connsiteY14" fmla="*/ 12130 h 195349"/>
                    <a:gd name="connsiteX15" fmla="*/ 182113 w 195532"/>
                    <a:gd name="connsiteY15" fmla="*/ 12130 h 195349"/>
                    <a:gd name="connsiteX16" fmla="*/ 182752 w 195532"/>
                    <a:gd name="connsiteY16" fmla="*/ 12768 h 195349"/>
                    <a:gd name="connsiteX17" fmla="*/ 182752 w 195532"/>
                    <a:gd name="connsiteY17" fmla="*/ 181305 h 1953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95532" h="195349">
                      <a:moveTo>
                        <a:pt x="182113" y="0"/>
                      </a:moveTo>
                      <a:lnTo>
                        <a:pt x="13419" y="0"/>
                      </a:lnTo>
                      <a:cubicBezTo>
                        <a:pt x="6390" y="0"/>
                        <a:pt x="0" y="5746"/>
                        <a:pt x="0" y="13406"/>
                      </a:cubicBezTo>
                      <a:lnTo>
                        <a:pt x="0" y="181944"/>
                      </a:lnTo>
                      <a:cubicBezTo>
                        <a:pt x="0" y="188966"/>
                        <a:pt x="5751" y="195350"/>
                        <a:pt x="13419" y="195350"/>
                      </a:cubicBezTo>
                      <a:lnTo>
                        <a:pt x="182113" y="195350"/>
                      </a:lnTo>
                      <a:cubicBezTo>
                        <a:pt x="189142" y="195350"/>
                        <a:pt x="195532" y="189604"/>
                        <a:pt x="195532" y="181944"/>
                      </a:cubicBezTo>
                      <a:lnTo>
                        <a:pt x="195532" y="13406"/>
                      </a:lnTo>
                      <a:cubicBezTo>
                        <a:pt x="194893" y="5746"/>
                        <a:pt x="189142" y="0"/>
                        <a:pt x="182113" y="0"/>
                      </a:cubicBezTo>
                      <a:close/>
                      <a:moveTo>
                        <a:pt x="182113" y="181305"/>
                      </a:moveTo>
                      <a:cubicBezTo>
                        <a:pt x="182113" y="181305"/>
                        <a:pt x="182113" y="181944"/>
                        <a:pt x="182113" y="181305"/>
                      </a:cubicBezTo>
                      <a:lnTo>
                        <a:pt x="13419" y="181944"/>
                      </a:lnTo>
                      <a:cubicBezTo>
                        <a:pt x="13419" y="181944"/>
                        <a:pt x="12780" y="181944"/>
                        <a:pt x="12780" y="181305"/>
                      </a:cubicBezTo>
                      <a:lnTo>
                        <a:pt x="12780" y="12768"/>
                      </a:lnTo>
                      <a:cubicBezTo>
                        <a:pt x="12780" y="12768"/>
                        <a:pt x="12780" y="12130"/>
                        <a:pt x="13419" y="12130"/>
                      </a:cubicBezTo>
                      <a:lnTo>
                        <a:pt x="182113" y="12130"/>
                      </a:lnTo>
                      <a:cubicBezTo>
                        <a:pt x="182113" y="12130"/>
                        <a:pt x="182752" y="12130"/>
                        <a:pt x="182752" y="12768"/>
                      </a:cubicBezTo>
                      <a:lnTo>
                        <a:pt x="182752" y="181305"/>
                      </a:ln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1" name="Graphic 4">
                  <a:extLst>
                    <a:ext uri="{FF2B5EF4-FFF2-40B4-BE49-F238E27FC236}">
                      <a16:creationId xmlns:a16="http://schemas.microsoft.com/office/drawing/2014/main" id="{0B617AF9-BB2D-251B-4CD0-F277558AB620}"/>
                    </a:ext>
                  </a:extLst>
                </p:cNvPr>
                <p:cNvSpPr/>
                <p:nvPr/>
              </p:nvSpPr>
              <p:spPr>
                <a:xfrm>
                  <a:off x="1628155" y="1031814"/>
                  <a:ext cx="60704" cy="60009"/>
                </a:xfrm>
                <a:custGeom>
                  <a:avLst/>
                  <a:gdLst>
                    <a:gd name="connsiteX0" fmla="*/ 47286 w 60704"/>
                    <a:gd name="connsiteY0" fmla="*/ 0 h 60009"/>
                    <a:gd name="connsiteX1" fmla="*/ 13419 w 60704"/>
                    <a:gd name="connsiteY1" fmla="*/ 0 h 60009"/>
                    <a:gd name="connsiteX2" fmla="*/ 0 w 60704"/>
                    <a:gd name="connsiteY2" fmla="*/ 12768 h 60009"/>
                    <a:gd name="connsiteX3" fmla="*/ 0 w 60704"/>
                    <a:gd name="connsiteY3" fmla="*/ 46603 h 60009"/>
                    <a:gd name="connsiteX4" fmla="*/ 13419 w 60704"/>
                    <a:gd name="connsiteY4" fmla="*/ 60009 h 60009"/>
                    <a:gd name="connsiteX5" fmla="*/ 13419 w 60704"/>
                    <a:gd name="connsiteY5" fmla="*/ 60009 h 60009"/>
                    <a:gd name="connsiteX6" fmla="*/ 47286 w 60704"/>
                    <a:gd name="connsiteY6" fmla="*/ 60009 h 60009"/>
                    <a:gd name="connsiteX7" fmla="*/ 60704 w 60704"/>
                    <a:gd name="connsiteY7" fmla="*/ 46603 h 60009"/>
                    <a:gd name="connsiteX8" fmla="*/ 60704 w 60704"/>
                    <a:gd name="connsiteY8" fmla="*/ 12768 h 60009"/>
                    <a:gd name="connsiteX9" fmla="*/ 47286 w 60704"/>
                    <a:gd name="connsiteY9" fmla="*/ 0 h 60009"/>
                    <a:gd name="connsiteX10" fmla="*/ 47286 w 60704"/>
                    <a:gd name="connsiteY10" fmla="*/ 47241 h 60009"/>
                    <a:gd name="connsiteX11" fmla="*/ 47286 w 60704"/>
                    <a:gd name="connsiteY11" fmla="*/ 47241 h 60009"/>
                    <a:gd name="connsiteX12" fmla="*/ 12780 w 60704"/>
                    <a:gd name="connsiteY12" fmla="*/ 47880 h 60009"/>
                    <a:gd name="connsiteX13" fmla="*/ 12141 w 60704"/>
                    <a:gd name="connsiteY13" fmla="*/ 47241 h 60009"/>
                    <a:gd name="connsiteX14" fmla="*/ 12141 w 60704"/>
                    <a:gd name="connsiteY14" fmla="*/ 12768 h 60009"/>
                    <a:gd name="connsiteX15" fmla="*/ 12780 w 60704"/>
                    <a:gd name="connsiteY15" fmla="*/ 12130 h 60009"/>
                    <a:gd name="connsiteX16" fmla="*/ 46647 w 60704"/>
                    <a:gd name="connsiteY16" fmla="*/ 12130 h 60009"/>
                    <a:gd name="connsiteX17" fmla="*/ 47286 w 60704"/>
                    <a:gd name="connsiteY17" fmla="*/ 12768 h 60009"/>
                    <a:gd name="connsiteX18" fmla="*/ 47286 w 60704"/>
                    <a:gd name="connsiteY18" fmla="*/ 47241 h 600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60704" h="60009">
                      <a:moveTo>
                        <a:pt x="47286" y="0"/>
                      </a:moveTo>
                      <a:lnTo>
                        <a:pt x="13419" y="0"/>
                      </a:lnTo>
                      <a:cubicBezTo>
                        <a:pt x="6390" y="0"/>
                        <a:pt x="639" y="5746"/>
                        <a:pt x="0" y="12768"/>
                      </a:cubicBezTo>
                      <a:lnTo>
                        <a:pt x="0" y="46603"/>
                      </a:lnTo>
                      <a:cubicBezTo>
                        <a:pt x="0" y="53625"/>
                        <a:pt x="5751" y="60009"/>
                        <a:pt x="13419" y="60009"/>
                      </a:cubicBezTo>
                      <a:lnTo>
                        <a:pt x="13419" y="60009"/>
                      </a:lnTo>
                      <a:lnTo>
                        <a:pt x="47286" y="60009"/>
                      </a:lnTo>
                      <a:cubicBezTo>
                        <a:pt x="54314" y="60009"/>
                        <a:pt x="60704" y="54264"/>
                        <a:pt x="60704" y="46603"/>
                      </a:cubicBezTo>
                      <a:lnTo>
                        <a:pt x="60704" y="12768"/>
                      </a:lnTo>
                      <a:cubicBezTo>
                        <a:pt x="60065" y="5746"/>
                        <a:pt x="54314" y="0"/>
                        <a:pt x="47286" y="0"/>
                      </a:cubicBezTo>
                      <a:close/>
                      <a:moveTo>
                        <a:pt x="47286" y="47241"/>
                      </a:moveTo>
                      <a:cubicBezTo>
                        <a:pt x="47286" y="47241"/>
                        <a:pt x="47286" y="47241"/>
                        <a:pt x="47286" y="47241"/>
                      </a:cubicBezTo>
                      <a:lnTo>
                        <a:pt x="12780" y="47880"/>
                      </a:lnTo>
                      <a:cubicBezTo>
                        <a:pt x="12780" y="47880"/>
                        <a:pt x="12141" y="47880"/>
                        <a:pt x="12141" y="47241"/>
                      </a:cubicBezTo>
                      <a:lnTo>
                        <a:pt x="12141" y="12768"/>
                      </a:lnTo>
                      <a:cubicBezTo>
                        <a:pt x="12141" y="12768"/>
                        <a:pt x="12141" y="12130"/>
                        <a:pt x="12780" y="12130"/>
                      </a:cubicBezTo>
                      <a:lnTo>
                        <a:pt x="46647" y="12130"/>
                      </a:lnTo>
                      <a:cubicBezTo>
                        <a:pt x="46647" y="12130"/>
                        <a:pt x="47286" y="12130"/>
                        <a:pt x="47286" y="12768"/>
                      </a:cubicBezTo>
                      <a:lnTo>
                        <a:pt x="47286" y="47241"/>
                      </a:ln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2" name="Graphic 4">
                  <a:extLst>
                    <a:ext uri="{FF2B5EF4-FFF2-40B4-BE49-F238E27FC236}">
                      <a16:creationId xmlns:a16="http://schemas.microsoft.com/office/drawing/2014/main" id="{47DBFF71-3333-27DB-AD78-261700F882B9}"/>
                    </a:ext>
                  </a:extLst>
                </p:cNvPr>
                <p:cNvSpPr/>
                <p:nvPr/>
              </p:nvSpPr>
              <p:spPr>
                <a:xfrm>
                  <a:off x="1628155" y="1106506"/>
                  <a:ext cx="60704" cy="60647"/>
                </a:xfrm>
                <a:custGeom>
                  <a:avLst/>
                  <a:gdLst>
                    <a:gd name="connsiteX0" fmla="*/ 47286 w 60704"/>
                    <a:gd name="connsiteY0" fmla="*/ 0 h 60647"/>
                    <a:gd name="connsiteX1" fmla="*/ 13419 w 60704"/>
                    <a:gd name="connsiteY1" fmla="*/ 0 h 60647"/>
                    <a:gd name="connsiteX2" fmla="*/ 0 w 60704"/>
                    <a:gd name="connsiteY2" fmla="*/ 13406 h 60647"/>
                    <a:gd name="connsiteX3" fmla="*/ 0 w 60704"/>
                    <a:gd name="connsiteY3" fmla="*/ 47242 h 60647"/>
                    <a:gd name="connsiteX4" fmla="*/ 13419 w 60704"/>
                    <a:gd name="connsiteY4" fmla="*/ 60648 h 60647"/>
                    <a:gd name="connsiteX5" fmla="*/ 47286 w 60704"/>
                    <a:gd name="connsiteY5" fmla="*/ 60648 h 60647"/>
                    <a:gd name="connsiteX6" fmla="*/ 60704 w 60704"/>
                    <a:gd name="connsiteY6" fmla="*/ 47242 h 60647"/>
                    <a:gd name="connsiteX7" fmla="*/ 60704 w 60704"/>
                    <a:gd name="connsiteY7" fmla="*/ 13406 h 60647"/>
                    <a:gd name="connsiteX8" fmla="*/ 47286 w 60704"/>
                    <a:gd name="connsiteY8" fmla="*/ 0 h 60647"/>
                    <a:gd name="connsiteX9" fmla="*/ 47286 w 60704"/>
                    <a:gd name="connsiteY9" fmla="*/ 47242 h 60647"/>
                    <a:gd name="connsiteX10" fmla="*/ 47286 w 60704"/>
                    <a:gd name="connsiteY10" fmla="*/ 47242 h 60647"/>
                    <a:gd name="connsiteX11" fmla="*/ 12780 w 60704"/>
                    <a:gd name="connsiteY11" fmla="*/ 47880 h 60647"/>
                    <a:gd name="connsiteX12" fmla="*/ 12141 w 60704"/>
                    <a:gd name="connsiteY12" fmla="*/ 47242 h 60647"/>
                    <a:gd name="connsiteX13" fmla="*/ 12141 w 60704"/>
                    <a:gd name="connsiteY13" fmla="*/ 13406 h 60647"/>
                    <a:gd name="connsiteX14" fmla="*/ 12780 w 60704"/>
                    <a:gd name="connsiteY14" fmla="*/ 12768 h 60647"/>
                    <a:gd name="connsiteX15" fmla="*/ 46647 w 60704"/>
                    <a:gd name="connsiteY15" fmla="*/ 12768 h 60647"/>
                    <a:gd name="connsiteX16" fmla="*/ 47286 w 60704"/>
                    <a:gd name="connsiteY16" fmla="*/ 13406 h 60647"/>
                    <a:gd name="connsiteX17" fmla="*/ 47286 w 60704"/>
                    <a:gd name="connsiteY17" fmla="*/ 47242 h 606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60704" h="60647">
                      <a:moveTo>
                        <a:pt x="47286" y="0"/>
                      </a:moveTo>
                      <a:lnTo>
                        <a:pt x="13419" y="0"/>
                      </a:lnTo>
                      <a:cubicBezTo>
                        <a:pt x="6390" y="0"/>
                        <a:pt x="0" y="5746"/>
                        <a:pt x="0" y="13406"/>
                      </a:cubicBezTo>
                      <a:lnTo>
                        <a:pt x="0" y="47242"/>
                      </a:lnTo>
                      <a:cubicBezTo>
                        <a:pt x="0" y="54264"/>
                        <a:pt x="5751" y="60648"/>
                        <a:pt x="13419" y="60648"/>
                      </a:cubicBezTo>
                      <a:lnTo>
                        <a:pt x="47286" y="60648"/>
                      </a:lnTo>
                      <a:cubicBezTo>
                        <a:pt x="54314" y="60648"/>
                        <a:pt x="60704" y="54902"/>
                        <a:pt x="60704" y="47242"/>
                      </a:cubicBezTo>
                      <a:lnTo>
                        <a:pt x="60704" y="13406"/>
                      </a:lnTo>
                      <a:cubicBezTo>
                        <a:pt x="60065" y="5746"/>
                        <a:pt x="54314" y="0"/>
                        <a:pt x="47286" y="0"/>
                      </a:cubicBezTo>
                      <a:close/>
                      <a:moveTo>
                        <a:pt x="47286" y="47242"/>
                      </a:moveTo>
                      <a:cubicBezTo>
                        <a:pt x="47286" y="47242"/>
                        <a:pt x="47286" y="47242"/>
                        <a:pt x="47286" y="47242"/>
                      </a:cubicBezTo>
                      <a:lnTo>
                        <a:pt x="12780" y="47880"/>
                      </a:lnTo>
                      <a:cubicBezTo>
                        <a:pt x="12780" y="47880"/>
                        <a:pt x="12141" y="47880"/>
                        <a:pt x="12141" y="47242"/>
                      </a:cubicBezTo>
                      <a:lnTo>
                        <a:pt x="12141" y="13406"/>
                      </a:lnTo>
                      <a:cubicBezTo>
                        <a:pt x="12141" y="13406"/>
                        <a:pt x="12141" y="12768"/>
                        <a:pt x="12780" y="12768"/>
                      </a:cubicBezTo>
                      <a:lnTo>
                        <a:pt x="46647" y="12768"/>
                      </a:lnTo>
                      <a:cubicBezTo>
                        <a:pt x="46647" y="12768"/>
                        <a:pt x="47286" y="12768"/>
                        <a:pt x="47286" y="13406"/>
                      </a:cubicBezTo>
                      <a:lnTo>
                        <a:pt x="47286" y="47242"/>
                      </a:ln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3" name="Graphic 4">
                  <a:extLst>
                    <a:ext uri="{FF2B5EF4-FFF2-40B4-BE49-F238E27FC236}">
                      <a16:creationId xmlns:a16="http://schemas.microsoft.com/office/drawing/2014/main" id="{223A2485-C03C-B085-A6B4-200899201810}"/>
                    </a:ext>
                  </a:extLst>
                </p:cNvPr>
                <p:cNvSpPr/>
                <p:nvPr/>
              </p:nvSpPr>
              <p:spPr>
                <a:xfrm>
                  <a:off x="1703557" y="1031814"/>
                  <a:ext cx="60065" cy="60647"/>
                </a:xfrm>
                <a:custGeom>
                  <a:avLst/>
                  <a:gdLst>
                    <a:gd name="connsiteX0" fmla="*/ 46646 w 60065"/>
                    <a:gd name="connsiteY0" fmla="*/ 0 h 60647"/>
                    <a:gd name="connsiteX1" fmla="*/ 13419 w 60065"/>
                    <a:gd name="connsiteY1" fmla="*/ 0 h 60647"/>
                    <a:gd name="connsiteX2" fmla="*/ 0 w 60065"/>
                    <a:gd name="connsiteY2" fmla="*/ 13406 h 60647"/>
                    <a:gd name="connsiteX3" fmla="*/ 0 w 60065"/>
                    <a:gd name="connsiteY3" fmla="*/ 47241 h 60647"/>
                    <a:gd name="connsiteX4" fmla="*/ 13419 w 60065"/>
                    <a:gd name="connsiteY4" fmla="*/ 60648 h 60647"/>
                    <a:gd name="connsiteX5" fmla="*/ 46646 w 60065"/>
                    <a:gd name="connsiteY5" fmla="*/ 60648 h 60647"/>
                    <a:gd name="connsiteX6" fmla="*/ 60065 w 60065"/>
                    <a:gd name="connsiteY6" fmla="*/ 47241 h 60647"/>
                    <a:gd name="connsiteX7" fmla="*/ 60065 w 60065"/>
                    <a:gd name="connsiteY7" fmla="*/ 12768 h 60647"/>
                    <a:gd name="connsiteX8" fmla="*/ 46646 w 60065"/>
                    <a:gd name="connsiteY8" fmla="*/ 0 h 60647"/>
                    <a:gd name="connsiteX9" fmla="*/ 47285 w 60065"/>
                    <a:gd name="connsiteY9" fmla="*/ 47241 h 60647"/>
                    <a:gd name="connsiteX10" fmla="*/ 47285 w 60065"/>
                    <a:gd name="connsiteY10" fmla="*/ 47241 h 60647"/>
                    <a:gd name="connsiteX11" fmla="*/ 13419 w 60065"/>
                    <a:gd name="connsiteY11" fmla="*/ 47880 h 60647"/>
                    <a:gd name="connsiteX12" fmla="*/ 12780 w 60065"/>
                    <a:gd name="connsiteY12" fmla="*/ 47241 h 60647"/>
                    <a:gd name="connsiteX13" fmla="*/ 12780 w 60065"/>
                    <a:gd name="connsiteY13" fmla="*/ 12768 h 60647"/>
                    <a:gd name="connsiteX14" fmla="*/ 12780 w 60065"/>
                    <a:gd name="connsiteY14" fmla="*/ 12130 h 60647"/>
                    <a:gd name="connsiteX15" fmla="*/ 12780 w 60065"/>
                    <a:gd name="connsiteY15" fmla="*/ 12130 h 60647"/>
                    <a:gd name="connsiteX16" fmla="*/ 46007 w 60065"/>
                    <a:gd name="connsiteY16" fmla="*/ 12130 h 60647"/>
                    <a:gd name="connsiteX17" fmla="*/ 46646 w 60065"/>
                    <a:gd name="connsiteY17" fmla="*/ 12130 h 60647"/>
                    <a:gd name="connsiteX18" fmla="*/ 46646 w 60065"/>
                    <a:gd name="connsiteY18" fmla="*/ 12130 h 60647"/>
                    <a:gd name="connsiteX19" fmla="*/ 46646 w 60065"/>
                    <a:gd name="connsiteY19" fmla="*/ 47241 h 606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60065" h="60647">
                      <a:moveTo>
                        <a:pt x="46646" y="0"/>
                      </a:moveTo>
                      <a:lnTo>
                        <a:pt x="13419" y="0"/>
                      </a:lnTo>
                      <a:cubicBezTo>
                        <a:pt x="6390" y="0"/>
                        <a:pt x="0" y="5746"/>
                        <a:pt x="0" y="13406"/>
                      </a:cubicBezTo>
                      <a:lnTo>
                        <a:pt x="0" y="47241"/>
                      </a:lnTo>
                      <a:cubicBezTo>
                        <a:pt x="0" y="54264"/>
                        <a:pt x="5751" y="60648"/>
                        <a:pt x="13419" y="60648"/>
                      </a:cubicBezTo>
                      <a:lnTo>
                        <a:pt x="46646" y="60648"/>
                      </a:lnTo>
                      <a:cubicBezTo>
                        <a:pt x="53675" y="60648"/>
                        <a:pt x="60065" y="54902"/>
                        <a:pt x="60065" y="47241"/>
                      </a:cubicBezTo>
                      <a:lnTo>
                        <a:pt x="60065" y="12768"/>
                      </a:lnTo>
                      <a:cubicBezTo>
                        <a:pt x="59426" y="5746"/>
                        <a:pt x="53675" y="0"/>
                        <a:pt x="46646" y="0"/>
                      </a:cubicBezTo>
                      <a:close/>
                      <a:moveTo>
                        <a:pt x="47285" y="47241"/>
                      </a:moveTo>
                      <a:cubicBezTo>
                        <a:pt x="47285" y="47241"/>
                        <a:pt x="46646" y="47241"/>
                        <a:pt x="47285" y="47241"/>
                      </a:cubicBezTo>
                      <a:lnTo>
                        <a:pt x="13419" y="47880"/>
                      </a:lnTo>
                      <a:cubicBezTo>
                        <a:pt x="13419" y="47880"/>
                        <a:pt x="12780" y="47880"/>
                        <a:pt x="12780" y="47241"/>
                      </a:cubicBezTo>
                      <a:lnTo>
                        <a:pt x="12780" y="12768"/>
                      </a:lnTo>
                      <a:cubicBezTo>
                        <a:pt x="12780" y="12768"/>
                        <a:pt x="12780" y="12130"/>
                        <a:pt x="12780" y="12130"/>
                      </a:cubicBezTo>
                      <a:cubicBezTo>
                        <a:pt x="12780" y="12130"/>
                        <a:pt x="12780" y="12130"/>
                        <a:pt x="12780" y="12130"/>
                      </a:cubicBezTo>
                      <a:lnTo>
                        <a:pt x="46007" y="12130"/>
                      </a:lnTo>
                      <a:cubicBezTo>
                        <a:pt x="46007" y="12130"/>
                        <a:pt x="46646" y="12130"/>
                        <a:pt x="46646" y="12130"/>
                      </a:cubicBezTo>
                      <a:cubicBezTo>
                        <a:pt x="46646" y="12130"/>
                        <a:pt x="46646" y="12130"/>
                        <a:pt x="46646" y="12130"/>
                      </a:cubicBezTo>
                      <a:lnTo>
                        <a:pt x="46646" y="47241"/>
                      </a:ln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4" name="Graphic 4">
                  <a:extLst>
                    <a:ext uri="{FF2B5EF4-FFF2-40B4-BE49-F238E27FC236}">
                      <a16:creationId xmlns:a16="http://schemas.microsoft.com/office/drawing/2014/main" id="{C7031A79-955E-C13F-182F-5BEB9C8EE51D}"/>
                    </a:ext>
                  </a:extLst>
                </p:cNvPr>
                <p:cNvSpPr/>
                <p:nvPr/>
              </p:nvSpPr>
              <p:spPr>
                <a:xfrm>
                  <a:off x="1704835" y="1107783"/>
                  <a:ext cx="58148" cy="58094"/>
                </a:xfrm>
                <a:custGeom>
                  <a:avLst/>
                  <a:gdLst>
                    <a:gd name="connsiteX0" fmla="*/ 51759 w 58148"/>
                    <a:gd name="connsiteY0" fmla="*/ 0 h 58094"/>
                    <a:gd name="connsiteX1" fmla="*/ 6390 w 58148"/>
                    <a:gd name="connsiteY1" fmla="*/ 0 h 58094"/>
                    <a:gd name="connsiteX2" fmla="*/ 0 w 58148"/>
                    <a:gd name="connsiteY2" fmla="*/ 6384 h 58094"/>
                    <a:gd name="connsiteX3" fmla="*/ 0 w 58148"/>
                    <a:gd name="connsiteY3" fmla="*/ 51710 h 58094"/>
                    <a:gd name="connsiteX4" fmla="*/ 6390 w 58148"/>
                    <a:gd name="connsiteY4" fmla="*/ 58094 h 58094"/>
                    <a:gd name="connsiteX5" fmla="*/ 12780 w 58148"/>
                    <a:gd name="connsiteY5" fmla="*/ 51710 h 58094"/>
                    <a:gd name="connsiteX6" fmla="*/ 12780 w 58148"/>
                    <a:gd name="connsiteY6" fmla="*/ 12768 h 58094"/>
                    <a:gd name="connsiteX7" fmla="*/ 51759 w 58148"/>
                    <a:gd name="connsiteY7" fmla="*/ 12768 h 58094"/>
                    <a:gd name="connsiteX8" fmla="*/ 58148 w 58148"/>
                    <a:gd name="connsiteY8" fmla="*/ 6384 h 58094"/>
                    <a:gd name="connsiteX9" fmla="*/ 51759 w 58148"/>
                    <a:gd name="connsiteY9" fmla="*/ 0 h 58094"/>
                    <a:gd name="connsiteX10" fmla="*/ 51759 w 58148"/>
                    <a:gd name="connsiteY10" fmla="*/ 0 h 580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8148" h="58094">
                      <a:moveTo>
                        <a:pt x="51759" y="0"/>
                      </a:moveTo>
                      <a:lnTo>
                        <a:pt x="6390" y="0"/>
                      </a:lnTo>
                      <a:cubicBezTo>
                        <a:pt x="2556" y="0"/>
                        <a:pt x="0" y="2554"/>
                        <a:pt x="0" y="6384"/>
                      </a:cubicBezTo>
                      <a:lnTo>
                        <a:pt x="0" y="51710"/>
                      </a:lnTo>
                      <a:cubicBezTo>
                        <a:pt x="0" y="55541"/>
                        <a:pt x="2556" y="58094"/>
                        <a:pt x="6390" y="58094"/>
                      </a:cubicBezTo>
                      <a:cubicBezTo>
                        <a:pt x="10224" y="58094"/>
                        <a:pt x="12780" y="55541"/>
                        <a:pt x="12780" y="51710"/>
                      </a:cubicBezTo>
                      <a:lnTo>
                        <a:pt x="12780" y="12768"/>
                      </a:lnTo>
                      <a:lnTo>
                        <a:pt x="51759" y="12768"/>
                      </a:lnTo>
                      <a:cubicBezTo>
                        <a:pt x="55593" y="12768"/>
                        <a:pt x="58148" y="10214"/>
                        <a:pt x="58148" y="6384"/>
                      </a:cubicBezTo>
                      <a:cubicBezTo>
                        <a:pt x="58148" y="2554"/>
                        <a:pt x="54954" y="0"/>
                        <a:pt x="51759" y="0"/>
                      </a:cubicBezTo>
                      <a:lnTo>
                        <a:pt x="51759" y="0"/>
                      </a:ln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5" name="Graphic 4">
                  <a:extLst>
                    <a:ext uri="{FF2B5EF4-FFF2-40B4-BE49-F238E27FC236}">
                      <a16:creationId xmlns:a16="http://schemas.microsoft.com/office/drawing/2014/main" id="{3AD075C6-3614-12F3-7898-7E3DE1C99017}"/>
                    </a:ext>
                  </a:extLst>
                </p:cNvPr>
                <p:cNvSpPr/>
                <p:nvPr/>
              </p:nvSpPr>
              <p:spPr>
                <a:xfrm>
                  <a:off x="1726561" y="1130127"/>
                  <a:ext cx="35783" cy="35750"/>
                </a:xfrm>
                <a:custGeom>
                  <a:avLst/>
                  <a:gdLst>
                    <a:gd name="connsiteX0" fmla="*/ 29394 w 35783"/>
                    <a:gd name="connsiteY0" fmla="*/ 0 h 35750"/>
                    <a:gd name="connsiteX1" fmla="*/ 23004 w 35783"/>
                    <a:gd name="connsiteY1" fmla="*/ 6384 h 35750"/>
                    <a:gd name="connsiteX2" fmla="*/ 23004 w 35783"/>
                    <a:gd name="connsiteY2" fmla="*/ 22982 h 35750"/>
                    <a:gd name="connsiteX3" fmla="*/ 6390 w 35783"/>
                    <a:gd name="connsiteY3" fmla="*/ 22982 h 35750"/>
                    <a:gd name="connsiteX4" fmla="*/ 0 w 35783"/>
                    <a:gd name="connsiteY4" fmla="*/ 29366 h 35750"/>
                    <a:gd name="connsiteX5" fmla="*/ 6390 w 35783"/>
                    <a:gd name="connsiteY5" fmla="*/ 35750 h 35750"/>
                    <a:gd name="connsiteX6" fmla="*/ 29394 w 35783"/>
                    <a:gd name="connsiteY6" fmla="*/ 35750 h 35750"/>
                    <a:gd name="connsiteX7" fmla="*/ 35783 w 35783"/>
                    <a:gd name="connsiteY7" fmla="*/ 29366 h 35750"/>
                    <a:gd name="connsiteX8" fmla="*/ 35783 w 35783"/>
                    <a:gd name="connsiteY8" fmla="*/ 6384 h 35750"/>
                    <a:gd name="connsiteX9" fmla="*/ 29394 w 35783"/>
                    <a:gd name="connsiteY9" fmla="*/ 0 h 35750"/>
                    <a:gd name="connsiteX10" fmla="*/ 29394 w 35783"/>
                    <a:gd name="connsiteY10" fmla="*/ 0 h 357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5783" h="35750">
                      <a:moveTo>
                        <a:pt x="29394" y="0"/>
                      </a:moveTo>
                      <a:cubicBezTo>
                        <a:pt x="25560" y="0"/>
                        <a:pt x="23004" y="2554"/>
                        <a:pt x="23004" y="6384"/>
                      </a:cubicBezTo>
                      <a:lnTo>
                        <a:pt x="23004" y="22982"/>
                      </a:lnTo>
                      <a:lnTo>
                        <a:pt x="6390" y="22982"/>
                      </a:lnTo>
                      <a:cubicBezTo>
                        <a:pt x="2556" y="22982"/>
                        <a:pt x="0" y="25536"/>
                        <a:pt x="0" y="29366"/>
                      </a:cubicBezTo>
                      <a:cubicBezTo>
                        <a:pt x="0" y="33197"/>
                        <a:pt x="2556" y="35750"/>
                        <a:pt x="6390" y="35750"/>
                      </a:cubicBezTo>
                      <a:lnTo>
                        <a:pt x="29394" y="35750"/>
                      </a:lnTo>
                      <a:cubicBezTo>
                        <a:pt x="33228" y="35750"/>
                        <a:pt x="35783" y="33197"/>
                        <a:pt x="35783" y="29366"/>
                      </a:cubicBezTo>
                      <a:lnTo>
                        <a:pt x="35783" y="6384"/>
                      </a:lnTo>
                      <a:cubicBezTo>
                        <a:pt x="35783" y="3192"/>
                        <a:pt x="33228" y="0"/>
                        <a:pt x="29394" y="0"/>
                      </a:cubicBezTo>
                      <a:cubicBezTo>
                        <a:pt x="29394" y="0"/>
                        <a:pt x="29394" y="0"/>
                        <a:pt x="29394" y="0"/>
                      </a:cubicBez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6" name="Graphic 4">
                  <a:extLst>
                    <a:ext uri="{FF2B5EF4-FFF2-40B4-BE49-F238E27FC236}">
                      <a16:creationId xmlns:a16="http://schemas.microsoft.com/office/drawing/2014/main" id="{9C769CCC-C995-E420-C295-F46BE411FD91}"/>
                    </a:ext>
                  </a:extLst>
                </p:cNvPr>
                <p:cNvSpPr/>
                <p:nvPr/>
              </p:nvSpPr>
              <p:spPr>
                <a:xfrm>
                  <a:off x="1650520" y="1053519"/>
                  <a:ext cx="15335" cy="15321"/>
                </a:xfrm>
                <a:custGeom>
                  <a:avLst/>
                  <a:gdLst>
                    <a:gd name="connsiteX0" fmla="*/ 15336 w 15335"/>
                    <a:gd name="connsiteY0" fmla="*/ 7661 h 15321"/>
                    <a:gd name="connsiteX1" fmla="*/ 7668 w 15335"/>
                    <a:gd name="connsiteY1" fmla="*/ 15322 h 15321"/>
                    <a:gd name="connsiteX2" fmla="*/ 0 w 15335"/>
                    <a:gd name="connsiteY2" fmla="*/ 7661 h 15321"/>
                    <a:gd name="connsiteX3" fmla="*/ 7668 w 15335"/>
                    <a:gd name="connsiteY3" fmla="*/ 0 h 15321"/>
                    <a:gd name="connsiteX4" fmla="*/ 15336 w 15335"/>
                    <a:gd name="connsiteY4" fmla="*/ 7661 h 1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335" h="15321">
                      <a:moveTo>
                        <a:pt x="15336" y="7661"/>
                      </a:moveTo>
                      <a:cubicBezTo>
                        <a:pt x="15336" y="11892"/>
                        <a:pt x="11903" y="15322"/>
                        <a:pt x="7668" y="15322"/>
                      </a:cubicBezTo>
                      <a:cubicBezTo>
                        <a:pt x="3433" y="15322"/>
                        <a:pt x="0" y="11892"/>
                        <a:pt x="0" y="7661"/>
                      </a:cubicBezTo>
                      <a:cubicBezTo>
                        <a:pt x="0" y="3430"/>
                        <a:pt x="3433" y="0"/>
                        <a:pt x="7668" y="0"/>
                      </a:cubicBezTo>
                      <a:cubicBezTo>
                        <a:pt x="11903" y="0"/>
                        <a:pt x="15336" y="3430"/>
                        <a:pt x="15336" y="7661"/>
                      </a:cubicBez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7" name="Graphic 4">
                  <a:extLst>
                    <a:ext uri="{FF2B5EF4-FFF2-40B4-BE49-F238E27FC236}">
                      <a16:creationId xmlns:a16="http://schemas.microsoft.com/office/drawing/2014/main" id="{2C90F5B8-B464-F5A5-57E1-5A9C75C3E3CC}"/>
                    </a:ext>
                  </a:extLst>
                </p:cNvPr>
                <p:cNvSpPr/>
                <p:nvPr/>
              </p:nvSpPr>
              <p:spPr>
                <a:xfrm>
                  <a:off x="1725922" y="1053519"/>
                  <a:ext cx="15335" cy="15321"/>
                </a:xfrm>
                <a:custGeom>
                  <a:avLst/>
                  <a:gdLst>
                    <a:gd name="connsiteX0" fmla="*/ 15336 w 15335"/>
                    <a:gd name="connsiteY0" fmla="*/ 7661 h 15321"/>
                    <a:gd name="connsiteX1" fmla="*/ 7668 w 15335"/>
                    <a:gd name="connsiteY1" fmla="*/ 15322 h 15321"/>
                    <a:gd name="connsiteX2" fmla="*/ 0 w 15335"/>
                    <a:gd name="connsiteY2" fmla="*/ 7661 h 15321"/>
                    <a:gd name="connsiteX3" fmla="*/ 7668 w 15335"/>
                    <a:gd name="connsiteY3" fmla="*/ 0 h 15321"/>
                    <a:gd name="connsiteX4" fmla="*/ 15336 w 15335"/>
                    <a:gd name="connsiteY4" fmla="*/ 7661 h 1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335" h="15321">
                      <a:moveTo>
                        <a:pt x="15336" y="7661"/>
                      </a:moveTo>
                      <a:cubicBezTo>
                        <a:pt x="15336" y="11892"/>
                        <a:pt x="11903" y="15322"/>
                        <a:pt x="7668" y="15322"/>
                      </a:cubicBezTo>
                      <a:cubicBezTo>
                        <a:pt x="3433" y="15322"/>
                        <a:pt x="0" y="11892"/>
                        <a:pt x="0" y="7661"/>
                      </a:cubicBezTo>
                      <a:cubicBezTo>
                        <a:pt x="0" y="3430"/>
                        <a:pt x="3433" y="0"/>
                        <a:pt x="7668" y="0"/>
                      </a:cubicBezTo>
                      <a:cubicBezTo>
                        <a:pt x="11903" y="0"/>
                        <a:pt x="15336" y="3430"/>
                        <a:pt x="15336" y="7661"/>
                      </a:cubicBez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8" name="Graphic 4">
                  <a:extLst>
                    <a:ext uri="{FF2B5EF4-FFF2-40B4-BE49-F238E27FC236}">
                      <a16:creationId xmlns:a16="http://schemas.microsoft.com/office/drawing/2014/main" id="{9DFAF069-4788-E0A7-46A5-37C703A1D409}"/>
                    </a:ext>
                  </a:extLst>
                </p:cNvPr>
                <p:cNvSpPr/>
                <p:nvPr/>
              </p:nvSpPr>
              <p:spPr>
                <a:xfrm>
                  <a:off x="1650520" y="1128850"/>
                  <a:ext cx="15335" cy="15321"/>
                </a:xfrm>
                <a:custGeom>
                  <a:avLst/>
                  <a:gdLst>
                    <a:gd name="connsiteX0" fmla="*/ 15336 w 15335"/>
                    <a:gd name="connsiteY0" fmla="*/ 7661 h 15321"/>
                    <a:gd name="connsiteX1" fmla="*/ 7668 w 15335"/>
                    <a:gd name="connsiteY1" fmla="*/ 15321 h 15321"/>
                    <a:gd name="connsiteX2" fmla="*/ 0 w 15335"/>
                    <a:gd name="connsiteY2" fmla="*/ 7661 h 15321"/>
                    <a:gd name="connsiteX3" fmla="*/ 7668 w 15335"/>
                    <a:gd name="connsiteY3" fmla="*/ 0 h 15321"/>
                    <a:gd name="connsiteX4" fmla="*/ 15336 w 15335"/>
                    <a:gd name="connsiteY4" fmla="*/ 7661 h 153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335" h="15321">
                      <a:moveTo>
                        <a:pt x="15336" y="7661"/>
                      </a:moveTo>
                      <a:cubicBezTo>
                        <a:pt x="15336" y="11892"/>
                        <a:pt x="11903" y="15321"/>
                        <a:pt x="7668" y="15321"/>
                      </a:cubicBezTo>
                      <a:cubicBezTo>
                        <a:pt x="3433" y="15321"/>
                        <a:pt x="0" y="11892"/>
                        <a:pt x="0" y="7661"/>
                      </a:cubicBezTo>
                      <a:cubicBezTo>
                        <a:pt x="0" y="3430"/>
                        <a:pt x="3433" y="0"/>
                        <a:pt x="7668" y="0"/>
                      </a:cubicBezTo>
                      <a:cubicBezTo>
                        <a:pt x="11903" y="0"/>
                        <a:pt x="15336" y="3430"/>
                        <a:pt x="15336" y="7661"/>
                      </a:cubicBez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cxnSp>
          <p:nvCxnSpPr>
            <p:cNvPr id="102" name="Straight Arrow Connector 101">
              <a:extLst>
                <a:ext uri="{FF2B5EF4-FFF2-40B4-BE49-F238E27FC236}">
                  <a16:creationId xmlns:a16="http://schemas.microsoft.com/office/drawing/2014/main" id="{1D51F3FD-6E76-6AA0-98AE-C0BD0D6881DA}"/>
                </a:ext>
              </a:extLst>
            </p:cNvPr>
            <p:cNvCxnSpPr>
              <a:cxnSpLocks/>
            </p:cNvCxnSpPr>
            <p:nvPr/>
          </p:nvCxnSpPr>
          <p:spPr>
            <a:xfrm>
              <a:off x="2136542" y="2074891"/>
              <a:ext cx="0" cy="470373"/>
            </a:xfrm>
            <a:prstGeom prst="straightConnector1">
              <a:avLst/>
            </a:prstGeom>
            <a:ln w="1270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B2DCEB25-9A47-3274-3FC3-0746EBA7C79E}"/>
                </a:ext>
              </a:extLst>
            </p:cNvPr>
            <p:cNvGrpSpPr/>
            <p:nvPr/>
          </p:nvGrpSpPr>
          <p:grpSpPr>
            <a:xfrm>
              <a:off x="489532" y="4281913"/>
              <a:ext cx="2901571" cy="695269"/>
              <a:chOff x="3078677" y="3119577"/>
              <a:chExt cx="2901571" cy="695269"/>
            </a:xfrm>
          </p:grpSpPr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C266CC8A-2F1F-E1AA-A678-8C1DDF57DB9F}"/>
                  </a:ext>
                </a:extLst>
              </p:cNvPr>
              <p:cNvSpPr/>
              <p:nvPr/>
            </p:nvSpPr>
            <p:spPr>
              <a:xfrm>
                <a:off x="3471126" y="3300259"/>
                <a:ext cx="2509122" cy="33526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r>
                  <a:rPr lang="hu-HU" sz="1600" b="1" dirty="0" err="1">
                    <a:solidFill>
                      <a:prstClr val="white"/>
                    </a:solidFill>
                    <a:latin typeface="+mj-lt"/>
                  </a:rPr>
                  <a:t>Integration</a:t>
                </a:r>
                <a:r>
                  <a:rPr lang="hu-HU" sz="1600" b="1" dirty="0">
                    <a:solidFill>
                      <a:prstClr val="white"/>
                    </a:solidFill>
                    <a:latin typeface="+mj-lt"/>
                  </a:rPr>
                  <a:t> </a:t>
                </a:r>
                <a:r>
                  <a:rPr lang="en-US" sz="1600" b="1" dirty="0">
                    <a:solidFill>
                      <a:prstClr val="white"/>
                    </a:solidFill>
                    <a:latin typeface="+mj-lt"/>
                  </a:rPr>
                  <a:t>strategy</a:t>
                </a:r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6463CB98-724B-95EC-8187-D3A7AABCDF5F}"/>
                  </a:ext>
                </a:extLst>
              </p:cNvPr>
              <p:cNvSpPr/>
              <p:nvPr/>
            </p:nvSpPr>
            <p:spPr>
              <a:xfrm>
                <a:off x="3128112" y="3128818"/>
                <a:ext cx="686028" cy="68602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en-US" sz="1350" dirty="0">
                  <a:solidFill>
                    <a:prstClr val="white"/>
                  </a:solidFill>
                  <a:latin typeface="+mj-lt"/>
                </a:endParaRPr>
              </a:p>
            </p:txBody>
          </p:sp>
          <p:grpSp>
            <p:nvGrpSpPr>
              <p:cNvPr id="117" name="Graphic 4">
                <a:extLst>
                  <a:ext uri="{FF2B5EF4-FFF2-40B4-BE49-F238E27FC236}">
                    <a16:creationId xmlns:a16="http://schemas.microsoft.com/office/drawing/2014/main" id="{5268D7FC-25E2-8087-E71B-964C596BFE26}"/>
                  </a:ext>
                </a:extLst>
              </p:cNvPr>
              <p:cNvGrpSpPr/>
              <p:nvPr/>
            </p:nvGrpSpPr>
            <p:grpSpPr>
              <a:xfrm>
                <a:off x="3078677" y="3119577"/>
                <a:ext cx="687960" cy="687318"/>
                <a:chOff x="2560447" y="1893013"/>
                <a:chExt cx="362309" cy="361971"/>
              </a:xfrm>
              <a:solidFill>
                <a:schemeClr val="accent1"/>
              </a:solidFill>
            </p:grpSpPr>
            <p:sp>
              <p:nvSpPr>
                <p:cNvPr id="118" name="Freeform 63">
                  <a:extLst>
                    <a:ext uri="{FF2B5EF4-FFF2-40B4-BE49-F238E27FC236}">
                      <a16:creationId xmlns:a16="http://schemas.microsoft.com/office/drawing/2014/main" id="{036C2F10-DAC7-B091-55F0-A38C8EFE12D1}"/>
                    </a:ext>
                  </a:extLst>
                </p:cNvPr>
                <p:cNvSpPr/>
                <p:nvPr/>
              </p:nvSpPr>
              <p:spPr>
                <a:xfrm>
                  <a:off x="2560447" y="1893013"/>
                  <a:ext cx="362309" cy="361971"/>
                </a:xfrm>
                <a:custGeom>
                  <a:avLst/>
                  <a:gdLst>
                    <a:gd name="connsiteX0" fmla="*/ 181474 w 362309"/>
                    <a:gd name="connsiteY0" fmla="*/ 0 h 361971"/>
                    <a:gd name="connsiteX1" fmla="*/ 0 w 362309"/>
                    <a:gd name="connsiteY1" fmla="*/ 180667 h 361971"/>
                    <a:gd name="connsiteX2" fmla="*/ 180835 w 362309"/>
                    <a:gd name="connsiteY2" fmla="*/ 361972 h 361971"/>
                    <a:gd name="connsiteX3" fmla="*/ 362309 w 362309"/>
                    <a:gd name="connsiteY3" fmla="*/ 181305 h 361971"/>
                    <a:gd name="connsiteX4" fmla="*/ 362309 w 362309"/>
                    <a:gd name="connsiteY4" fmla="*/ 181305 h 361971"/>
                    <a:gd name="connsiteX5" fmla="*/ 181474 w 362309"/>
                    <a:gd name="connsiteY5" fmla="*/ 0 h 361971"/>
                    <a:gd name="connsiteX6" fmla="*/ 181474 w 362309"/>
                    <a:gd name="connsiteY6" fmla="*/ 349204 h 361971"/>
                    <a:gd name="connsiteX7" fmla="*/ 12780 w 362309"/>
                    <a:gd name="connsiteY7" fmla="*/ 181305 h 361971"/>
                    <a:gd name="connsiteX8" fmla="*/ 180835 w 362309"/>
                    <a:gd name="connsiteY8" fmla="*/ 12768 h 361971"/>
                    <a:gd name="connsiteX9" fmla="*/ 349529 w 362309"/>
                    <a:gd name="connsiteY9" fmla="*/ 180667 h 361971"/>
                    <a:gd name="connsiteX10" fmla="*/ 349529 w 362309"/>
                    <a:gd name="connsiteY10" fmla="*/ 180667 h 361971"/>
                    <a:gd name="connsiteX11" fmla="*/ 181474 w 362309"/>
                    <a:gd name="connsiteY11" fmla="*/ 349204 h 3619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62309" h="361971">
                      <a:moveTo>
                        <a:pt x="181474" y="0"/>
                      </a:moveTo>
                      <a:cubicBezTo>
                        <a:pt x="81152" y="0"/>
                        <a:pt x="0" y="81077"/>
                        <a:pt x="0" y="180667"/>
                      </a:cubicBezTo>
                      <a:cubicBezTo>
                        <a:pt x="0" y="280895"/>
                        <a:pt x="81152" y="361972"/>
                        <a:pt x="180835" y="361972"/>
                      </a:cubicBezTo>
                      <a:cubicBezTo>
                        <a:pt x="281157" y="361972"/>
                        <a:pt x="362309" y="280895"/>
                        <a:pt x="362309" y="181305"/>
                      </a:cubicBezTo>
                      <a:lnTo>
                        <a:pt x="362309" y="181305"/>
                      </a:lnTo>
                      <a:cubicBezTo>
                        <a:pt x="362309" y="81077"/>
                        <a:pt x="281157" y="0"/>
                        <a:pt x="181474" y="0"/>
                      </a:cubicBezTo>
                      <a:close/>
                      <a:moveTo>
                        <a:pt x="181474" y="349204"/>
                      </a:moveTo>
                      <a:cubicBezTo>
                        <a:pt x="88181" y="349204"/>
                        <a:pt x="12780" y="273873"/>
                        <a:pt x="12780" y="181305"/>
                      </a:cubicBezTo>
                      <a:cubicBezTo>
                        <a:pt x="12780" y="88737"/>
                        <a:pt x="88181" y="12768"/>
                        <a:pt x="180835" y="12768"/>
                      </a:cubicBezTo>
                      <a:cubicBezTo>
                        <a:pt x="274128" y="12768"/>
                        <a:pt x="349529" y="88099"/>
                        <a:pt x="349529" y="180667"/>
                      </a:cubicBezTo>
                      <a:lnTo>
                        <a:pt x="349529" y="180667"/>
                      </a:lnTo>
                      <a:cubicBezTo>
                        <a:pt x="349529" y="273873"/>
                        <a:pt x="274128" y="349204"/>
                        <a:pt x="181474" y="349204"/>
                      </a:cubicBez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9" name="Freeform 64">
                  <a:extLst>
                    <a:ext uri="{FF2B5EF4-FFF2-40B4-BE49-F238E27FC236}">
                      <a16:creationId xmlns:a16="http://schemas.microsoft.com/office/drawing/2014/main" id="{EF76F404-DAAE-92ED-8391-6B875939A5F6}"/>
                    </a:ext>
                  </a:extLst>
                </p:cNvPr>
                <p:cNvSpPr/>
                <p:nvPr/>
              </p:nvSpPr>
              <p:spPr>
                <a:xfrm>
                  <a:off x="2651823" y="1984304"/>
                  <a:ext cx="53036" cy="52348"/>
                </a:xfrm>
                <a:custGeom>
                  <a:avLst/>
                  <a:gdLst>
                    <a:gd name="connsiteX0" fmla="*/ 47285 w 53036"/>
                    <a:gd name="connsiteY0" fmla="*/ 0 h 52348"/>
                    <a:gd name="connsiteX1" fmla="*/ 6390 w 53036"/>
                    <a:gd name="connsiteY1" fmla="*/ 0 h 52348"/>
                    <a:gd name="connsiteX2" fmla="*/ 0 w 53036"/>
                    <a:gd name="connsiteY2" fmla="*/ 6384 h 52348"/>
                    <a:gd name="connsiteX3" fmla="*/ 0 w 53036"/>
                    <a:gd name="connsiteY3" fmla="*/ 45965 h 52348"/>
                    <a:gd name="connsiteX4" fmla="*/ 6390 w 53036"/>
                    <a:gd name="connsiteY4" fmla="*/ 52349 h 52348"/>
                    <a:gd name="connsiteX5" fmla="*/ 12780 w 53036"/>
                    <a:gd name="connsiteY5" fmla="*/ 45965 h 52348"/>
                    <a:gd name="connsiteX6" fmla="*/ 12780 w 53036"/>
                    <a:gd name="connsiteY6" fmla="*/ 12768 h 52348"/>
                    <a:gd name="connsiteX7" fmla="*/ 46646 w 53036"/>
                    <a:gd name="connsiteY7" fmla="*/ 12768 h 52348"/>
                    <a:gd name="connsiteX8" fmla="*/ 53036 w 53036"/>
                    <a:gd name="connsiteY8" fmla="*/ 6384 h 52348"/>
                    <a:gd name="connsiteX9" fmla="*/ 47285 w 53036"/>
                    <a:gd name="connsiteY9" fmla="*/ 0 h 52348"/>
                    <a:gd name="connsiteX10" fmla="*/ 47285 w 53036"/>
                    <a:gd name="connsiteY10" fmla="*/ 0 h 52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3036" h="52348">
                      <a:moveTo>
                        <a:pt x="47285" y="0"/>
                      </a:moveTo>
                      <a:lnTo>
                        <a:pt x="6390" y="0"/>
                      </a:lnTo>
                      <a:cubicBezTo>
                        <a:pt x="2556" y="0"/>
                        <a:pt x="0" y="2554"/>
                        <a:pt x="0" y="6384"/>
                      </a:cubicBezTo>
                      <a:lnTo>
                        <a:pt x="0" y="45965"/>
                      </a:lnTo>
                      <a:cubicBezTo>
                        <a:pt x="0" y="49795"/>
                        <a:pt x="2556" y="52349"/>
                        <a:pt x="6390" y="52349"/>
                      </a:cubicBezTo>
                      <a:cubicBezTo>
                        <a:pt x="10224" y="52349"/>
                        <a:pt x="12780" y="49795"/>
                        <a:pt x="12780" y="45965"/>
                      </a:cubicBezTo>
                      <a:lnTo>
                        <a:pt x="12780" y="12768"/>
                      </a:lnTo>
                      <a:lnTo>
                        <a:pt x="46646" y="12768"/>
                      </a:lnTo>
                      <a:cubicBezTo>
                        <a:pt x="50480" y="12768"/>
                        <a:pt x="53036" y="10214"/>
                        <a:pt x="53036" y="6384"/>
                      </a:cubicBezTo>
                      <a:cubicBezTo>
                        <a:pt x="53036" y="2554"/>
                        <a:pt x="50480" y="0"/>
                        <a:pt x="47285" y="0"/>
                      </a:cubicBezTo>
                      <a:lnTo>
                        <a:pt x="47285" y="0"/>
                      </a:ln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0" name="Freeform 65">
                  <a:extLst>
                    <a:ext uri="{FF2B5EF4-FFF2-40B4-BE49-F238E27FC236}">
                      <a16:creationId xmlns:a16="http://schemas.microsoft.com/office/drawing/2014/main" id="{32B1D2A9-7056-9A99-BAD9-79CB740123CF}"/>
                    </a:ext>
                  </a:extLst>
                </p:cNvPr>
                <p:cNvSpPr/>
                <p:nvPr/>
              </p:nvSpPr>
              <p:spPr>
                <a:xfrm>
                  <a:off x="2651184" y="2110707"/>
                  <a:ext cx="52397" cy="52348"/>
                </a:xfrm>
                <a:custGeom>
                  <a:avLst/>
                  <a:gdLst>
                    <a:gd name="connsiteX0" fmla="*/ 46008 w 52397"/>
                    <a:gd name="connsiteY0" fmla="*/ 40219 h 52348"/>
                    <a:gd name="connsiteX1" fmla="*/ 12780 w 52397"/>
                    <a:gd name="connsiteY1" fmla="*/ 40219 h 52348"/>
                    <a:gd name="connsiteX2" fmla="*/ 12780 w 52397"/>
                    <a:gd name="connsiteY2" fmla="*/ 6384 h 52348"/>
                    <a:gd name="connsiteX3" fmla="*/ 6390 w 52397"/>
                    <a:gd name="connsiteY3" fmla="*/ 0 h 52348"/>
                    <a:gd name="connsiteX4" fmla="*/ 0 w 52397"/>
                    <a:gd name="connsiteY4" fmla="*/ 6384 h 52348"/>
                    <a:gd name="connsiteX5" fmla="*/ 0 w 52397"/>
                    <a:gd name="connsiteY5" fmla="*/ 45965 h 52348"/>
                    <a:gd name="connsiteX6" fmla="*/ 6390 w 52397"/>
                    <a:gd name="connsiteY6" fmla="*/ 52349 h 52348"/>
                    <a:gd name="connsiteX7" fmla="*/ 46008 w 52397"/>
                    <a:gd name="connsiteY7" fmla="*/ 52349 h 52348"/>
                    <a:gd name="connsiteX8" fmla="*/ 52398 w 52397"/>
                    <a:gd name="connsiteY8" fmla="*/ 45965 h 52348"/>
                    <a:gd name="connsiteX9" fmla="*/ 46008 w 52397"/>
                    <a:gd name="connsiteY9" fmla="*/ 40219 h 52348"/>
                    <a:gd name="connsiteX10" fmla="*/ 46008 w 52397"/>
                    <a:gd name="connsiteY10" fmla="*/ 40219 h 52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2397" h="52348">
                      <a:moveTo>
                        <a:pt x="46008" y="40219"/>
                      </a:moveTo>
                      <a:lnTo>
                        <a:pt x="12780" y="40219"/>
                      </a:lnTo>
                      <a:lnTo>
                        <a:pt x="12780" y="6384"/>
                      </a:lnTo>
                      <a:cubicBezTo>
                        <a:pt x="12780" y="2554"/>
                        <a:pt x="10224" y="0"/>
                        <a:pt x="6390" y="0"/>
                      </a:cubicBezTo>
                      <a:cubicBezTo>
                        <a:pt x="2556" y="0"/>
                        <a:pt x="0" y="2554"/>
                        <a:pt x="0" y="6384"/>
                      </a:cubicBezTo>
                      <a:lnTo>
                        <a:pt x="0" y="45965"/>
                      </a:lnTo>
                      <a:cubicBezTo>
                        <a:pt x="0" y="49795"/>
                        <a:pt x="2556" y="52349"/>
                        <a:pt x="6390" y="52349"/>
                      </a:cubicBezTo>
                      <a:lnTo>
                        <a:pt x="46008" y="52349"/>
                      </a:lnTo>
                      <a:cubicBezTo>
                        <a:pt x="49842" y="52349"/>
                        <a:pt x="52398" y="49795"/>
                        <a:pt x="52398" y="45965"/>
                      </a:cubicBezTo>
                      <a:cubicBezTo>
                        <a:pt x="52398" y="42134"/>
                        <a:pt x="49203" y="39581"/>
                        <a:pt x="46008" y="40219"/>
                      </a:cubicBezTo>
                      <a:lnTo>
                        <a:pt x="46008" y="40219"/>
                      </a:ln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1" name="Freeform 66">
                  <a:extLst>
                    <a:ext uri="{FF2B5EF4-FFF2-40B4-BE49-F238E27FC236}">
                      <a16:creationId xmlns:a16="http://schemas.microsoft.com/office/drawing/2014/main" id="{AE1E1A7A-899C-5FD3-747F-E2BFAA43D1BD}"/>
                    </a:ext>
                  </a:extLst>
                </p:cNvPr>
                <p:cNvSpPr/>
                <p:nvPr/>
              </p:nvSpPr>
              <p:spPr>
                <a:xfrm>
                  <a:off x="2779622" y="2111984"/>
                  <a:ext cx="51758" cy="52348"/>
                </a:xfrm>
                <a:custGeom>
                  <a:avLst/>
                  <a:gdLst>
                    <a:gd name="connsiteX0" fmla="*/ 45369 w 51758"/>
                    <a:gd name="connsiteY0" fmla="*/ 0 h 52348"/>
                    <a:gd name="connsiteX1" fmla="*/ 38979 w 51758"/>
                    <a:gd name="connsiteY1" fmla="*/ 6384 h 52348"/>
                    <a:gd name="connsiteX2" fmla="*/ 38979 w 51758"/>
                    <a:gd name="connsiteY2" fmla="*/ 39581 h 52348"/>
                    <a:gd name="connsiteX3" fmla="*/ 6390 w 51758"/>
                    <a:gd name="connsiteY3" fmla="*/ 39581 h 52348"/>
                    <a:gd name="connsiteX4" fmla="*/ 0 w 51758"/>
                    <a:gd name="connsiteY4" fmla="*/ 45965 h 52348"/>
                    <a:gd name="connsiteX5" fmla="*/ 6390 w 51758"/>
                    <a:gd name="connsiteY5" fmla="*/ 52349 h 52348"/>
                    <a:gd name="connsiteX6" fmla="*/ 45369 w 51758"/>
                    <a:gd name="connsiteY6" fmla="*/ 52349 h 52348"/>
                    <a:gd name="connsiteX7" fmla="*/ 51759 w 51758"/>
                    <a:gd name="connsiteY7" fmla="*/ 45965 h 52348"/>
                    <a:gd name="connsiteX8" fmla="*/ 51759 w 51758"/>
                    <a:gd name="connsiteY8" fmla="*/ 6384 h 52348"/>
                    <a:gd name="connsiteX9" fmla="*/ 45369 w 51758"/>
                    <a:gd name="connsiteY9" fmla="*/ 0 h 52348"/>
                    <a:gd name="connsiteX10" fmla="*/ 45369 w 51758"/>
                    <a:gd name="connsiteY10" fmla="*/ 0 h 52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1758" h="52348">
                      <a:moveTo>
                        <a:pt x="45369" y="0"/>
                      </a:moveTo>
                      <a:cubicBezTo>
                        <a:pt x="41535" y="0"/>
                        <a:pt x="38979" y="2554"/>
                        <a:pt x="38979" y="6384"/>
                      </a:cubicBezTo>
                      <a:lnTo>
                        <a:pt x="38979" y="39581"/>
                      </a:lnTo>
                      <a:lnTo>
                        <a:pt x="6390" y="39581"/>
                      </a:lnTo>
                      <a:cubicBezTo>
                        <a:pt x="2556" y="39581"/>
                        <a:pt x="0" y="42134"/>
                        <a:pt x="0" y="45965"/>
                      </a:cubicBezTo>
                      <a:cubicBezTo>
                        <a:pt x="0" y="49795"/>
                        <a:pt x="2556" y="52349"/>
                        <a:pt x="6390" y="52349"/>
                      </a:cubicBezTo>
                      <a:lnTo>
                        <a:pt x="45369" y="52349"/>
                      </a:lnTo>
                      <a:cubicBezTo>
                        <a:pt x="49203" y="52349"/>
                        <a:pt x="51759" y="49795"/>
                        <a:pt x="51759" y="45965"/>
                      </a:cubicBezTo>
                      <a:lnTo>
                        <a:pt x="51759" y="6384"/>
                      </a:lnTo>
                      <a:cubicBezTo>
                        <a:pt x="51759" y="2554"/>
                        <a:pt x="49203" y="0"/>
                        <a:pt x="45369" y="0"/>
                      </a:cubicBezTo>
                      <a:lnTo>
                        <a:pt x="45369" y="0"/>
                      </a:ln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2" name="Freeform 67">
                  <a:extLst>
                    <a:ext uri="{FF2B5EF4-FFF2-40B4-BE49-F238E27FC236}">
                      <a16:creationId xmlns:a16="http://schemas.microsoft.com/office/drawing/2014/main" id="{78581BD8-146C-EA01-A6F9-23B48BF285A0}"/>
                    </a:ext>
                  </a:extLst>
                </p:cNvPr>
                <p:cNvSpPr/>
                <p:nvPr/>
              </p:nvSpPr>
              <p:spPr>
                <a:xfrm>
                  <a:off x="2780900" y="1983665"/>
                  <a:ext cx="51119" cy="51710"/>
                </a:xfrm>
                <a:custGeom>
                  <a:avLst/>
                  <a:gdLst>
                    <a:gd name="connsiteX0" fmla="*/ 44730 w 51119"/>
                    <a:gd name="connsiteY0" fmla="*/ 0 h 51710"/>
                    <a:gd name="connsiteX1" fmla="*/ 6390 w 51119"/>
                    <a:gd name="connsiteY1" fmla="*/ 0 h 51710"/>
                    <a:gd name="connsiteX2" fmla="*/ 0 w 51119"/>
                    <a:gd name="connsiteY2" fmla="*/ 6384 h 51710"/>
                    <a:gd name="connsiteX3" fmla="*/ 6390 w 51119"/>
                    <a:gd name="connsiteY3" fmla="*/ 12768 h 51710"/>
                    <a:gd name="connsiteX4" fmla="*/ 38340 w 51119"/>
                    <a:gd name="connsiteY4" fmla="*/ 12768 h 51710"/>
                    <a:gd name="connsiteX5" fmla="*/ 38340 w 51119"/>
                    <a:gd name="connsiteY5" fmla="*/ 45326 h 51710"/>
                    <a:gd name="connsiteX6" fmla="*/ 44730 w 51119"/>
                    <a:gd name="connsiteY6" fmla="*/ 51710 h 51710"/>
                    <a:gd name="connsiteX7" fmla="*/ 51119 w 51119"/>
                    <a:gd name="connsiteY7" fmla="*/ 45326 h 51710"/>
                    <a:gd name="connsiteX8" fmla="*/ 51119 w 51119"/>
                    <a:gd name="connsiteY8" fmla="*/ 6384 h 51710"/>
                    <a:gd name="connsiteX9" fmla="*/ 44730 w 51119"/>
                    <a:gd name="connsiteY9" fmla="*/ 0 h 517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1119" h="51710">
                      <a:moveTo>
                        <a:pt x="44730" y="0"/>
                      </a:moveTo>
                      <a:lnTo>
                        <a:pt x="6390" y="0"/>
                      </a:lnTo>
                      <a:cubicBezTo>
                        <a:pt x="2556" y="0"/>
                        <a:pt x="0" y="2554"/>
                        <a:pt x="0" y="6384"/>
                      </a:cubicBezTo>
                      <a:cubicBezTo>
                        <a:pt x="0" y="10214"/>
                        <a:pt x="2556" y="12768"/>
                        <a:pt x="6390" y="12768"/>
                      </a:cubicBezTo>
                      <a:lnTo>
                        <a:pt x="38340" y="12768"/>
                      </a:lnTo>
                      <a:lnTo>
                        <a:pt x="38340" y="45326"/>
                      </a:lnTo>
                      <a:cubicBezTo>
                        <a:pt x="38340" y="49157"/>
                        <a:pt x="40896" y="51710"/>
                        <a:pt x="44730" y="51710"/>
                      </a:cubicBezTo>
                      <a:cubicBezTo>
                        <a:pt x="48563" y="51710"/>
                        <a:pt x="51119" y="49157"/>
                        <a:pt x="51119" y="45326"/>
                      </a:cubicBezTo>
                      <a:lnTo>
                        <a:pt x="51119" y="6384"/>
                      </a:lnTo>
                      <a:cubicBezTo>
                        <a:pt x="51119" y="3192"/>
                        <a:pt x="48563" y="0"/>
                        <a:pt x="44730" y="0"/>
                      </a:cubicBezTo>
                      <a:close/>
                    </a:path>
                  </a:pathLst>
                </a:custGeom>
                <a:grpFill/>
                <a:ln w="639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cxnSp>
          <p:nvCxnSpPr>
            <p:cNvPr id="134" name="Straight Arrow Connector 133">
              <a:extLst>
                <a:ext uri="{FF2B5EF4-FFF2-40B4-BE49-F238E27FC236}">
                  <a16:creationId xmlns:a16="http://schemas.microsoft.com/office/drawing/2014/main" id="{51D45781-5860-1F5D-1FCD-BCCE77EF5C36}"/>
                </a:ext>
              </a:extLst>
            </p:cNvPr>
            <p:cNvCxnSpPr>
              <a:cxnSpLocks/>
            </p:cNvCxnSpPr>
            <p:nvPr/>
          </p:nvCxnSpPr>
          <p:spPr>
            <a:xfrm>
              <a:off x="2136542" y="3625866"/>
              <a:ext cx="0" cy="470373"/>
            </a:xfrm>
            <a:prstGeom prst="straightConnector1">
              <a:avLst/>
            </a:prstGeom>
            <a:ln w="1270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 Placeholder 27">
            <a:extLst>
              <a:ext uri="{FF2B5EF4-FFF2-40B4-BE49-F238E27FC236}">
                <a16:creationId xmlns:a16="http://schemas.microsoft.com/office/drawing/2014/main" id="{1183DFE6-458C-DD70-9A6F-9E55869CF8B6}"/>
              </a:ext>
            </a:extLst>
          </p:cNvPr>
          <p:cNvSpPr txBox="1">
            <a:spLocks/>
          </p:cNvSpPr>
          <p:nvPr/>
        </p:nvSpPr>
        <p:spPr>
          <a:xfrm>
            <a:off x="501198" y="1101544"/>
            <a:ext cx="2257975" cy="49739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sz="1600" dirty="0">
                <a:latin typeface="+mj-lt"/>
              </a:rPr>
              <a:t>A rendszerintegrációs szolgáltatás legizgalmasabb része a stratégiai és szabályozó keretrendszer megalkotása, melynek vannak függőségei, fegyverhordozói, ugyanakkor testre kell szabni.</a:t>
            </a:r>
            <a:endParaRPr lang="en-US" sz="16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97680036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AD2270-E335-4B25-9479-9641996328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881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AD2270-E335-4B25-9479-964199632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CF5878-E500-4DEF-AB4F-0DA9187B5E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 pitchFamily="50" charset="0"/>
              <a:ea typeface="+mn-ea"/>
              <a:cs typeface="+mn-cs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22F353-239C-4F9C-9C2B-0006F1686A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7681" y="298265"/>
            <a:ext cx="11201400" cy="342900"/>
          </a:xfrm>
        </p:spPr>
        <p:txBody>
          <a:bodyPr vert="horz"/>
          <a:lstStyle/>
          <a:p>
            <a:r>
              <a:rPr lang="hu-HU" dirty="0">
                <a:latin typeface="+mj-lt"/>
              </a:rPr>
              <a:t>Integrációs stratégia </a:t>
            </a:r>
            <a:endParaRPr lang="en-US" dirty="0">
              <a:latin typeface="+mj-lt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D276245-7721-24AE-DF34-FF7A2DB4C34C}"/>
              </a:ext>
            </a:extLst>
          </p:cNvPr>
          <p:cNvSpPr txBox="1">
            <a:spLocks/>
          </p:cNvSpPr>
          <p:nvPr/>
        </p:nvSpPr>
        <p:spPr>
          <a:xfrm>
            <a:off x="9002250" y="1941041"/>
            <a:ext cx="2696831" cy="12858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+mj-lt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098DD73-B7F0-6E71-7109-E149B2C96B7D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690959" y="1205608"/>
            <a:ext cx="10810081" cy="4850953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5124C50-D100-75B5-DE75-093FD2C10328}"/>
              </a:ext>
            </a:extLst>
          </p:cNvPr>
          <p:cNvSpPr txBox="1">
            <a:spLocks/>
          </p:cNvSpPr>
          <p:nvPr/>
        </p:nvSpPr>
        <p:spPr>
          <a:xfrm>
            <a:off x="497681" y="645066"/>
            <a:ext cx="11201400" cy="334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dirty="0">
                <a:latin typeface="+mj-lt"/>
              </a:rPr>
              <a:t>Tartalmazza a jelenlegi állapotot és a célzott változást legalább 5 évre vonatkozóan</a:t>
            </a:r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30628843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AD2270-E335-4B25-9479-9641996328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5163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AD2270-E335-4B25-9479-964199632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CF5878-E500-4DEF-AB4F-0DA9187B5E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 pitchFamily="50" charset="0"/>
              <a:ea typeface="+mn-ea"/>
              <a:cs typeface="+mn-cs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22F353-239C-4F9C-9C2B-0006F1686A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7681" y="298265"/>
            <a:ext cx="11201400" cy="342900"/>
          </a:xfrm>
        </p:spPr>
        <p:txBody>
          <a:bodyPr vert="horz"/>
          <a:lstStyle/>
          <a:p>
            <a:r>
              <a:rPr lang="hu-HU" dirty="0">
                <a:latin typeface="+mj-lt"/>
              </a:rPr>
              <a:t>Integrációs stratégia és szabályzat</a:t>
            </a:r>
            <a:endParaRPr lang="en-US" dirty="0">
              <a:latin typeface="+mj-lt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3C872B8-FECD-7CC1-D26C-B84422E48030}"/>
              </a:ext>
            </a:extLst>
          </p:cNvPr>
          <p:cNvSpPr txBox="1">
            <a:spLocks/>
          </p:cNvSpPr>
          <p:nvPr/>
        </p:nvSpPr>
        <p:spPr>
          <a:xfrm>
            <a:off x="497681" y="645066"/>
            <a:ext cx="11201400" cy="334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+mj-lt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D276245-7721-24AE-DF34-FF7A2DB4C34C}"/>
              </a:ext>
            </a:extLst>
          </p:cNvPr>
          <p:cNvSpPr txBox="1">
            <a:spLocks/>
          </p:cNvSpPr>
          <p:nvPr/>
        </p:nvSpPr>
        <p:spPr>
          <a:xfrm>
            <a:off x="9002250" y="1941041"/>
            <a:ext cx="2696831" cy="12858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+mj-lt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66B5BDF-C70A-611D-9711-FD09B19D543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3674"/>
          <a:stretch/>
        </p:blipFill>
        <p:spPr>
          <a:xfrm>
            <a:off x="1850244" y="1274983"/>
            <a:ext cx="4135180" cy="53594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2E29F90-0621-F817-7D4C-7FEE6874B8B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43397" y="1274983"/>
            <a:ext cx="4517706" cy="414779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171E3E7-1766-4D55-89BB-7BEB1A121AA3}"/>
              </a:ext>
            </a:extLst>
          </p:cNvPr>
          <p:cNvSpPr/>
          <p:nvPr/>
        </p:nvSpPr>
        <p:spPr>
          <a:xfrm>
            <a:off x="1850244" y="904745"/>
            <a:ext cx="4135180" cy="3702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hu-HU" sz="1600" b="1" dirty="0">
                <a:solidFill>
                  <a:prstClr val="black"/>
                </a:solidFill>
                <a:latin typeface="+mj-lt"/>
              </a:rPr>
              <a:t>Integrációs stratégia TOC</a:t>
            </a:r>
            <a:endParaRPr lang="en-US" sz="1600" b="1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5046E2F-5E48-71DB-37D7-1E6F089B0357}"/>
              </a:ext>
            </a:extLst>
          </p:cNvPr>
          <p:cNvSpPr/>
          <p:nvPr/>
        </p:nvSpPr>
        <p:spPr>
          <a:xfrm>
            <a:off x="6743397" y="904325"/>
            <a:ext cx="4517706" cy="3702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hu-HU" sz="1600" b="1" dirty="0">
                <a:solidFill>
                  <a:prstClr val="black"/>
                </a:solidFill>
                <a:latin typeface="+mj-lt"/>
              </a:rPr>
              <a:t>Integrációs szabályzat TOC</a:t>
            </a:r>
            <a:endParaRPr lang="en-US" sz="1600" b="1" dirty="0">
              <a:solidFill>
                <a:prstClr val="black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34492222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AD2270-E335-4B25-9479-9641996328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6070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AD2270-E335-4B25-9479-964199632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CF5878-E500-4DEF-AB4F-0DA9187B5E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 pitchFamily="50" charset="0"/>
              <a:ea typeface="+mn-ea"/>
              <a:cs typeface="+mn-cs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22F353-239C-4F9C-9C2B-0006F1686A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7681" y="298265"/>
            <a:ext cx="11201400" cy="342900"/>
          </a:xfrm>
        </p:spPr>
        <p:txBody>
          <a:bodyPr vert="horz"/>
          <a:lstStyle/>
          <a:p>
            <a:r>
              <a:rPr lang="hu-HU" dirty="0">
                <a:latin typeface="+mj-lt"/>
              </a:rPr>
              <a:t>Integrációs sablonok</a:t>
            </a:r>
            <a:endParaRPr lang="en-US" dirty="0">
              <a:latin typeface="+mj-lt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3C872B8-FECD-7CC1-D26C-B84422E48030}"/>
              </a:ext>
            </a:extLst>
          </p:cNvPr>
          <p:cNvSpPr txBox="1">
            <a:spLocks/>
          </p:cNvSpPr>
          <p:nvPr/>
        </p:nvSpPr>
        <p:spPr>
          <a:xfrm>
            <a:off x="497681" y="645066"/>
            <a:ext cx="11201400" cy="334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+mj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5F507D2-6108-5834-3A1E-8ABCE59B81C5}"/>
              </a:ext>
            </a:extLst>
          </p:cNvPr>
          <p:cNvGrpSpPr/>
          <p:nvPr/>
        </p:nvGrpSpPr>
        <p:grpSpPr>
          <a:xfrm>
            <a:off x="1290837" y="735423"/>
            <a:ext cx="9610325" cy="5387153"/>
            <a:chOff x="2594375" y="1657351"/>
            <a:chExt cx="7359251" cy="4125294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A835935-9038-2848-629E-0E1185B34B19}"/>
                </a:ext>
              </a:extLst>
            </p:cNvPr>
            <p:cNvSpPr/>
            <p:nvPr/>
          </p:nvSpPr>
          <p:spPr bwMode="gray">
            <a:xfrm>
              <a:off x="2594375" y="1657351"/>
              <a:ext cx="7359251" cy="412296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ctr" defTabSz="685800"/>
              <a:endParaRPr lang="hu-HU" sz="1350">
                <a:solidFill>
                  <a:prstClr val="black"/>
                </a:solidFill>
                <a:latin typeface="Open Sans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F878FB78-E6F9-DC52-BE4D-3E4B1EAD5B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594375" y="1657351"/>
              <a:ext cx="7355097" cy="41252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02406377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AD2270-E335-4B25-9479-9641996328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0063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AD2270-E335-4B25-9479-964199632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CF5878-E500-4DEF-AB4F-0DA9187B5E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 pitchFamily="50" charset="0"/>
              <a:ea typeface="+mn-ea"/>
              <a:cs typeface="+mn-cs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22F353-239C-4F9C-9C2B-0006F1686A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7681" y="298265"/>
            <a:ext cx="11201400" cy="342900"/>
          </a:xfrm>
        </p:spPr>
        <p:txBody>
          <a:bodyPr vert="horz"/>
          <a:lstStyle/>
          <a:p>
            <a:r>
              <a:rPr lang="hu-HU" dirty="0"/>
              <a:t>Jó-jó, beszélgetünk-barátkozunk, de hogy lesz így üzlet? </a:t>
            </a:r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3C872B8-FECD-7CC1-D26C-B84422E48030}"/>
              </a:ext>
            </a:extLst>
          </p:cNvPr>
          <p:cNvSpPr txBox="1">
            <a:spLocks/>
          </p:cNvSpPr>
          <p:nvPr/>
        </p:nvSpPr>
        <p:spPr>
          <a:xfrm>
            <a:off x="497681" y="645066"/>
            <a:ext cx="11201400" cy="334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dirty="0">
                <a:latin typeface="+mj-lt"/>
              </a:rPr>
              <a:t>Vállalati esetek SI </a:t>
            </a:r>
            <a:endParaRPr lang="en-US" dirty="0">
              <a:latin typeface="+mj-lt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EBE6B90-04EE-5686-A233-A40322C50802}"/>
              </a:ext>
            </a:extLst>
          </p:cNvPr>
          <p:cNvCxnSpPr>
            <a:cxnSpLocks/>
          </p:cNvCxnSpPr>
          <p:nvPr/>
        </p:nvCxnSpPr>
        <p:spPr>
          <a:xfrm flipV="1">
            <a:off x="3716511" y="1883451"/>
            <a:ext cx="0" cy="444173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B0136E3-8C96-554D-F16D-0E1F0241720D}"/>
              </a:ext>
            </a:extLst>
          </p:cNvPr>
          <p:cNvCxnSpPr>
            <a:cxnSpLocks/>
            <a:stCxn id="33" idx="3"/>
            <a:endCxn id="19" idx="2"/>
          </p:cNvCxnSpPr>
          <p:nvPr/>
        </p:nvCxnSpPr>
        <p:spPr>
          <a:xfrm>
            <a:off x="1039461" y="2274782"/>
            <a:ext cx="2632705" cy="4093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CD5AC8D-F402-6F7F-CFF5-55D76E84407C}"/>
              </a:ext>
            </a:extLst>
          </p:cNvPr>
          <p:cNvCxnSpPr>
            <a:cxnSpLocks/>
          </p:cNvCxnSpPr>
          <p:nvPr/>
        </p:nvCxnSpPr>
        <p:spPr>
          <a:xfrm>
            <a:off x="3747950" y="3255619"/>
            <a:ext cx="263983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35D21B-56CD-FB4B-693B-582A3D0ED9BC}"/>
              </a:ext>
            </a:extLst>
          </p:cNvPr>
          <p:cNvCxnSpPr>
            <a:cxnSpLocks/>
            <a:stCxn id="43" idx="3"/>
            <a:endCxn id="21" idx="2"/>
          </p:cNvCxnSpPr>
          <p:nvPr/>
        </p:nvCxnSpPr>
        <p:spPr>
          <a:xfrm>
            <a:off x="1045240" y="4436022"/>
            <a:ext cx="2626926" cy="1458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val 18">
            <a:extLst>
              <a:ext uri="{FF2B5EF4-FFF2-40B4-BE49-F238E27FC236}">
                <a16:creationId xmlns:a16="http://schemas.microsoft.com/office/drawing/2014/main" id="{D4602A66-158B-1C06-0BEC-7985E80A7C10}"/>
              </a:ext>
            </a:extLst>
          </p:cNvPr>
          <p:cNvSpPr/>
          <p:nvPr/>
        </p:nvSpPr>
        <p:spPr>
          <a:xfrm>
            <a:off x="3672166" y="2234527"/>
            <a:ext cx="88695" cy="8869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prstClr val="white"/>
              </a:solidFill>
              <a:latin typeface="Open Sans" panose="020B0606030504020204" pitchFamily="34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8F7A8F8-416C-09BD-6572-7428186E091A}"/>
              </a:ext>
            </a:extLst>
          </p:cNvPr>
          <p:cNvSpPr/>
          <p:nvPr/>
        </p:nvSpPr>
        <p:spPr>
          <a:xfrm>
            <a:off x="3672166" y="3211272"/>
            <a:ext cx="88695" cy="8869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prstClr val="white"/>
              </a:solidFill>
              <a:latin typeface="Open Sans" panose="020B0606030504020204" pitchFamily="34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965C151C-F8A7-2F25-1750-79179878A2D9}"/>
              </a:ext>
            </a:extLst>
          </p:cNvPr>
          <p:cNvSpPr/>
          <p:nvPr/>
        </p:nvSpPr>
        <p:spPr>
          <a:xfrm>
            <a:off x="3672166" y="4393132"/>
            <a:ext cx="88695" cy="8869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prstClr val="white"/>
              </a:solidFill>
              <a:latin typeface="Open Sans" panose="020B0606030504020204" pitchFamily="34" charset="0"/>
            </a:endParaRPr>
          </a:p>
        </p:txBody>
      </p:sp>
      <p:sp>
        <p:nvSpPr>
          <p:cNvPr id="29" name="Graphic 4">
            <a:extLst>
              <a:ext uri="{FF2B5EF4-FFF2-40B4-BE49-F238E27FC236}">
                <a16:creationId xmlns:a16="http://schemas.microsoft.com/office/drawing/2014/main" id="{08709BEE-EF99-9D13-3F89-7BB65408F7CA}"/>
              </a:ext>
            </a:extLst>
          </p:cNvPr>
          <p:cNvSpPr>
            <a:spLocks noChangeAspect="1"/>
          </p:cNvSpPr>
          <p:nvPr/>
        </p:nvSpPr>
        <p:spPr>
          <a:xfrm>
            <a:off x="6388797" y="2985980"/>
            <a:ext cx="539782" cy="539278"/>
          </a:xfrm>
          <a:custGeom>
            <a:avLst/>
            <a:gdLst>
              <a:gd name="connsiteX0" fmla="*/ 180835 w 362309"/>
              <a:gd name="connsiteY0" fmla="*/ 0 h 361971"/>
              <a:gd name="connsiteX1" fmla="*/ 0 w 362309"/>
              <a:gd name="connsiteY1" fmla="*/ 180667 h 361971"/>
              <a:gd name="connsiteX2" fmla="*/ 180835 w 362309"/>
              <a:gd name="connsiteY2" fmla="*/ 361971 h 361971"/>
              <a:gd name="connsiteX3" fmla="*/ 362309 w 362309"/>
              <a:gd name="connsiteY3" fmla="*/ 180667 h 361971"/>
              <a:gd name="connsiteX4" fmla="*/ 362309 w 362309"/>
              <a:gd name="connsiteY4" fmla="*/ 180667 h 361971"/>
              <a:gd name="connsiteX5" fmla="*/ 180835 w 362309"/>
              <a:gd name="connsiteY5" fmla="*/ 0 h 361971"/>
              <a:gd name="connsiteX6" fmla="*/ 74123 w 362309"/>
              <a:gd name="connsiteY6" fmla="*/ 181305 h 361971"/>
              <a:gd name="connsiteX7" fmla="*/ 80513 w 362309"/>
              <a:gd name="connsiteY7" fmla="*/ 174921 h 361971"/>
              <a:gd name="connsiteX8" fmla="*/ 194254 w 362309"/>
              <a:gd name="connsiteY8" fmla="*/ 174921 h 361971"/>
              <a:gd name="connsiteX9" fmla="*/ 174445 w 362309"/>
              <a:gd name="connsiteY9" fmla="*/ 155131 h 361971"/>
              <a:gd name="connsiteX10" fmla="*/ 173806 w 362309"/>
              <a:gd name="connsiteY10" fmla="*/ 146193 h 361971"/>
              <a:gd name="connsiteX11" fmla="*/ 182752 w 362309"/>
              <a:gd name="connsiteY11" fmla="*/ 145555 h 361971"/>
              <a:gd name="connsiteX12" fmla="*/ 183391 w 362309"/>
              <a:gd name="connsiteY12" fmla="*/ 146193 h 361971"/>
              <a:gd name="connsiteX13" fmla="*/ 214063 w 362309"/>
              <a:gd name="connsiteY13" fmla="*/ 176198 h 361971"/>
              <a:gd name="connsiteX14" fmla="*/ 215341 w 362309"/>
              <a:gd name="connsiteY14" fmla="*/ 178113 h 361971"/>
              <a:gd name="connsiteX15" fmla="*/ 215341 w 362309"/>
              <a:gd name="connsiteY15" fmla="*/ 183220 h 361971"/>
              <a:gd name="connsiteX16" fmla="*/ 214063 w 362309"/>
              <a:gd name="connsiteY16" fmla="*/ 185135 h 361971"/>
              <a:gd name="connsiteX17" fmla="*/ 183391 w 362309"/>
              <a:gd name="connsiteY17" fmla="*/ 215779 h 361971"/>
              <a:gd name="connsiteX18" fmla="*/ 178918 w 362309"/>
              <a:gd name="connsiteY18" fmla="*/ 217694 h 361971"/>
              <a:gd name="connsiteX19" fmla="*/ 174445 w 362309"/>
              <a:gd name="connsiteY19" fmla="*/ 215779 h 361971"/>
              <a:gd name="connsiteX20" fmla="*/ 174445 w 362309"/>
              <a:gd name="connsiteY20" fmla="*/ 206841 h 361971"/>
              <a:gd name="connsiteX21" fmla="*/ 194254 w 362309"/>
              <a:gd name="connsiteY21" fmla="*/ 187051 h 361971"/>
              <a:gd name="connsiteX22" fmla="*/ 80513 w 362309"/>
              <a:gd name="connsiteY22" fmla="*/ 187051 h 361971"/>
              <a:gd name="connsiteX23" fmla="*/ 74123 w 362309"/>
              <a:gd name="connsiteY23" fmla="*/ 181305 h 361971"/>
              <a:gd name="connsiteX24" fmla="*/ 74123 w 362309"/>
              <a:gd name="connsiteY24" fmla="*/ 181305 h 361971"/>
              <a:gd name="connsiteX25" fmla="*/ 261987 w 362309"/>
              <a:gd name="connsiteY25" fmla="*/ 287279 h 361971"/>
              <a:gd name="connsiteX26" fmla="*/ 255597 w 362309"/>
              <a:gd name="connsiteY26" fmla="*/ 293663 h 361971"/>
              <a:gd name="connsiteX27" fmla="*/ 141857 w 362309"/>
              <a:gd name="connsiteY27" fmla="*/ 293663 h 361971"/>
              <a:gd name="connsiteX28" fmla="*/ 135467 w 362309"/>
              <a:gd name="connsiteY28" fmla="*/ 287279 h 361971"/>
              <a:gd name="connsiteX29" fmla="*/ 135467 w 362309"/>
              <a:gd name="connsiteY29" fmla="*/ 218971 h 361971"/>
              <a:gd name="connsiteX30" fmla="*/ 141857 w 362309"/>
              <a:gd name="connsiteY30" fmla="*/ 212587 h 361971"/>
              <a:gd name="connsiteX31" fmla="*/ 148247 w 362309"/>
              <a:gd name="connsiteY31" fmla="*/ 218971 h 361971"/>
              <a:gd name="connsiteX32" fmla="*/ 148247 w 362309"/>
              <a:gd name="connsiteY32" fmla="*/ 280895 h 361971"/>
              <a:gd name="connsiteX33" fmla="*/ 249847 w 362309"/>
              <a:gd name="connsiteY33" fmla="*/ 280895 h 361971"/>
              <a:gd name="connsiteX34" fmla="*/ 249847 w 362309"/>
              <a:gd name="connsiteY34" fmla="*/ 81076 h 361971"/>
              <a:gd name="connsiteX35" fmla="*/ 148247 w 362309"/>
              <a:gd name="connsiteY35" fmla="*/ 81076 h 361971"/>
              <a:gd name="connsiteX36" fmla="*/ 148247 w 362309"/>
              <a:gd name="connsiteY36" fmla="*/ 143001 h 361971"/>
              <a:gd name="connsiteX37" fmla="*/ 141857 w 362309"/>
              <a:gd name="connsiteY37" fmla="*/ 149385 h 361971"/>
              <a:gd name="connsiteX38" fmla="*/ 135467 w 362309"/>
              <a:gd name="connsiteY38" fmla="*/ 143001 h 361971"/>
              <a:gd name="connsiteX39" fmla="*/ 135467 w 362309"/>
              <a:gd name="connsiteY39" fmla="*/ 74692 h 361971"/>
              <a:gd name="connsiteX40" fmla="*/ 141857 w 362309"/>
              <a:gd name="connsiteY40" fmla="*/ 68308 h 361971"/>
              <a:gd name="connsiteX41" fmla="*/ 256237 w 362309"/>
              <a:gd name="connsiteY41" fmla="*/ 68308 h 361971"/>
              <a:gd name="connsiteX42" fmla="*/ 262626 w 362309"/>
              <a:gd name="connsiteY42" fmla="*/ 74692 h 361971"/>
              <a:gd name="connsiteX43" fmla="*/ 261987 w 362309"/>
              <a:gd name="connsiteY43" fmla="*/ 287279 h 361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62309" h="361971">
                <a:moveTo>
                  <a:pt x="180835" y="0"/>
                </a:moveTo>
                <a:cubicBezTo>
                  <a:pt x="80513" y="0"/>
                  <a:pt x="0" y="81076"/>
                  <a:pt x="0" y="180667"/>
                </a:cubicBezTo>
                <a:cubicBezTo>
                  <a:pt x="0" y="280895"/>
                  <a:pt x="81152" y="361971"/>
                  <a:pt x="180835" y="361971"/>
                </a:cubicBezTo>
                <a:cubicBezTo>
                  <a:pt x="280518" y="361971"/>
                  <a:pt x="362309" y="280895"/>
                  <a:pt x="362309" y="180667"/>
                </a:cubicBezTo>
                <a:lnTo>
                  <a:pt x="362309" y="180667"/>
                </a:lnTo>
                <a:cubicBezTo>
                  <a:pt x="361670" y="81076"/>
                  <a:pt x="281157" y="0"/>
                  <a:pt x="180835" y="0"/>
                </a:cubicBezTo>
                <a:close/>
                <a:moveTo>
                  <a:pt x="74123" y="181305"/>
                </a:moveTo>
                <a:cubicBezTo>
                  <a:pt x="74123" y="177475"/>
                  <a:pt x="76679" y="174921"/>
                  <a:pt x="80513" y="174921"/>
                </a:cubicBezTo>
                <a:lnTo>
                  <a:pt x="194254" y="174921"/>
                </a:lnTo>
                <a:lnTo>
                  <a:pt x="174445" y="155131"/>
                </a:lnTo>
                <a:cubicBezTo>
                  <a:pt x="171889" y="152577"/>
                  <a:pt x="171250" y="148747"/>
                  <a:pt x="173806" y="146193"/>
                </a:cubicBezTo>
                <a:cubicBezTo>
                  <a:pt x="176362" y="143640"/>
                  <a:pt x="180196" y="143001"/>
                  <a:pt x="182752" y="145555"/>
                </a:cubicBezTo>
                <a:cubicBezTo>
                  <a:pt x="182752" y="145555"/>
                  <a:pt x="183391" y="146193"/>
                  <a:pt x="183391" y="146193"/>
                </a:cubicBezTo>
                <a:lnTo>
                  <a:pt x="214063" y="176198"/>
                </a:lnTo>
                <a:cubicBezTo>
                  <a:pt x="214702" y="176836"/>
                  <a:pt x="215341" y="177475"/>
                  <a:pt x="215341" y="178113"/>
                </a:cubicBezTo>
                <a:cubicBezTo>
                  <a:pt x="215980" y="179390"/>
                  <a:pt x="215980" y="181305"/>
                  <a:pt x="215341" y="183220"/>
                </a:cubicBezTo>
                <a:cubicBezTo>
                  <a:pt x="215341" y="183859"/>
                  <a:pt x="214702" y="184497"/>
                  <a:pt x="214063" y="185135"/>
                </a:cubicBezTo>
                <a:lnTo>
                  <a:pt x="183391" y="215779"/>
                </a:lnTo>
                <a:cubicBezTo>
                  <a:pt x="182113" y="217055"/>
                  <a:pt x="180835" y="217694"/>
                  <a:pt x="178918" y="217694"/>
                </a:cubicBezTo>
                <a:cubicBezTo>
                  <a:pt x="177001" y="217694"/>
                  <a:pt x="175723" y="217055"/>
                  <a:pt x="174445" y="215779"/>
                </a:cubicBezTo>
                <a:cubicBezTo>
                  <a:pt x="171889" y="213225"/>
                  <a:pt x="171889" y="209395"/>
                  <a:pt x="174445" y="206841"/>
                </a:cubicBezTo>
                <a:lnTo>
                  <a:pt x="194254" y="187051"/>
                </a:lnTo>
                <a:lnTo>
                  <a:pt x="80513" y="187051"/>
                </a:lnTo>
                <a:cubicBezTo>
                  <a:pt x="77318" y="187051"/>
                  <a:pt x="74762" y="184497"/>
                  <a:pt x="74123" y="181305"/>
                </a:cubicBezTo>
                <a:lnTo>
                  <a:pt x="74123" y="181305"/>
                </a:lnTo>
                <a:close/>
                <a:moveTo>
                  <a:pt x="261987" y="287279"/>
                </a:moveTo>
                <a:cubicBezTo>
                  <a:pt x="261987" y="291109"/>
                  <a:pt x="259431" y="293663"/>
                  <a:pt x="255597" y="293663"/>
                </a:cubicBezTo>
                <a:lnTo>
                  <a:pt x="141857" y="293663"/>
                </a:lnTo>
                <a:cubicBezTo>
                  <a:pt x="138023" y="293663"/>
                  <a:pt x="135467" y="291109"/>
                  <a:pt x="135467" y="287279"/>
                </a:cubicBezTo>
                <a:lnTo>
                  <a:pt x="135467" y="218971"/>
                </a:lnTo>
                <a:cubicBezTo>
                  <a:pt x="135467" y="215140"/>
                  <a:pt x="138023" y="212587"/>
                  <a:pt x="141857" y="212587"/>
                </a:cubicBezTo>
                <a:cubicBezTo>
                  <a:pt x="145691" y="212587"/>
                  <a:pt x="148247" y="215140"/>
                  <a:pt x="148247" y="218971"/>
                </a:cubicBezTo>
                <a:lnTo>
                  <a:pt x="148247" y="280895"/>
                </a:lnTo>
                <a:lnTo>
                  <a:pt x="249847" y="280895"/>
                </a:lnTo>
                <a:lnTo>
                  <a:pt x="249847" y="81076"/>
                </a:lnTo>
                <a:lnTo>
                  <a:pt x="148247" y="81076"/>
                </a:lnTo>
                <a:lnTo>
                  <a:pt x="148247" y="143001"/>
                </a:lnTo>
                <a:cubicBezTo>
                  <a:pt x="148247" y="146832"/>
                  <a:pt x="145691" y="149385"/>
                  <a:pt x="141857" y="149385"/>
                </a:cubicBezTo>
                <a:cubicBezTo>
                  <a:pt x="138023" y="149385"/>
                  <a:pt x="135467" y="146832"/>
                  <a:pt x="135467" y="143001"/>
                </a:cubicBezTo>
                <a:lnTo>
                  <a:pt x="135467" y="74692"/>
                </a:lnTo>
                <a:cubicBezTo>
                  <a:pt x="135467" y="70862"/>
                  <a:pt x="138023" y="68308"/>
                  <a:pt x="141857" y="68308"/>
                </a:cubicBezTo>
                <a:lnTo>
                  <a:pt x="256237" y="68308"/>
                </a:lnTo>
                <a:cubicBezTo>
                  <a:pt x="260070" y="68308"/>
                  <a:pt x="262626" y="70862"/>
                  <a:pt x="262626" y="74692"/>
                </a:cubicBezTo>
                <a:lnTo>
                  <a:pt x="261987" y="287279"/>
                </a:lnTo>
                <a:close/>
              </a:path>
            </a:pathLst>
          </a:custGeom>
          <a:solidFill>
            <a:schemeClr val="accent2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7E9B42C-40B6-7A84-158F-8E1B3DB9F5E1}"/>
              </a:ext>
            </a:extLst>
          </p:cNvPr>
          <p:cNvSpPr/>
          <p:nvPr/>
        </p:nvSpPr>
        <p:spPr bwMode="gray">
          <a:xfrm>
            <a:off x="1126533" y="2331317"/>
            <a:ext cx="2462406" cy="183466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91440" tIns="91440" rIns="91440" bIns="91440" rtlCol="0" anchor="t"/>
          <a:lstStyle/>
          <a:p>
            <a:pPr algn="l"/>
            <a:r>
              <a:rPr lang="hu-HU" sz="1200" b="1" dirty="0"/>
              <a:t>Rendszerváltozás</a:t>
            </a:r>
          </a:p>
          <a:p>
            <a:pPr algn="l"/>
            <a:endParaRPr lang="hu-HU" sz="1200" b="1" dirty="0">
              <a:latin typeface="Calibri" panose="020F0502020204030204" pitchFamily="34" charset="0"/>
            </a:endParaRPr>
          </a:p>
          <a:p>
            <a:r>
              <a:rPr lang="hu-HU" sz="1200" dirty="0"/>
              <a:t>Bevezetés vagy kivezetés: mindig van integrációs (rész)feladat. Projektméret indokolja az SI szerepet</a:t>
            </a:r>
          </a:p>
          <a:p>
            <a:r>
              <a:rPr lang="hu-HU" sz="1200" dirty="0"/>
              <a:t>E2E figurára is képesnek érezzük magunkat (a </a:t>
            </a:r>
            <a:r>
              <a:rPr lang="hu-HU" sz="1200" dirty="0" err="1"/>
              <a:t>legacy</a:t>
            </a:r>
            <a:r>
              <a:rPr lang="hu-HU" sz="1200" dirty="0"/>
              <a:t> és az új rendszereket is jól ismerjük).</a:t>
            </a:r>
            <a:endParaRPr lang="en-AU" sz="1200" dirty="0"/>
          </a:p>
        </p:txBody>
      </p:sp>
      <p:sp>
        <p:nvSpPr>
          <p:cNvPr id="33" name="Graphic 4">
            <a:extLst>
              <a:ext uri="{FF2B5EF4-FFF2-40B4-BE49-F238E27FC236}">
                <a16:creationId xmlns:a16="http://schemas.microsoft.com/office/drawing/2014/main" id="{E187A699-9991-588D-5305-78E892CD3E48}"/>
              </a:ext>
            </a:extLst>
          </p:cNvPr>
          <p:cNvSpPr/>
          <p:nvPr/>
        </p:nvSpPr>
        <p:spPr>
          <a:xfrm>
            <a:off x="499678" y="2004667"/>
            <a:ext cx="539782" cy="539278"/>
          </a:xfrm>
          <a:custGeom>
            <a:avLst/>
            <a:gdLst>
              <a:gd name="connsiteX0" fmla="*/ 181474 w 362309"/>
              <a:gd name="connsiteY0" fmla="*/ 0 h 361971"/>
              <a:gd name="connsiteX1" fmla="*/ 0 w 362309"/>
              <a:gd name="connsiteY1" fmla="*/ 180667 h 361971"/>
              <a:gd name="connsiteX2" fmla="*/ 180835 w 362309"/>
              <a:gd name="connsiteY2" fmla="*/ 361972 h 361971"/>
              <a:gd name="connsiteX3" fmla="*/ 362310 w 362309"/>
              <a:gd name="connsiteY3" fmla="*/ 181305 h 361971"/>
              <a:gd name="connsiteX4" fmla="*/ 362310 w 362309"/>
              <a:gd name="connsiteY4" fmla="*/ 181305 h 361971"/>
              <a:gd name="connsiteX5" fmla="*/ 181474 w 362309"/>
              <a:gd name="connsiteY5" fmla="*/ 0 h 361971"/>
              <a:gd name="connsiteX6" fmla="*/ 181474 w 362309"/>
              <a:gd name="connsiteY6" fmla="*/ 0 h 361971"/>
              <a:gd name="connsiteX7" fmla="*/ 84347 w 362309"/>
              <a:gd name="connsiteY7" fmla="*/ 187689 h 361971"/>
              <a:gd name="connsiteX8" fmla="*/ 77957 w 362309"/>
              <a:gd name="connsiteY8" fmla="*/ 181305 h 361971"/>
              <a:gd name="connsiteX9" fmla="*/ 181474 w 362309"/>
              <a:gd name="connsiteY9" fmla="*/ 77885 h 361971"/>
              <a:gd name="connsiteX10" fmla="*/ 249846 w 362309"/>
              <a:gd name="connsiteY10" fmla="*/ 103421 h 361971"/>
              <a:gd name="connsiteX11" fmla="*/ 249846 w 362309"/>
              <a:gd name="connsiteY11" fmla="*/ 75331 h 361971"/>
              <a:gd name="connsiteX12" fmla="*/ 256236 w 362309"/>
              <a:gd name="connsiteY12" fmla="*/ 68947 h 361971"/>
              <a:gd name="connsiteX13" fmla="*/ 262626 w 362309"/>
              <a:gd name="connsiteY13" fmla="*/ 75331 h 361971"/>
              <a:gd name="connsiteX14" fmla="*/ 262626 w 362309"/>
              <a:gd name="connsiteY14" fmla="*/ 119381 h 361971"/>
              <a:gd name="connsiteX15" fmla="*/ 256236 w 362309"/>
              <a:gd name="connsiteY15" fmla="*/ 125765 h 361971"/>
              <a:gd name="connsiteX16" fmla="*/ 212146 w 362309"/>
              <a:gd name="connsiteY16" fmla="*/ 125765 h 361971"/>
              <a:gd name="connsiteX17" fmla="*/ 205756 w 362309"/>
              <a:gd name="connsiteY17" fmla="*/ 119381 h 361971"/>
              <a:gd name="connsiteX18" fmla="*/ 212146 w 362309"/>
              <a:gd name="connsiteY18" fmla="*/ 112997 h 361971"/>
              <a:gd name="connsiteX19" fmla="*/ 241540 w 362309"/>
              <a:gd name="connsiteY19" fmla="*/ 112997 h 361971"/>
              <a:gd name="connsiteX20" fmla="*/ 113741 w 362309"/>
              <a:gd name="connsiteY20" fmla="*/ 121296 h 361971"/>
              <a:gd name="connsiteX21" fmla="*/ 91376 w 362309"/>
              <a:gd name="connsiteY21" fmla="*/ 181305 h 361971"/>
              <a:gd name="connsiteX22" fmla="*/ 84347 w 362309"/>
              <a:gd name="connsiteY22" fmla="*/ 187689 h 361971"/>
              <a:gd name="connsiteX23" fmla="*/ 181474 w 362309"/>
              <a:gd name="connsiteY23" fmla="*/ 284725 h 361971"/>
              <a:gd name="connsiteX24" fmla="*/ 113102 w 362309"/>
              <a:gd name="connsiteY24" fmla="*/ 258551 h 361971"/>
              <a:gd name="connsiteX25" fmla="*/ 113102 w 362309"/>
              <a:gd name="connsiteY25" fmla="*/ 287279 h 361971"/>
              <a:gd name="connsiteX26" fmla="*/ 106712 w 362309"/>
              <a:gd name="connsiteY26" fmla="*/ 293663 h 361971"/>
              <a:gd name="connsiteX27" fmla="*/ 100322 w 362309"/>
              <a:gd name="connsiteY27" fmla="*/ 287279 h 361971"/>
              <a:gd name="connsiteX28" fmla="*/ 100322 w 362309"/>
              <a:gd name="connsiteY28" fmla="*/ 243230 h 361971"/>
              <a:gd name="connsiteX29" fmla="*/ 106712 w 362309"/>
              <a:gd name="connsiteY29" fmla="*/ 236846 h 361971"/>
              <a:gd name="connsiteX30" fmla="*/ 150802 w 362309"/>
              <a:gd name="connsiteY30" fmla="*/ 236846 h 361971"/>
              <a:gd name="connsiteX31" fmla="*/ 157192 w 362309"/>
              <a:gd name="connsiteY31" fmla="*/ 243230 h 361971"/>
              <a:gd name="connsiteX32" fmla="*/ 150802 w 362309"/>
              <a:gd name="connsiteY32" fmla="*/ 249614 h 361971"/>
              <a:gd name="connsiteX33" fmla="*/ 121409 w 362309"/>
              <a:gd name="connsiteY33" fmla="*/ 249614 h 361971"/>
              <a:gd name="connsiteX34" fmla="*/ 249208 w 362309"/>
              <a:gd name="connsiteY34" fmla="*/ 241314 h 361971"/>
              <a:gd name="connsiteX35" fmla="*/ 271572 w 362309"/>
              <a:gd name="connsiteY35" fmla="*/ 181305 h 361971"/>
              <a:gd name="connsiteX36" fmla="*/ 277962 w 362309"/>
              <a:gd name="connsiteY36" fmla="*/ 174921 h 361971"/>
              <a:gd name="connsiteX37" fmla="*/ 284352 w 362309"/>
              <a:gd name="connsiteY37" fmla="*/ 181305 h 361971"/>
              <a:gd name="connsiteX38" fmla="*/ 181474 w 362309"/>
              <a:gd name="connsiteY38" fmla="*/ 284725 h 361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362309" h="361971">
                <a:moveTo>
                  <a:pt x="181474" y="0"/>
                </a:moveTo>
                <a:cubicBezTo>
                  <a:pt x="81152" y="0"/>
                  <a:pt x="0" y="81077"/>
                  <a:pt x="0" y="180667"/>
                </a:cubicBezTo>
                <a:cubicBezTo>
                  <a:pt x="0" y="280257"/>
                  <a:pt x="81152" y="361972"/>
                  <a:pt x="180835" y="361972"/>
                </a:cubicBezTo>
                <a:cubicBezTo>
                  <a:pt x="280518" y="361972"/>
                  <a:pt x="362310" y="280895"/>
                  <a:pt x="362310" y="181305"/>
                </a:cubicBezTo>
                <a:lnTo>
                  <a:pt x="362310" y="181305"/>
                </a:lnTo>
                <a:cubicBezTo>
                  <a:pt x="362310" y="81077"/>
                  <a:pt x="281157" y="0"/>
                  <a:pt x="181474" y="0"/>
                </a:cubicBezTo>
                <a:cubicBezTo>
                  <a:pt x="181474" y="0"/>
                  <a:pt x="181474" y="0"/>
                  <a:pt x="181474" y="0"/>
                </a:cubicBezTo>
                <a:close/>
                <a:moveTo>
                  <a:pt x="84347" y="187689"/>
                </a:moveTo>
                <a:cubicBezTo>
                  <a:pt x="80513" y="187689"/>
                  <a:pt x="77957" y="185135"/>
                  <a:pt x="77957" y="181305"/>
                </a:cubicBezTo>
                <a:cubicBezTo>
                  <a:pt x="77957" y="124488"/>
                  <a:pt x="123965" y="77885"/>
                  <a:pt x="181474" y="77885"/>
                </a:cubicBezTo>
                <a:cubicBezTo>
                  <a:pt x="206395" y="77885"/>
                  <a:pt x="230677" y="86822"/>
                  <a:pt x="249846" y="103421"/>
                </a:cubicBezTo>
                <a:lnTo>
                  <a:pt x="249846" y="75331"/>
                </a:lnTo>
                <a:cubicBezTo>
                  <a:pt x="249846" y="71501"/>
                  <a:pt x="252403" y="68947"/>
                  <a:pt x="256236" y="68947"/>
                </a:cubicBezTo>
                <a:cubicBezTo>
                  <a:pt x="260071" y="68947"/>
                  <a:pt x="262626" y="71501"/>
                  <a:pt x="262626" y="75331"/>
                </a:cubicBezTo>
                <a:lnTo>
                  <a:pt x="262626" y="119381"/>
                </a:lnTo>
                <a:cubicBezTo>
                  <a:pt x="262626" y="123211"/>
                  <a:pt x="260071" y="125765"/>
                  <a:pt x="256236" y="125765"/>
                </a:cubicBezTo>
                <a:lnTo>
                  <a:pt x="212146" y="125765"/>
                </a:lnTo>
                <a:cubicBezTo>
                  <a:pt x="208312" y="125765"/>
                  <a:pt x="205756" y="123211"/>
                  <a:pt x="205756" y="119381"/>
                </a:cubicBezTo>
                <a:cubicBezTo>
                  <a:pt x="205756" y="115550"/>
                  <a:pt x="208312" y="112997"/>
                  <a:pt x="212146" y="112997"/>
                </a:cubicBezTo>
                <a:lnTo>
                  <a:pt x="241540" y="112997"/>
                </a:lnTo>
                <a:cubicBezTo>
                  <a:pt x="203839" y="79800"/>
                  <a:pt x="146330" y="83630"/>
                  <a:pt x="113741" y="121296"/>
                </a:cubicBezTo>
                <a:cubicBezTo>
                  <a:pt x="99044" y="137894"/>
                  <a:pt x="91376" y="158961"/>
                  <a:pt x="91376" y="181305"/>
                </a:cubicBezTo>
                <a:cubicBezTo>
                  <a:pt x="90098" y="184497"/>
                  <a:pt x="87542" y="187689"/>
                  <a:pt x="84347" y="187689"/>
                </a:cubicBezTo>
                <a:close/>
                <a:moveTo>
                  <a:pt x="181474" y="284725"/>
                </a:moveTo>
                <a:cubicBezTo>
                  <a:pt x="155915" y="284725"/>
                  <a:pt x="131633" y="275149"/>
                  <a:pt x="113102" y="258551"/>
                </a:cubicBezTo>
                <a:lnTo>
                  <a:pt x="113102" y="287279"/>
                </a:lnTo>
                <a:cubicBezTo>
                  <a:pt x="113102" y="291109"/>
                  <a:pt x="110546" y="293663"/>
                  <a:pt x="106712" y="293663"/>
                </a:cubicBezTo>
                <a:cubicBezTo>
                  <a:pt x="102878" y="293663"/>
                  <a:pt x="100322" y="291109"/>
                  <a:pt x="100322" y="287279"/>
                </a:cubicBezTo>
                <a:lnTo>
                  <a:pt x="100322" y="243230"/>
                </a:lnTo>
                <a:cubicBezTo>
                  <a:pt x="100322" y="239399"/>
                  <a:pt x="102878" y="236846"/>
                  <a:pt x="106712" y="236846"/>
                </a:cubicBezTo>
                <a:lnTo>
                  <a:pt x="150802" y="236846"/>
                </a:lnTo>
                <a:cubicBezTo>
                  <a:pt x="154637" y="236846"/>
                  <a:pt x="157192" y="239399"/>
                  <a:pt x="157192" y="243230"/>
                </a:cubicBezTo>
                <a:cubicBezTo>
                  <a:pt x="157192" y="247060"/>
                  <a:pt x="154637" y="249614"/>
                  <a:pt x="150802" y="249614"/>
                </a:cubicBezTo>
                <a:lnTo>
                  <a:pt x="121409" y="249614"/>
                </a:lnTo>
                <a:cubicBezTo>
                  <a:pt x="159110" y="282810"/>
                  <a:pt x="216619" y="278980"/>
                  <a:pt x="249208" y="241314"/>
                </a:cubicBezTo>
                <a:cubicBezTo>
                  <a:pt x="263904" y="224716"/>
                  <a:pt x="271572" y="203649"/>
                  <a:pt x="271572" y="181305"/>
                </a:cubicBezTo>
                <a:cubicBezTo>
                  <a:pt x="271572" y="177475"/>
                  <a:pt x="274128" y="174921"/>
                  <a:pt x="277962" y="174921"/>
                </a:cubicBezTo>
                <a:cubicBezTo>
                  <a:pt x="281796" y="174921"/>
                  <a:pt x="284352" y="177475"/>
                  <a:pt x="284352" y="181305"/>
                </a:cubicBezTo>
                <a:cubicBezTo>
                  <a:pt x="284991" y="238122"/>
                  <a:pt x="238345" y="284725"/>
                  <a:pt x="181474" y="284725"/>
                </a:cubicBezTo>
                <a:close/>
              </a:path>
            </a:pathLst>
          </a:custGeom>
          <a:solidFill>
            <a:schemeClr val="accent3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4" name="Graphic 1100">
            <a:extLst>
              <a:ext uri="{FF2B5EF4-FFF2-40B4-BE49-F238E27FC236}">
                <a16:creationId xmlns:a16="http://schemas.microsoft.com/office/drawing/2014/main" id="{7AFBA70D-3B54-7372-22BB-16827B686C76}"/>
              </a:ext>
            </a:extLst>
          </p:cNvPr>
          <p:cNvGrpSpPr/>
          <p:nvPr/>
        </p:nvGrpSpPr>
        <p:grpSpPr>
          <a:xfrm>
            <a:off x="505458" y="4166858"/>
            <a:ext cx="539782" cy="539278"/>
            <a:chOff x="9280105" y="2859711"/>
            <a:chExt cx="362309" cy="361971"/>
          </a:xfrm>
          <a:solidFill>
            <a:schemeClr val="accent1"/>
          </a:solidFill>
        </p:grpSpPr>
        <p:sp>
          <p:nvSpPr>
            <p:cNvPr id="35" name="Graphic 1100">
              <a:extLst>
                <a:ext uri="{FF2B5EF4-FFF2-40B4-BE49-F238E27FC236}">
                  <a16:creationId xmlns:a16="http://schemas.microsoft.com/office/drawing/2014/main" id="{8CC387FE-80AA-8286-E4EC-1288A6812A4D}"/>
                </a:ext>
              </a:extLst>
            </p:cNvPr>
            <p:cNvSpPr/>
            <p:nvPr/>
          </p:nvSpPr>
          <p:spPr>
            <a:xfrm>
              <a:off x="9375315" y="3055061"/>
              <a:ext cx="20447" cy="20428"/>
            </a:xfrm>
            <a:custGeom>
              <a:avLst/>
              <a:gdLst>
                <a:gd name="connsiteX0" fmla="*/ 0 w 20447"/>
                <a:gd name="connsiteY0" fmla="*/ 0 h 20428"/>
                <a:gd name="connsiteX1" fmla="*/ 20447 w 20447"/>
                <a:gd name="connsiteY1" fmla="*/ 0 h 20428"/>
                <a:gd name="connsiteX2" fmla="*/ 20447 w 20447"/>
                <a:gd name="connsiteY2" fmla="*/ 20429 h 20428"/>
                <a:gd name="connsiteX3" fmla="*/ 0 w 20447"/>
                <a:gd name="connsiteY3" fmla="*/ 20429 h 20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447" h="20428">
                  <a:moveTo>
                    <a:pt x="0" y="0"/>
                  </a:moveTo>
                  <a:lnTo>
                    <a:pt x="20447" y="0"/>
                  </a:lnTo>
                  <a:lnTo>
                    <a:pt x="20447" y="20429"/>
                  </a:lnTo>
                  <a:lnTo>
                    <a:pt x="0" y="2042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Graphic 1100">
              <a:extLst>
                <a:ext uri="{FF2B5EF4-FFF2-40B4-BE49-F238E27FC236}">
                  <a16:creationId xmlns:a16="http://schemas.microsoft.com/office/drawing/2014/main" id="{2B364836-FCFD-201A-BAE9-D5D238BCC5EC}"/>
                </a:ext>
              </a:extLst>
            </p:cNvPr>
            <p:cNvSpPr/>
            <p:nvPr/>
          </p:nvSpPr>
          <p:spPr>
            <a:xfrm>
              <a:off x="9391929" y="2971431"/>
              <a:ext cx="87541" cy="88098"/>
            </a:xfrm>
            <a:custGeom>
              <a:avLst/>
              <a:gdLst>
                <a:gd name="connsiteX0" fmla="*/ 69011 w 87541"/>
                <a:gd name="connsiteY0" fmla="*/ 87460 h 88098"/>
                <a:gd name="connsiteX1" fmla="*/ 70928 w 87541"/>
                <a:gd name="connsiteY1" fmla="*/ 88099 h 88098"/>
                <a:gd name="connsiteX2" fmla="*/ 70928 w 87541"/>
                <a:gd name="connsiteY2" fmla="*/ 77246 h 88098"/>
                <a:gd name="connsiteX3" fmla="*/ 77318 w 87541"/>
                <a:gd name="connsiteY3" fmla="*/ 70862 h 88098"/>
                <a:gd name="connsiteX4" fmla="*/ 87542 w 87541"/>
                <a:gd name="connsiteY4" fmla="*/ 70862 h 88098"/>
                <a:gd name="connsiteX5" fmla="*/ 87542 w 87541"/>
                <a:gd name="connsiteY5" fmla="*/ 16598 h 88098"/>
                <a:gd name="connsiteX6" fmla="*/ 77318 w 87541"/>
                <a:gd name="connsiteY6" fmla="*/ 16598 h 88098"/>
                <a:gd name="connsiteX7" fmla="*/ 70928 w 87541"/>
                <a:gd name="connsiteY7" fmla="*/ 10214 h 88098"/>
                <a:gd name="connsiteX8" fmla="*/ 70928 w 87541"/>
                <a:gd name="connsiteY8" fmla="*/ 0 h 88098"/>
                <a:gd name="connsiteX9" fmla="*/ 16614 w 87541"/>
                <a:gd name="connsiteY9" fmla="*/ 0 h 88098"/>
                <a:gd name="connsiteX10" fmla="*/ 16614 w 87541"/>
                <a:gd name="connsiteY10" fmla="*/ 10214 h 88098"/>
                <a:gd name="connsiteX11" fmla="*/ 10224 w 87541"/>
                <a:gd name="connsiteY11" fmla="*/ 16598 h 88098"/>
                <a:gd name="connsiteX12" fmla="*/ 0 w 87541"/>
                <a:gd name="connsiteY12" fmla="*/ 16598 h 88098"/>
                <a:gd name="connsiteX13" fmla="*/ 0 w 87541"/>
                <a:gd name="connsiteY13" fmla="*/ 70862 h 88098"/>
                <a:gd name="connsiteX14" fmla="*/ 10224 w 87541"/>
                <a:gd name="connsiteY14" fmla="*/ 70862 h 88098"/>
                <a:gd name="connsiteX15" fmla="*/ 16614 w 87541"/>
                <a:gd name="connsiteY15" fmla="*/ 77246 h 88098"/>
                <a:gd name="connsiteX16" fmla="*/ 16614 w 87541"/>
                <a:gd name="connsiteY16" fmla="*/ 87460 h 88098"/>
                <a:gd name="connsiteX17" fmla="*/ 69011 w 87541"/>
                <a:gd name="connsiteY17" fmla="*/ 87460 h 88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7541" h="88098">
                  <a:moveTo>
                    <a:pt x="69011" y="87460"/>
                  </a:moveTo>
                  <a:cubicBezTo>
                    <a:pt x="69650" y="87460"/>
                    <a:pt x="70289" y="87460"/>
                    <a:pt x="70928" y="88099"/>
                  </a:cubicBezTo>
                  <a:lnTo>
                    <a:pt x="70928" y="77246"/>
                  </a:lnTo>
                  <a:cubicBezTo>
                    <a:pt x="70928" y="73416"/>
                    <a:pt x="73484" y="70862"/>
                    <a:pt x="77318" y="70862"/>
                  </a:cubicBezTo>
                  <a:lnTo>
                    <a:pt x="87542" y="70862"/>
                  </a:lnTo>
                  <a:lnTo>
                    <a:pt x="87542" y="16598"/>
                  </a:lnTo>
                  <a:lnTo>
                    <a:pt x="77318" y="16598"/>
                  </a:lnTo>
                  <a:cubicBezTo>
                    <a:pt x="73484" y="16598"/>
                    <a:pt x="70928" y="14045"/>
                    <a:pt x="70928" y="10214"/>
                  </a:cubicBezTo>
                  <a:lnTo>
                    <a:pt x="70928" y="0"/>
                  </a:lnTo>
                  <a:lnTo>
                    <a:pt x="16614" y="0"/>
                  </a:lnTo>
                  <a:lnTo>
                    <a:pt x="16614" y="10214"/>
                  </a:lnTo>
                  <a:cubicBezTo>
                    <a:pt x="16614" y="14045"/>
                    <a:pt x="14058" y="16598"/>
                    <a:pt x="10224" y="16598"/>
                  </a:cubicBezTo>
                  <a:lnTo>
                    <a:pt x="0" y="16598"/>
                  </a:lnTo>
                  <a:lnTo>
                    <a:pt x="0" y="70862"/>
                  </a:lnTo>
                  <a:lnTo>
                    <a:pt x="10224" y="70862"/>
                  </a:lnTo>
                  <a:cubicBezTo>
                    <a:pt x="14058" y="70862"/>
                    <a:pt x="16614" y="73416"/>
                    <a:pt x="16614" y="77246"/>
                  </a:cubicBezTo>
                  <a:lnTo>
                    <a:pt x="16614" y="87460"/>
                  </a:lnTo>
                  <a:lnTo>
                    <a:pt x="69011" y="8746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Graphic 1100">
              <a:extLst>
                <a:ext uri="{FF2B5EF4-FFF2-40B4-BE49-F238E27FC236}">
                  <a16:creationId xmlns:a16="http://schemas.microsoft.com/office/drawing/2014/main" id="{23E07670-7776-4B72-3FAC-2DDCB91C0227}"/>
                </a:ext>
              </a:extLst>
            </p:cNvPr>
            <p:cNvSpPr/>
            <p:nvPr/>
          </p:nvSpPr>
          <p:spPr>
            <a:xfrm>
              <a:off x="9425796" y="3105495"/>
              <a:ext cx="20447" cy="20428"/>
            </a:xfrm>
            <a:custGeom>
              <a:avLst/>
              <a:gdLst>
                <a:gd name="connsiteX0" fmla="*/ 0 w 20447"/>
                <a:gd name="connsiteY0" fmla="*/ 0 h 20428"/>
                <a:gd name="connsiteX1" fmla="*/ 20447 w 20447"/>
                <a:gd name="connsiteY1" fmla="*/ 0 h 20428"/>
                <a:gd name="connsiteX2" fmla="*/ 20447 w 20447"/>
                <a:gd name="connsiteY2" fmla="*/ 20429 h 20428"/>
                <a:gd name="connsiteX3" fmla="*/ 0 w 20447"/>
                <a:gd name="connsiteY3" fmla="*/ 20429 h 20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447" h="20428">
                  <a:moveTo>
                    <a:pt x="0" y="0"/>
                  </a:moveTo>
                  <a:lnTo>
                    <a:pt x="20447" y="0"/>
                  </a:lnTo>
                  <a:lnTo>
                    <a:pt x="20447" y="20429"/>
                  </a:lnTo>
                  <a:lnTo>
                    <a:pt x="0" y="2042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Graphic 1100">
              <a:extLst>
                <a:ext uri="{FF2B5EF4-FFF2-40B4-BE49-F238E27FC236}">
                  <a16:creationId xmlns:a16="http://schemas.microsoft.com/office/drawing/2014/main" id="{B48B92DA-24A0-80EE-2476-6EC5266CD39F}"/>
                </a:ext>
              </a:extLst>
            </p:cNvPr>
            <p:cNvSpPr/>
            <p:nvPr/>
          </p:nvSpPr>
          <p:spPr>
            <a:xfrm>
              <a:off x="9475637" y="3055061"/>
              <a:ext cx="20447" cy="20428"/>
            </a:xfrm>
            <a:custGeom>
              <a:avLst/>
              <a:gdLst>
                <a:gd name="connsiteX0" fmla="*/ 0 w 20447"/>
                <a:gd name="connsiteY0" fmla="*/ 0 h 20428"/>
                <a:gd name="connsiteX1" fmla="*/ 20448 w 20447"/>
                <a:gd name="connsiteY1" fmla="*/ 0 h 20428"/>
                <a:gd name="connsiteX2" fmla="*/ 20448 w 20447"/>
                <a:gd name="connsiteY2" fmla="*/ 20429 h 20428"/>
                <a:gd name="connsiteX3" fmla="*/ 0 w 20447"/>
                <a:gd name="connsiteY3" fmla="*/ 20429 h 20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447" h="20428">
                  <a:moveTo>
                    <a:pt x="0" y="0"/>
                  </a:moveTo>
                  <a:lnTo>
                    <a:pt x="20448" y="0"/>
                  </a:lnTo>
                  <a:lnTo>
                    <a:pt x="20448" y="20429"/>
                  </a:lnTo>
                  <a:lnTo>
                    <a:pt x="0" y="2042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Graphic 1100">
              <a:extLst>
                <a:ext uri="{FF2B5EF4-FFF2-40B4-BE49-F238E27FC236}">
                  <a16:creationId xmlns:a16="http://schemas.microsoft.com/office/drawing/2014/main" id="{7C716365-ED70-1E81-CBAF-756272E31690}"/>
                </a:ext>
              </a:extLst>
            </p:cNvPr>
            <p:cNvSpPr/>
            <p:nvPr/>
          </p:nvSpPr>
          <p:spPr>
            <a:xfrm>
              <a:off x="9475637" y="2954833"/>
              <a:ext cx="20447" cy="20428"/>
            </a:xfrm>
            <a:custGeom>
              <a:avLst/>
              <a:gdLst>
                <a:gd name="connsiteX0" fmla="*/ 0 w 20447"/>
                <a:gd name="connsiteY0" fmla="*/ 0 h 20428"/>
                <a:gd name="connsiteX1" fmla="*/ 20448 w 20447"/>
                <a:gd name="connsiteY1" fmla="*/ 0 h 20428"/>
                <a:gd name="connsiteX2" fmla="*/ 20448 w 20447"/>
                <a:gd name="connsiteY2" fmla="*/ 20429 h 20428"/>
                <a:gd name="connsiteX3" fmla="*/ 0 w 20447"/>
                <a:gd name="connsiteY3" fmla="*/ 20429 h 20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447" h="20428">
                  <a:moveTo>
                    <a:pt x="0" y="0"/>
                  </a:moveTo>
                  <a:lnTo>
                    <a:pt x="20448" y="0"/>
                  </a:lnTo>
                  <a:lnTo>
                    <a:pt x="20448" y="20429"/>
                  </a:lnTo>
                  <a:lnTo>
                    <a:pt x="0" y="2042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Graphic 1100">
              <a:extLst>
                <a:ext uri="{FF2B5EF4-FFF2-40B4-BE49-F238E27FC236}">
                  <a16:creationId xmlns:a16="http://schemas.microsoft.com/office/drawing/2014/main" id="{ED868543-4D62-200C-F52B-5D665FFF7248}"/>
                </a:ext>
              </a:extLst>
            </p:cNvPr>
            <p:cNvSpPr/>
            <p:nvPr/>
          </p:nvSpPr>
          <p:spPr>
            <a:xfrm>
              <a:off x="9375315" y="2954833"/>
              <a:ext cx="20447" cy="20428"/>
            </a:xfrm>
            <a:custGeom>
              <a:avLst/>
              <a:gdLst>
                <a:gd name="connsiteX0" fmla="*/ 0 w 20447"/>
                <a:gd name="connsiteY0" fmla="*/ 0 h 20428"/>
                <a:gd name="connsiteX1" fmla="*/ 20447 w 20447"/>
                <a:gd name="connsiteY1" fmla="*/ 0 h 20428"/>
                <a:gd name="connsiteX2" fmla="*/ 20447 w 20447"/>
                <a:gd name="connsiteY2" fmla="*/ 20429 h 20428"/>
                <a:gd name="connsiteX3" fmla="*/ 0 w 20447"/>
                <a:gd name="connsiteY3" fmla="*/ 20429 h 20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447" h="20428">
                  <a:moveTo>
                    <a:pt x="0" y="0"/>
                  </a:moveTo>
                  <a:lnTo>
                    <a:pt x="20447" y="0"/>
                  </a:lnTo>
                  <a:lnTo>
                    <a:pt x="20447" y="20429"/>
                  </a:lnTo>
                  <a:lnTo>
                    <a:pt x="0" y="2042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Graphic 1100">
              <a:extLst>
                <a:ext uri="{FF2B5EF4-FFF2-40B4-BE49-F238E27FC236}">
                  <a16:creationId xmlns:a16="http://schemas.microsoft.com/office/drawing/2014/main" id="{FE064748-EF4F-C731-E5D1-D472DD05E52D}"/>
                </a:ext>
              </a:extLst>
            </p:cNvPr>
            <p:cNvSpPr/>
            <p:nvPr/>
          </p:nvSpPr>
          <p:spPr>
            <a:xfrm>
              <a:off x="9526118" y="3005266"/>
              <a:ext cx="20447" cy="20428"/>
            </a:xfrm>
            <a:custGeom>
              <a:avLst/>
              <a:gdLst>
                <a:gd name="connsiteX0" fmla="*/ 0 w 20447"/>
                <a:gd name="connsiteY0" fmla="*/ 0 h 20428"/>
                <a:gd name="connsiteX1" fmla="*/ 20448 w 20447"/>
                <a:gd name="connsiteY1" fmla="*/ 0 h 20428"/>
                <a:gd name="connsiteX2" fmla="*/ 20448 w 20447"/>
                <a:gd name="connsiteY2" fmla="*/ 20429 h 20428"/>
                <a:gd name="connsiteX3" fmla="*/ 0 w 20447"/>
                <a:gd name="connsiteY3" fmla="*/ 20429 h 20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447" h="20428">
                  <a:moveTo>
                    <a:pt x="0" y="0"/>
                  </a:moveTo>
                  <a:lnTo>
                    <a:pt x="20448" y="0"/>
                  </a:lnTo>
                  <a:lnTo>
                    <a:pt x="20448" y="20429"/>
                  </a:lnTo>
                  <a:lnTo>
                    <a:pt x="0" y="2042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Graphic 1100">
              <a:extLst>
                <a:ext uri="{FF2B5EF4-FFF2-40B4-BE49-F238E27FC236}">
                  <a16:creationId xmlns:a16="http://schemas.microsoft.com/office/drawing/2014/main" id="{2F95CCBE-B8F1-959E-4086-CB49EE750380}"/>
                </a:ext>
              </a:extLst>
            </p:cNvPr>
            <p:cNvSpPr/>
            <p:nvPr/>
          </p:nvSpPr>
          <p:spPr>
            <a:xfrm>
              <a:off x="9526118" y="3105495"/>
              <a:ext cx="20447" cy="20428"/>
            </a:xfrm>
            <a:custGeom>
              <a:avLst/>
              <a:gdLst>
                <a:gd name="connsiteX0" fmla="*/ 0 w 20447"/>
                <a:gd name="connsiteY0" fmla="*/ 0 h 20428"/>
                <a:gd name="connsiteX1" fmla="*/ 20448 w 20447"/>
                <a:gd name="connsiteY1" fmla="*/ 0 h 20428"/>
                <a:gd name="connsiteX2" fmla="*/ 20448 w 20447"/>
                <a:gd name="connsiteY2" fmla="*/ 20429 h 20428"/>
                <a:gd name="connsiteX3" fmla="*/ 0 w 20447"/>
                <a:gd name="connsiteY3" fmla="*/ 20429 h 20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447" h="20428">
                  <a:moveTo>
                    <a:pt x="0" y="0"/>
                  </a:moveTo>
                  <a:lnTo>
                    <a:pt x="20448" y="0"/>
                  </a:lnTo>
                  <a:lnTo>
                    <a:pt x="20448" y="20429"/>
                  </a:lnTo>
                  <a:lnTo>
                    <a:pt x="0" y="2042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Graphic 1100">
              <a:extLst>
                <a:ext uri="{FF2B5EF4-FFF2-40B4-BE49-F238E27FC236}">
                  <a16:creationId xmlns:a16="http://schemas.microsoft.com/office/drawing/2014/main" id="{53F98C28-C2BD-7167-0067-55B5E430AED9}"/>
                </a:ext>
              </a:extLst>
            </p:cNvPr>
            <p:cNvSpPr/>
            <p:nvPr/>
          </p:nvSpPr>
          <p:spPr>
            <a:xfrm>
              <a:off x="9280105" y="2859711"/>
              <a:ext cx="362309" cy="361971"/>
            </a:xfrm>
            <a:custGeom>
              <a:avLst/>
              <a:gdLst>
                <a:gd name="connsiteX0" fmla="*/ 180835 w 362309"/>
                <a:gd name="connsiteY0" fmla="*/ 0 h 361971"/>
                <a:gd name="connsiteX1" fmla="*/ 0 w 362309"/>
                <a:gd name="connsiteY1" fmla="*/ 181305 h 361971"/>
                <a:gd name="connsiteX2" fmla="*/ 181474 w 362309"/>
                <a:gd name="connsiteY2" fmla="*/ 361972 h 361971"/>
                <a:gd name="connsiteX3" fmla="*/ 362309 w 362309"/>
                <a:gd name="connsiteY3" fmla="*/ 180667 h 361971"/>
                <a:gd name="connsiteX4" fmla="*/ 180835 w 362309"/>
                <a:gd name="connsiteY4" fmla="*/ 0 h 361971"/>
                <a:gd name="connsiteX5" fmla="*/ 180835 w 362309"/>
                <a:gd name="connsiteY5" fmla="*/ 0 h 361971"/>
                <a:gd name="connsiteX6" fmla="*/ 279240 w 362309"/>
                <a:gd name="connsiteY6" fmla="*/ 172368 h 361971"/>
                <a:gd name="connsiteX7" fmla="*/ 272850 w 362309"/>
                <a:gd name="connsiteY7" fmla="*/ 178752 h 361971"/>
                <a:gd name="connsiteX8" fmla="*/ 262626 w 362309"/>
                <a:gd name="connsiteY8" fmla="*/ 178752 h 361971"/>
                <a:gd name="connsiteX9" fmla="*/ 262626 w 362309"/>
                <a:gd name="connsiteY9" fmla="*/ 233015 h 361971"/>
                <a:gd name="connsiteX10" fmla="*/ 272850 w 362309"/>
                <a:gd name="connsiteY10" fmla="*/ 233015 h 361971"/>
                <a:gd name="connsiteX11" fmla="*/ 279240 w 362309"/>
                <a:gd name="connsiteY11" fmla="*/ 239399 h 361971"/>
                <a:gd name="connsiteX12" fmla="*/ 279240 w 362309"/>
                <a:gd name="connsiteY12" fmla="*/ 272596 h 361971"/>
                <a:gd name="connsiteX13" fmla="*/ 272850 w 362309"/>
                <a:gd name="connsiteY13" fmla="*/ 278980 h 361971"/>
                <a:gd name="connsiteX14" fmla="*/ 239623 w 362309"/>
                <a:gd name="connsiteY14" fmla="*/ 278980 h 361971"/>
                <a:gd name="connsiteX15" fmla="*/ 233233 w 362309"/>
                <a:gd name="connsiteY15" fmla="*/ 272596 h 361971"/>
                <a:gd name="connsiteX16" fmla="*/ 233233 w 362309"/>
                <a:gd name="connsiteY16" fmla="*/ 262382 h 361971"/>
                <a:gd name="connsiteX17" fmla="*/ 178918 w 362309"/>
                <a:gd name="connsiteY17" fmla="*/ 262382 h 361971"/>
                <a:gd name="connsiteX18" fmla="*/ 178918 w 362309"/>
                <a:gd name="connsiteY18" fmla="*/ 272596 h 361971"/>
                <a:gd name="connsiteX19" fmla="*/ 172528 w 362309"/>
                <a:gd name="connsiteY19" fmla="*/ 278980 h 361971"/>
                <a:gd name="connsiteX20" fmla="*/ 139300 w 362309"/>
                <a:gd name="connsiteY20" fmla="*/ 278980 h 361971"/>
                <a:gd name="connsiteX21" fmla="*/ 132910 w 362309"/>
                <a:gd name="connsiteY21" fmla="*/ 272596 h 361971"/>
                <a:gd name="connsiteX22" fmla="*/ 132910 w 362309"/>
                <a:gd name="connsiteY22" fmla="*/ 239399 h 361971"/>
                <a:gd name="connsiteX23" fmla="*/ 139300 w 362309"/>
                <a:gd name="connsiteY23" fmla="*/ 233015 h 361971"/>
                <a:gd name="connsiteX24" fmla="*/ 150164 w 362309"/>
                <a:gd name="connsiteY24" fmla="*/ 233015 h 361971"/>
                <a:gd name="connsiteX25" fmla="*/ 149524 w 362309"/>
                <a:gd name="connsiteY25" fmla="*/ 231100 h 361971"/>
                <a:gd name="connsiteX26" fmla="*/ 149524 w 362309"/>
                <a:gd name="connsiteY26" fmla="*/ 212587 h 361971"/>
                <a:gd name="connsiteX27" fmla="*/ 129076 w 362309"/>
                <a:gd name="connsiteY27" fmla="*/ 212587 h 361971"/>
                <a:gd name="connsiteX28" fmla="*/ 129076 w 362309"/>
                <a:gd name="connsiteY28" fmla="*/ 222801 h 361971"/>
                <a:gd name="connsiteX29" fmla="*/ 122686 w 362309"/>
                <a:gd name="connsiteY29" fmla="*/ 229185 h 361971"/>
                <a:gd name="connsiteX30" fmla="*/ 89459 w 362309"/>
                <a:gd name="connsiteY30" fmla="*/ 229185 h 361971"/>
                <a:gd name="connsiteX31" fmla="*/ 83069 w 362309"/>
                <a:gd name="connsiteY31" fmla="*/ 222801 h 361971"/>
                <a:gd name="connsiteX32" fmla="*/ 83069 w 362309"/>
                <a:gd name="connsiteY32" fmla="*/ 189604 h 361971"/>
                <a:gd name="connsiteX33" fmla="*/ 89459 w 362309"/>
                <a:gd name="connsiteY33" fmla="*/ 183220 h 361971"/>
                <a:gd name="connsiteX34" fmla="*/ 99683 w 362309"/>
                <a:gd name="connsiteY34" fmla="*/ 183220 h 361971"/>
                <a:gd name="connsiteX35" fmla="*/ 99683 w 362309"/>
                <a:gd name="connsiteY35" fmla="*/ 128956 h 361971"/>
                <a:gd name="connsiteX36" fmla="*/ 89459 w 362309"/>
                <a:gd name="connsiteY36" fmla="*/ 128956 h 361971"/>
                <a:gd name="connsiteX37" fmla="*/ 83069 w 362309"/>
                <a:gd name="connsiteY37" fmla="*/ 122572 h 361971"/>
                <a:gd name="connsiteX38" fmla="*/ 83069 w 362309"/>
                <a:gd name="connsiteY38" fmla="*/ 89376 h 361971"/>
                <a:gd name="connsiteX39" fmla="*/ 89459 w 362309"/>
                <a:gd name="connsiteY39" fmla="*/ 82992 h 361971"/>
                <a:gd name="connsiteX40" fmla="*/ 122686 w 362309"/>
                <a:gd name="connsiteY40" fmla="*/ 82992 h 361971"/>
                <a:gd name="connsiteX41" fmla="*/ 129076 w 362309"/>
                <a:gd name="connsiteY41" fmla="*/ 89376 h 361971"/>
                <a:gd name="connsiteX42" fmla="*/ 129076 w 362309"/>
                <a:gd name="connsiteY42" fmla="*/ 99590 h 361971"/>
                <a:gd name="connsiteX43" fmla="*/ 183391 w 362309"/>
                <a:gd name="connsiteY43" fmla="*/ 99590 h 361971"/>
                <a:gd name="connsiteX44" fmla="*/ 183391 w 362309"/>
                <a:gd name="connsiteY44" fmla="*/ 89376 h 361971"/>
                <a:gd name="connsiteX45" fmla="*/ 189781 w 362309"/>
                <a:gd name="connsiteY45" fmla="*/ 82992 h 361971"/>
                <a:gd name="connsiteX46" fmla="*/ 223008 w 362309"/>
                <a:gd name="connsiteY46" fmla="*/ 82992 h 361971"/>
                <a:gd name="connsiteX47" fmla="*/ 229398 w 362309"/>
                <a:gd name="connsiteY47" fmla="*/ 89376 h 361971"/>
                <a:gd name="connsiteX48" fmla="*/ 229398 w 362309"/>
                <a:gd name="connsiteY48" fmla="*/ 122572 h 361971"/>
                <a:gd name="connsiteX49" fmla="*/ 223008 w 362309"/>
                <a:gd name="connsiteY49" fmla="*/ 128956 h 361971"/>
                <a:gd name="connsiteX50" fmla="*/ 212784 w 362309"/>
                <a:gd name="connsiteY50" fmla="*/ 128956 h 361971"/>
                <a:gd name="connsiteX51" fmla="*/ 212784 w 362309"/>
                <a:gd name="connsiteY51" fmla="*/ 149385 h 361971"/>
                <a:gd name="connsiteX52" fmla="*/ 233233 w 362309"/>
                <a:gd name="connsiteY52" fmla="*/ 149385 h 361971"/>
                <a:gd name="connsiteX53" fmla="*/ 233233 w 362309"/>
                <a:gd name="connsiteY53" fmla="*/ 139171 h 361971"/>
                <a:gd name="connsiteX54" fmla="*/ 239623 w 362309"/>
                <a:gd name="connsiteY54" fmla="*/ 132787 h 361971"/>
                <a:gd name="connsiteX55" fmla="*/ 272850 w 362309"/>
                <a:gd name="connsiteY55" fmla="*/ 132787 h 361971"/>
                <a:gd name="connsiteX56" fmla="*/ 279240 w 362309"/>
                <a:gd name="connsiteY56" fmla="*/ 139171 h 361971"/>
                <a:gd name="connsiteX57" fmla="*/ 279240 w 362309"/>
                <a:gd name="connsiteY57" fmla="*/ 172368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62309" h="361971">
                  <a:moveTo>
                    <a:pt x="180835" y="0"/>
                  </a:moveTo>
                  <a:cubicBezTo>
                    <a:pt x="80513" y="0"/>
                    <a:pt x="0" y="81076"/>
                    <a:pt x="0" y="181305"/>
                  </a:cubicBezTo>
                  <a:cubicBezTo>
                    <a:pt x="0" y="281533"/>
                    <a:pt x="81152" y="361972"/>
                    <a:pt x="181474" y="361972"/>
                  </a:cubicBezTo>
                  <a:cubicBezTo>
                    <a:pt x="281157" y="361972"/>
                    <a:pt x="362309" y="280895"/>
                    <a:pt x="362309" y="180667"/>
                  </a:cubicBezTo>
                  <a:cubicBezTo>
                    <a:pt x="362309" y="80438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279240" y="172368"/>
                  </a:moveTo>
                  <a:cubicBezTo>
                    <a:pt x="279240" y="176198"/>
                    <a:pt x="276684" y="178752"/>
                    <a:pt x="272850" y="178752"/>
                  </a:cubicBezTo>
                  <a:lnTo>
                    <a:pt x="262626" y="178752"/>
                  </a:lnTo>
                  <a:lnTo>
                    <a:pt x="262626" y="233015"/>
                  </a:lnTo>
                  <a:lnTo>
                    <a:pt x="272850" y="233015"/>
                  </a:lnTo>
                  <a:cubicBezTo>
                    <a:pt x="276684" y="233015"/>
                    <a:pt x="279240" y="235569"/>
                    <a:pt x="279240" y="239399"/>
                  </a:cubicBezTo>
                  <a:lnTo>
                    <a:pt x="279240" y="272596"/>
                  </a:lnTo>
                  <a:cubicBezTo>
                    <a:pt x="279240" y="276426"/>
                    <a:pt x="276684" y="278980"/>
                    <a:pt x="272850" y="278980"/>
                  </a:cubicBezTo>
                  <a:lnTo>
                    <a:pt x="239623" y="278980"/>
                  </a:lnTo>
                  <a:cubicBezTo>
                    <a:pt x="235788" y="278980"/>
                    <a:pt x="233233" y="276426"/>
                    <a:pt x="233233" y="272596"/>
                  </a:cubicBezTo>
                  <a:lnTo>
                    <a:pt x="233233" y="262382"/>
                  </a:lnTo>
                  <a:lnTo>
                    <a:pt x="178918" y="262382"/>
                  </a:lnTo>
                  <a:lnTo>
                    <a:pt x="178918" y="272596"/>
                  </a:lnTo>
                  <a:cubicBezTo>
                    <a:pt x="178918" y="276426"/>
                    <a:pt x="176362" y="278980"/>
                    <a:pt x="172528" y="278980"/>
                  </a:cubicBezTo>
                  <a:lnTo>
                    <a:pt x="139300" y="278980"/>
                  </a:lnTo>
                  <a:cubicBezTo>
                    <a:pt x="135466" y="278980"/>
                    <a:pt x="132910" y="276426"/>
                    <a:pt x="132910" y="272596"/>
                  </a:cubicBezTo>
                  <a:lnTo>
                    <a:pt x="132910" y="239399"/>
                  </a:lnTo>
                  <a:cubicBezTo>
                    <a:pt x="132910" y="235569"/>
                    <a:pt x="135466" y="233015"/>
                    <a:pt x="139300" y="233015"/>
                  </a:cubicBezTo>
                  <a:lnTo>
                    <a:pt x="150164" y="233015"/>
                  </a:lnTo>
                  <a:cubicBezTo>
                    <a:pt x="150164" y="232377"/>
                    <a:pt x="149524" y="231738"/>
                    <a:pt x="149524" y="231100"/>
                  </a:cubicBezTo>
                  <a:lnTo>
                    <a:pt x="149524" y="212587"/>
                  </a:lnTo>
                  <a:lnTo>
                    <a:pt x="129076" y="212587"/>
                  </a:lnTo>
                  <a:lnTo>
                    <a:pt x="129076" y="222801"/>
                  </a:lnTo>
                  <a:cubicBezTo>
                    <a:pt x="129076" y="226631"/>
                    <a:pt x="126520" y="229185"/>
                    <a:pt x="122686" y="229185"/>
                  </a:cubicBezTo>
                  <a:lnTo>
                    <a:pt x="89459" y="229185"/>
                  </a:lnTo>
                  <a:cubicBezTo>
                    <a:pt x="85625" y="229185"/>
                    <a:pt x="83069" y="226631"/>
                    <a:pt x="83069" y="222801"/>
                  </a:cubicBezTo>
                  <a:lnTo>
                    <a:pt x="83069" y="189604"/>
                  </a:lnTo>
                  <a:cubicBezTo>
                    <a:pt x="83069" y="185774"/>
                    <a:pt x="85625" y="183220"/>
                    <a:pt x="89459" y="183220"/>
                  </a:cubicBezTo>
                  <a:lnTo>
                    <a:pt x="99683" y="183220"/>
                  </a:lnTo>
                  <a:lnTo>
                    <a:pt x="99683" y="128956"/>
                  </a:lnTo>
                  <a:lnTo>
                    <a:pt x="89459" y="128956"/>
                  </a:lnTo>
                  <a:cubicBezTo>
                    <a:pt x="85625" y="128956"/>
                    <a:pt x="83069" y="126403"/>
                    <a:pt x="83069" y="122572"/>
                  </a:cubicBezTo>
                  <a:lnTo>
                    <a:pt x="83069" y="89376"/>
                  </a:lnTo>
                  <a:cubicBezTo>
                    <a:pt x="83069" y="85545"/>
                    <a:pt x="85625" y="82992"/>
                    <a:pt x="89459" y="82992"/>
                  </a:cubicBezTo>
                  <a:lnTo>
                    <a:pt x="122686" y="82992"/>
                  </a:lnTo>
                  <a:cubicBezTo>
                    <a:pt x="126520" y="82992"/>
                    <a:pt x="129076" y="85545"/>
                    <a:pt x="129076" y="89376"/>
                  </a:cubicBezTo>
                  <a:lnTo>
                    <a:pt x="129076" y="99590"/>
                  </a:lnTo>
                  <a:lnTo>
                    <a:pt x="183391" y="99590"/>
                  </a:lnTo>
                  <a:lnTo>
                    <a:pt x="183391" y="89376"/>
                  </a:lnTo>
                  <a:cubicBezTo>
                    <a:pt x="183391" y="85545"/>
                    <a:pt x="185947" y="82992"/>
                    <a:pt x="189781" y="82992"/>
                  </a:cubicBezTo>
                  <a:lnTo>
                    <a:pt x="223008" y="82992"/>
                  </a:lnTo>
                  <a:cubicBezTo>
                    <a:pt x="226843" y="82992"/>
                    <a:pt x="229398" y="85545"/>
                    <a:pt x="229398" y="89376"/>
                  </a:cubicBezTo>
                  <a:lnTo>
                    <a:pt x="229398" y="122572"/>
                  </a:lnTo>
                  <a:cubicBezTo>
                    <a:pt x="229398" y="126403"/>
                    <a:pt x="226843" y="128956"/>
                    <a:pt x="223008" y="128956"/>
                  </a:cubicBezTo>
                  <a:lnTo>
                    <a:pt x="212784" y="128956"/>
                  </a:lnTo>
                  <a:lnTo>
                    <a:pt x="212784" y="149385"/>
                  </a:lnTo>
                  <a:lnTo>
                    <a:pt x="233233" y="149385"/>
                  </a:lnTo>
                  <a:lnTo>
                    <a:pt x="233233" y="139171"/>
                  </a:lnTo>
                  <a:cubicBezTo>
                    <a:pt x="233233" y="135340"/>
                    <a:pt x="235788" y="132787"/>
                    <a:pt x="239623" y="132787"/>
                  </a:cubicBezTo>
                  <a:lnTo>
                    <a:pt x="272850" y="132787"/>
                  </a:lnTo>
                  <a:cubicBezTo>
                    <a:pt x="276684" y="132787"/>
                    <a:pt x="279240" y="135340"/>
                    <a:pt x="279240" y="139171"/>
                  </a:cubicBezTo>
                  <a:lnTo>
                    <a:pt x="279240" y="17236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Graphic 1100">
              <a:extLst>
                <a:ext uri="{FF2B5EF4-FFF2-40B4-BE49-F238E27FC236}">
                  <a16:creationId xmlns:a16="http://schemas.microsoft.com/office/drawing/2014/main" id="{12EA60AD-653A-D4C1-5D79-3BBE450EA189}"/>
                </a:ext>
              </a:extLst>
            </p:cNvPr>
            <p:cNvSpPr/>
            <p:nvPr/>
          </p:nvSpPr>
          <p:spPr>
            <a:xfrm>
              <a:off x="9442409" y="3021865"/>
              <a:ext cx="88181" cy="86822"/>
            </a:xfrm>
            <a:custGeom>
              <a:avLst/>
              <a:gdLst>
                <a:gd name="connsiteX0" fmla="*/ 70929 w 88181"/>
                <a:gd name="connsiteY0" fmla="*/ 10214 h 86822"/>
                <a:gd name="connsiteX1" fmla="*/ 70929 w 88181"/>
                <a:gd name="connsiteY1" fmla="*/ 0 h 86822"/>
                <a:gd name="connsiteX2" fmla="*/ 50481 w 88181"/>
                <a:gd name="connsiteY2" fmla="*/ 0 h 86822"/>
                <a:gd name="connsiteX3" fmla="*/ 50481 w 88181"/>
                <a:gd name="connsiteY3" fmla="*/ 20429 h 86822"/>
                <a:gd name="connsiteX4" fmla="*/ 60704 w 88181"/>
                <a:gd name="connsiteY4" fmla="*/ 20429 h 86822"/>
                <a:gd name="connsiteX5" fmla="*/ 67094 w 88181"/>
                <a:gd name="connsiteY5" fmla="*/ 26813 h 86822"/>
                <a:gd name="connsiteX6" fmla="*/ 67094 w 88181"/>
                <a:gd name="connsiteY6" fmla="*/ 60009 h 86822"/>
                <a:gd name="connsiteX7" fmla="*/ 60704 w 88181"/>
                <a:gd name="connsiteY7" fmla="*/ 66393 h 86822"/>
                <a:gd name="connsiteX8" fmla="*/ 27477 w 88181"/>
                <a:gd name="connsiteY8" fmla="*/ 66393 h 86822"/>
                <a:gd name="connsiteX9" fmla="*/ 21087 w 88181"/>
                <a:gd name="connsiteY9" fmla="*/ 60009 h 86822"/>
                <a:gd name="connsiteX10" fmla="*/ 21087 w 88181"/>
                <a:gd name="connsiteY10" fmla="*/ 49157 h 86822"/>
                <a:gd name="connsiteX11" fmla="*/ 19170 w 88181"/>
                <a:gd name="connsiteY11" fmla="*/ 49795 h 86822"/>
                <a:gd name="connsiteX12" fmla="*/ 640 w 88181"/>
                <a:gd name="connsiteY12" fmla="*/ 49795 h 86822"/>
                <a:gd name="connsiteX13" fmla="*/ 640 w 88181"/>
                <a:gd name="connsiteY13" fmla="*/ 68308 h 86822"/>
                <a:gd name="connsiteX14" fmla="*/ 0 w 88181"/>
                <a:gd name="connsiteY14" fmla="*/ 70224 h 86822"/>
                <a:gd name="connsiteX15" fmla="*/ 10863 w 88181"/>
                <a:gd name="connsiteY15" fmla="*/ 70224 h 86822"/>
                <a:gd name="connsiteX16" fmla="*/ 17253 w 88181"/>
                <a:gd name="connsiteY16" fmla="*/ 76608 h 86822"/>
                <a:gd name="connsiteX17" fmla="*/ 17253 w 88181"/>
                <a:gd name="connsiteY17" fmla="*/ 86822 h 86822"/>
                <a:gd name="connsiteX18" fmla="*/ 71568 w 88181"/>
                <a:gd name="connsiteY18" fmla="*/ 86822 h 86822"/>
                <a:gd name="connsiteX19" fmla="*/ 71568 w 88181"/>
                <a:gd name="connsiteY19" fmla="*/ 76608 h 86822"/>
                <a:gd name="connsiteX20" fmla="*/ 77958 w 88181"/>
                <a:gd name="connsiteY20" fmla="*/ 70224 h 86822"/>
                <a:gd name="connsiteX21" fmla="*/ 88181 w 88181"/>
                <a:gd name="connsiteY21" fmla="*/ 70224 h 86822"/>
                <a:gd name="connsiteX22" fmla="*/ 88181 w 88181"/>
                <a:gd name="connsiteY22" fmla="*/ 15960 h 86822"/>
                <a:gd name="connsiteX23" fmla="*/ 77958 w 88181"/>
                <a:gd name="connsiteY23" fmla="*/ 15960 h 86822"/>
                <a:gd name="connsiteX24" fmla="*/ 70929 w 88181"/>
                <a:gd name="connsiteY24" fmla="*/ 10214 h 86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8181" h="86822">
                  <a:moveTo>
                    <a:pt x="70929" y="10214"/>
                  </a:moveTo>
                  <a:lnTo>
                    <a:pt x="70929" y="0"/>
                  </a:lnTo>
                  <a:lnTo>
                    <a:pt x="50481" y="0"/>
                  </a:lnTo>
                  <a:lnTo>
                    <a:pt x="50481" y="20429"/>
                  </a:lnTo>
                  <a:lnTo>
                    <a:pt x="60704" y="20429"/>
                  </a:lnTo>
                  <a:cubicBezTo>
                    <a:pt x="64539" y="20429"/>
                    <a:pt x="67094" y="22982"/>
                    <a:pt x="67094" y="26813"/>
                  </a:cubicBezTo>
                  <a:lnTo>
                    <a:pt x="67094" y="60009"/>
                  </a:lnTo>
                  <a:cubicBezTo>
                    <a:pt x="67094" y="63840"/>
                    <a:pt x="64539" y="66393"/>
                    <a:pt x="60704" y="66393"/>
                  </a:cubicBezTo>
                  <a:lnTo>
                    <a:pt x="27477" y="66393"/>
                  </a:lnTo>
                  <a:cubicBezTo>
                    <a:pt x="23643" y="66393"/>
                    <a:pt x="21087" y="63840"/>
                    <a:pt x="21087" y="60009"/>
                  </a:cubicBezTo>
                  <a:lnTo>
                    <a:pt x="21087" y="49157"/>
                  </a:lnTo>
                  <a:cubicBezTo>
                    <a:pt x="20448" y="49157"/>
                    <a:pt x="19809" y="49795"/>
                    <a:pt x="19170" y="49795"/>
                  </a:cubicBezTo>
                  <a:lnTo>
                    <a:pt x="640" y="49795"/>
                  </a:lnTo>
                  <a:lnTo>
                    <a:pt x="640" y="68308"/>
                  </a:lnTo>
                  <a:cubicBezTo>
                    <a:pt x="640" y="68947"/>
                    <a:pt x="640" y="69585"/>
                    <a:pt x="0" y="70224"/>
                  </a:cubicBezTo>
                  <a:lnTo>
                    <a:pt x="10863" y="70224"/>
                  </a:lnTo>
                  <a:cubicBezTo>
                    <a:pt x="14697" y="70224"/>
                    <a:pt x="17253" y="72777"/>
                    <a:pt x="17253" y="76608"/>
                  </a:cubicBezTo>
                  <a:lnTo>
                    <a:pt x="17253" y="86822"/>
                  </a:lnTo>
                  <a:lnTo>
                    <a:pt x="71568" y="86822"/>
                  </a:lnTo>
                  <a:lnTo>
                    <a:pt x="71568" y="76608"/>
                  </a:lnTo>
                  <a:cubicBezTo>
                    <a:pt x="71568" y="72777"/>
                    <a:pt x="74124" y="70224"/>
                    <a:pt x="77958" y="70224"/>
                  </a:cubicBezTo>
                  <a:lnTo>
                    <a:pt x="88181" y="70224"/>
                  </a:lnTo>
                  <a:lnTo>
                    <a:pt x="88181" y="15960"/>
                  </a:lnTo>
                  <a:lnTo>
                    <a:pt x="77958" y="15960"/>
                  </a:lnTo>
                  <a:cubicBezTo>
                    <a:pt x="73484" y="16598"/>
                    <a:pt x="70929" y="14045"/>
                    <a:pt x="70929" y="1021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80464F34-24DC-55F5-1904-21DE6AD08436}"/>
              </a:ext>
            </a:extLst>
          </p:cNvPr>
          <p:cNvSpPr/>
          <p:nvPr/>
        </p:nvSpPr>
        <p:spPr bwMode="gray">
          <a:xfrm>
            <a:off x="1126533" y="4490521"/>
            <a:ext cx="2462406" cy="183466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91440" tIns="91440" rIns="91440" bIns="91440" rtlCol="0" anchor="t"/>
          <a:lstStyle/>
          <a:p>
            <a:pPr algn="l"/>
            <a:r>
              <a:rPr lang="hu-HU" sz="1200" b="1" dirty="0"/>
              <a:t>Modernizáció</a:t>
            </a:r>
          </a:p>
          <a:p>
            <a:pPr algn="l"/>
            <a:endParaRPr lang="hu-HU" sz="1200" b="1" dirty="0">
              <a:latin typeface="Calibri" panose="020F0502020204030204" pitchFamily="34" charset="0"/>
            </a:endParaRPr>
          </a:p>
          <a:p>
            <a:r>
              <a:rPr lang="hu-HU" sz="1200" dirty="0"/>
              <a:t>Kiderül, hogy a pont-pont kapcsolatok (spagetti) már kezelhetetlenek, vagy csak az új vezetés idősíkot váltana</a:t>
            </a:r>
          </a:p>
          <a:p>
            <a:r>
              <a:rPr lang="hu-HU" sz="1200" dirty="0"/>
              <a:t>Vagy csak valaki rájött, hogy kilépett az ügyféltől az „integrációs szabályrendszer”.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AB1775A0-57EE-3104-6960-9DAB2B0CF21B}"/>
              </a:ext>
            </a:extLst>
          </p:cNvPr>
          <p:cNvSpPr/>
          <p:nvPr/>
        </p:nvSpPr>
        <p:spPr bwMode="gray">
          <a:xfrm>
            <a:off x="3839067" y="3345785"/>
            <a:ext cx="2462406" cy="237450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91440" tIns="91440" rIns="91440" bIns="91440" rtlCol="0" anchor="t"/>
          <a:lstStyle/>
          <a:p>
            <a:pPr algn="l"/>
            <a:r>
              <a:rPr lang="hu-HU" sz="1200" b="1" dirty="0"/>
              <a:t>Integrációs eszközbevezetés</a:t>
            </a:r>
          </a:p>
          <a:p>
            <a:pPr algn="l"/>
            <a:endParaRPr lang="hu-HU" sz="1200" b="1" dirty="0">
              <a:latin typeface="Calibri" panose="020F0502020204030204" pitchFamily="34" charset="0"/>
            </a:endParaRPr>
          </a:p>
          <a:p>
            <a:r>
              <a:rPr lang="hu-HU" sz="1200" dirty="0"/>
              <a:t>Új technológiát szeretnének bevezetni vagy kipróbálni, vagy sokat panaszkodnak az ESB-re (MS BizTalk, Oracle Service </a:t>
            </a:r>
            <a:r>
              <a:rPr lang="hu-HU" sz="1200" dirty="0" err="1"/>
              <a:t>Bus</a:t>
            </a:r>
            <a:r>
              <a:rPr lang="hu-HU" sz="1200" dirty="0"/>
              <a:t>, IBM </a:t>
            </a:r>
            <a:r>
              <a:rPr lang="hu-HU" sz="1200" dirty="0" err="1"/>
              <a:t>Integration</a:t>
            </a:r>
            <a:r>
              <a:rPr lang="hu-HU" sz="1200" dirty="0"/>
              <a:t> </a:t>
            </a:r>
            <a:r>
              <a:rPr lang="hu-HU" sz="1200" dirty="0" err="1"/>
              <a:t>Bus</a:t>
            </a:r>
            <a:r>
              <a:rPr lang="hu-HU" sz="1200" dirty="0"/>
              <a:t>, </a:t>
            </a:r>
            <a:r>
              <a:rPr lang="hu-HU" sz="1200" dirty="0" err="1"/>
              <a:t>Tibco</a:t>
            </a:r>
            <a:r>
              <a:rPr lang="hu-HU" sz="1200" dirty="0"/>
              <a:t> ESB), mert a fejlesztők túlszabták, lassú, drága stb.  (</a:t>
            </a:r>
            <a:r>
              <a:rPr lang="hu-HU" sz="1200" dirty="0" err="1"/>
              <a:t>lasagne</a:t>
            </a:r>
            <a:r>
              <a:rPr lang="hu-HU" sz="1200" dirty="0"/>
              <a:t> -&gt; </a:t>
            </a:r>
            <a:r>
              <a:rPr lang="hu-HU" sz="1200" dirty="0" err="1"/>
              <a:t>ravioli</a:t>
            </a:r>
            <a:r>
              <a:rPr lang="hu-HU" sz="1200" dirty="0"/>
              <a:t> eset)</a:t>
            </a:r>
          </a:p>
          <a:p>
            <a:endParaRPr lang="hu-HU" sz="1200" dirty="0"/>
          </a:p>
          <a:p>
            <a:r>
              <a:rPr lang="hu-HU" sz="1200" dirty="0"/>
              <a:t>Esetleg </a:t>
            </a:r>
            <a:r>
              <a:rPr lang="hu-HU" sz="1200" dirty="0" err="1"/>
              <a:t>SaaP</a:t>
            </a:r>
            <a:r>
              <a:rPr lang="hu-HU" sz="1200" dirty="0"/>
              <a:t> </a:t>
            </a:r>
            <a:r>
              <a:rPr lang="hu-HU" sz="1200" dirty="0" err="1"/>
              <a:t>cloudban</a:t>
            </a:r>
            <a:r>
              <a:rPr lang="hu-HU" sz="1200" dirty="0"/>
              <a:t> érdeklődnek API </a:t>
            </a:r>
            <a:r>
              <a:rPr lang="hu-HU" sz="1200" dirty="0" err="1"/>
              <a:t>Gateway</a:t>
            </a:r>
            <a:r>
              <a:rPr lang="hu-HU" sz="1200" dirty="0"/>
              <a:t> iránt.</a:t>
            </a:r>
          </a:p>
        </p:txBody>
      </p:sp>
      <p:sp>
        <p:nvSpPr>
          <p:cNvPr id="54" name="Text Placeholder 28">
            <a:extLst>
              <a:ext uri="{FF2B5EF4-FFF2-40B4-BE49-F238E27FC236}">
                <a16:creationId xmlns:a16="http://schemas.microsoft.com/office/drawing/2014/main" id="{5ADAB32F-D605-A2FF-ECE9-793FD16679C5}"/>
              </a:ext>
            </a:extLst>
          </p:cNvPr>
          <p:cNvSpPr txBox="1">
            <a:spLocks/>
          </p:cNvSpPr>
          <p:nvPr/>
        </p:nvSpPr>
        <p:spPr>
          <a:xfrm>
            <a:off x="3839067" y="5720287"/>
            <a:ext cx="2016786" cy="25022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sz="900" dirty="0">
                <a:latin typeface="+mj-lt"/>
              </a:rPr>
              <a:t>ESB: Enterprise Service </a:t>
            </a:r>
            <a:r>
              <a:rPr lang="hu-HU" sz="900" dirty="0" err="1">
                <a:latin typeface="+mj-lt"/>
              </a:rPr>
              <a:t>Bus</a:t>
            </a:r>
            <a:endParaRPr lang="en-US" sz="900" dirty="0">
              <a:latin typeface="+mj-lt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9E04A13A-5161-3A1D-426B-79971737AB1F}"/>
              </a:ext>
            </a:extLst>
          </p:cNvPr>
          <p:cNvGrpSpPr/>
          <p:nvPr/>
        </p:nvGrpSpPr>
        <p:grpSpPr>
          <a:xfrm>
            <a:off x="1577163" y="1100382"/>
            <a:ext cx="4278690" cy="783069"/>
            <a:chOff x="1793580" y="1017639"/>
            <a:chExt cx="4278690" cy="783069"/>
          </a:xfrm>
        </p:grpSpPr>
        <p:sp>
          <p:nvSpPr>
            <p:cNvPr id="56" name="AutoShape 12">
              <a:extLst>
                <a:ext uri="{FF2B5EF4-FFF2-40B4-BE49-F238E27FC236}">
                  <a16:creationId xmlns:a16="http://schemas.microsoft.com/office/drawing/2014/main" id="{EF4813BD-A448-134B-F965-9DFAD6AB77F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3541391" y="-730171"/>
              <a:ext cx="783068" cy="4278689"/>
            </a:xfrm>
            <a:prstGeom prst="homePlate">
              <a:avLst>
                <a:gd name="adj" fmla="val 100000"/>
              </a:avLst>
            </a:prstGeom>
            <a:solidFill>
              <a:srgbClr val="F2F2F2"/>
            </a:solidFill>
            <a:ln w="6350" algn="ctr">
              <a:noFill/>
              <a:miter lim="800000"/>
              <a:headEnd/>
              <a:tailEnd/>
            </a:ln>
          </p:spPr>
          <p:txBody>
            <a:bodyPr wrap="square" lIns="65303" tIns="65303" rIns="65303" bIns="65303" anchor="ctr"/>
            <a:lstStyle/>
            <a:p>
              <a:pPr marL="0" marR="0" lvl="0" indent="0" algn="ctr" defTabSz="6717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28" b="0" i="0" u="none" strike="noStrike" kern="1200" cap="none" spc="0" normalizeH="0" baseline="0" noProof="0" dirty="0">
                <a:ln>
                  <a:noFill/>
                </a:ln>
                <a:solidFill>
                  <a:srgbClr val="343434"/>
                </a:solidFill>
                <a:effectLst/>
                <a:uLnTx/>
                <a:uFillTx/>
                <a:latin typeface="Gotham Book" charset="0"/>
                <a:ea typeface="ヒラギノ角ゴ ProN W3" charset="0"/>
                <a:cs typeface="+mn-cs"/>
                <a:sym typeface="Gotham Book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244CC0F9-8B0D-2938-2EFE-4DF1388C1697}"/>
                </a:ext>
              </a:extLst>
            </p:cNvPr>
            <p:cNvSpPr/>
            <p:nvPr/>
          </p:nvSpPr>
          <p:spPr bwMode="gray">
            <a:xfrm>
              <a:off x="1793582" y="1017639"/>
              <a:ext cx="4278688" cy="619859"/>
            </a:xfrm>
            <a:prstGeom prst="rect">
              <a:avLst/>
            </a:prstGeom>
            <a:solidFill>
              <a:srgbClr val="F2F2F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65303" tIns="65303" rIns="65303" bIns="65303" rtlCol="0" anchor="ctr"/>
            <a:lstStyle/>
            <a:p>
              <a:pPr marL="0" marR="0" lvl="0" indent="0" algn="ctr" defTabSz="671718" rtl="0" eaLnBrk="1" fontAlgn="base" latinLnBrk="0" hangingPunct="1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u-HU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ヒラギノ角ゴ ProN W3" charset="0"/>
                  <a:cs typeface="+mn-cs"/>
                  <a:sym typeface="Gotham Book" charset="0"/>
                </a:rPr>
                <a:t>Vállalati esetek, business </a:t>
              </a:r>
              <a:r>
                <a:rPr kumimoji="0" lang="hu-HU" sz="14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+mj-lt"/>
                  <a:ea typeface="ヒラギノ角ゴ ProN W3" charset="0"/>
                  <a:cs typeface="+mn-cs"/>
                  <a:sym typeface="Gotham Book" charset="0"/>
                </a:rPr>
                <a:t>case</a:t>
              </a:r>
              <a:r>
                <a:rPr kumimoji="0" lang="hu-HU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ヒラギノ角ゴ ProN W3" charset="0"/>
                  <a:cs typeface="+mn-cs"/>
                  <a:sym typeface="Gotham Book" charset="0"/>
                </a:rPr>
                <a:t>-ek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ヒラギノ角ゴ ProN W3" charset="0"/>
                <a:cs typeface="+mn-cs"/>
                <a:sym typeface="Gotham Book" charset="0"/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6A66AF05-A552-0426-7C60-33FBDC23BE48}"/>
              </a:ext>
            </a:extLst>
          </p:cNvPr>
          <p:cNvGrpSpPr/>
          <p:nvPr/>
        </p:nvGrpSpPr>
        <p:grpSpPr>
          <a:xfrm>
            <a:off x="7420392" y="4473115"/>
            <a:ext cx="4278688" cy="1593159"/>
            <a:chOff x="7434506" y="883586"/>
            <a:chExt cx="4278688" cy="1593159"/>
          </a:xfrm>
        </p:grpSpPr>
        <p:sp>
          <p:nvSpPr>
            <p:cNvPr id="7" name="Text Placeholder 28">
              <a:extLst>
                <a:ext uri="{FF2B5EF4-FFF2-40B4-BE49-F238E27FC236}">
                  <a16:creationId xmlns:a16="http://schemas.microsoft.com/office/drawing/2014/main" id="{BCB485EE-45ED-2F97-644C-92F4F807BD3D}"/>
                </a:ext>
              </a:extLst>
            </p:cNvPr>
            <p:cNvSpPr txBox="1">
              <a:spLocks/>
            </p:cNvSpPr>
            <p:nvPr/>
          </p:nvSpPr>
          <p:spPr>
            <a:xfrm>
              <a:off x="7434506" y="883586"/>
              <a:ext cx="4278688" cy="1589259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SzPct val="100000"/>
                <a:buFontTx/>
                <a:buNone/>
                <a:defRPr sz="1200" b="0" kern="120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1pPr>
              <a:lvl2pPr marL="1397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200" b="0" kern="1200" dirty="0" smtClean="0">
                  <a:solidFill>
                    <a:schemeClr val="tx1"/>
                  </a:solidFill>
                  <a:latin typeface="+mj-lt"/>
                  <a:ea typeface="+mn-ea"/>
                  <a:cs typeface="Calibri Light" panose="020F0302020204030204" pitchFamily="34" charset="0"/>
                </a:defRPr>
              </a:lvl2pPr>
              <a:lvl3pPr marL="3048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−"/>
                <a:defRPr lang="en-US" sz="1200" kern="120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3pPr>
              <a:lvl4pPr marL="4699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◦"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4pPr>
              <a:lvl5pPr marL="635000" indent="-139700" algn="l" defTabSz="798513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−"/>
                <a:tabLst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5pPr>
              <a:lvl6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hu-HU" sz="1600" b="1" dirty="0" err="1">
                  <a:latin typeface="+mj-lt"/>
                </a:rPr>
                <a:t>Deloitte</a:t>
              </a:r>
              <a:r>
                <a:rPr lang="hu-HU" sz="1600" b="1" dirty="0">
                  <a:latin typeface="+mj-lt"/>
                </a:rPr>
                <a:t> Budapest </a:t>
              </a:r>
              <a:r>
                <a:rPr lang="hu-HU" sz="1600" b="1" dirty="0" err="1">
                  <a:latin typeface="+mj-lt"/>
                </a:rPr>
                <a:t>hands-on</a:t>
              </a:r>
              <a:r>
                <a:rPr lang="hu-HU" sz="1600" b="1" dirty="0">
                  <a:latin typeface="+mj-lt"/>
                </a:rPr>
                <a:t> SI tapasztalatok:</a:t>
              </a:r>
            </a:p>
            <a:p>
              <a:pPr marL="128588" indent="-128588">
                <a:buFont typeface="Arial" panose="020B0604020202020204" pitchFamily="34" charset="0"/>
                <a:buChar char="•"/>
              </a:pPr>
              <a:r>
                <a:rPr lang="hu-HU" sz="1600" dirty="0">
                  <a:latin typeface="+mj-lt"/>
                </a:rPr>
                <a:t>K&amp;H T24 bevezetés</a:t>
              </a:r>
            </a:p>
            <a:p>
              <a:pPr marL="128588" indent="-128588">
                <a:buFont typeface="Arial" panose="020B0604020202020204" pitchFamily="34" charset="0"/>
                <a:buChar char="•"/>
              </a:pPr>
              <a:r>
                <a:rPr lang="hu-HU" sz="1600" dirty="0">
                  <a:latin typeface="+mj-lt"/>
                </a:rPr>
                <a:t>MOL </a:t>
              </a:r>
              <a:r>
                <a:rPr lang="hu-HU" sz="1600" dirty="0" err="1">
                  <a:latin typeface="+mj-lt"/>
                </a:rPr>
                <a:t>Mulesoft</a:t>
              </a:r>
              <a:r>
                <a:rPr lang="hu-HU" sz="1600" dirty="0">
                  <a:latin typeface="+mj-lt"/>
                </a:rPr>
                <a:t> bevezetés</a:t>
              </a:r>
            </a:p>
            <a:p>
              <a:pPr marL="128588" indent="-128588">
                <a:buFont typeface="Arial" panose="020B0604020202020204" pitchFamily="34" charset="0"/>
                <a:buChar char="•"/>
              </a:pPr>
              <a:r>
                <a:rPr lang="hu-HU" sz="1600" dirty="0">
                  <a:latin typeface="+mj-lt"/>
                </a:rPr>
                <a:t>Szerencsejáték Zrt. OSB bevezetés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51569F7C-6C71-54AE-2BE0-F57DDCB0E91E}"/>
                </a:ext>
              </a:extLst>
            </p:cNvPr>
            <p:cNvSpPr/>
            <p:nvPr/>
          </p:nvSpPr>
          <p:spPr bwMode="gray">
            <a:xfrm>
              <a:off x="7434506" y="887486"/>
              <a:ext cx="4264574" cy="1589259"/>
            </a:xfrm>
            <a:prstGeom prst="rect">
              <a:avLst/>
            </a:prstGeom>
            <a:noFill/>
            <a:ln w="19050" algn="ctr">
              <a:solidFill>
                <a:schemeClr val="accent3"/>
              </a:solidFill>
              <a:prstDash val="dash"/>
              <a:miter lim="800000"/>
              <a:headEnd/>
              <a:tailEnd/>
            </a:ln>
          </p:spPr>
          <p:txBody>
            <a:bodyPr wrap="square" lIns="0" tIns="0" rIns="0" bIns="0" rtlCol="0" anchor="b" anchorCtr="0"/>
            <a:lstStyle/>
            <a:p>
              <a:pPr algn="r" defTabSz="685800"/>
              <a:endParaRPr lang="en-US" sz="1350" b="1" dirty="0">
                <a:solidFill>
                  <a:srgbClr val="E3E48D"/>
                </a:solidFill>
                <a:latin typeface="+mj-lt"/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1D008A4E-273F-8E62-9F6B-232E9E4BC191}"/>
              </a:ext>
            </a:extLst>
          </p:cNvPr>
          <p:cNvGrpSpPr/>
          <p:nvPr/>
        </p:nvGrpSpPr>
        <p:grpSpPr>
          <a:xfrm>
            <a:off x="7434507" y="641165"/>
            <a:ext cx="4264574" cy="2723311"/>
            <a:chOff x="7629771" y="4533036"/>
            <a:chExt cx="4264574" cy="2259898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763B6FDC-9B8C-68BE-BF0D-DBC0E08A47E6}"/>
                </a:ext>
              </a:extLst>
            </p:cNvPr>
            <p:cNvSpPr/>
            <p:nvPr/>
          </p:nvSpPr>
          <p:spPr bwMode="gray">
            <a:xfrm>
              <a:off x="7629771" y="4533036"/>
              <a:ext cx="4264573" cy="2259898"/>
            </a:xfrm>
            <a:prstGeom prst="rect">
              <a:avLst/>
            </a:prstGeom>
            <a:solidFill>
              <a:srgbClr val="E3E48D">
                <a:alpha val="20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b" anchorCtr="0"/>
            <a:lstStyle/>
            <a:p>
              <a:pPr algn="r" defTabSz="685800"/>
              <a:endParaRPr lang="en-US" sz="1350" b="1" dirty="0">
                <a:solidFill>
                  <a:srgbClr val="E3E48D"/>
                </a:solidFill>
                <a:latin typeface="+mj-lt"/>
              </a:endParaRPr>
            </a:p>
          </p:txBody>
        </p:sp>
        <p:sp>
          <p:nvSpPr>
            <p:cNvPr id="69" name="Text Placeholder 28">
              <a:extLst>
                <a:ext uri="{FF2B5EF4-FFF2-40B4-BE49-F238E27FC236}">
                  <a16:creationId xmlns:a16="http://schemas.microsoft.com/office/drawing/2014/main" id="{74298C95-881F-A228-304E-0615DE4F99D0}"/>
                </a:ext>
              </a:extLst>
            </p:cNvPr>
            <p:cNvSpPr txBox="1">
              <a:spLocks/>
            </p:cNvSpPr>
            <p:nvPr/>
          </p:nvSpPr>
          <p:spPr>
            <a:xfrm>
              <a:off x="7629771" y="4875045"/>
              <a:ext cx="4264574" cy="1575880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SzPct val="100000"/>
                <a:buFontTx/>
                <a:buNone/>
                <a:defRPr sz="1200" b="0" kern="120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1pPr>
              <a:lvl2pPr marL="1397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200" b="0" kern="1200" dirty="0" smtClean="0">
                  <a:solidFill>
                    <a:schemeClr val="tx1"/>
                  </a:solidFill>
                  <a:latin typeface="+mj-lt"/>
                  <a:ea typeface="+mn-ea"/>
                  <a:cs typeface="Calibri Light" panose="020F0302020204030204" pitchFamily="34" charset="0"/>
                </a:defRPr>
              </a:lvl2pPr>
              <a:lvl3pPr marL="3048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−"/>
                <a:defRPr lang="en-US" sz="1200" kern="120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3pPr>
              <a:lvl4pPr marL="469900" indent="-1397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◦"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4pPr>
              <a:lvl5pPr marL="635000" indent="-139700" algn="l" defTabSz="798513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−"/>
                <a:tabLst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Calibri Light" panose="020F0302020204030204" pitchFamily="34" charset="0"/>
                </a:defRPr>
              </a:lvl5pPr>
              <a:lvl6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hu-HU" sz="1600" dirty="0">
                  <a:latin typeface="+mj-lt"/>
                </a:rPr>
                <a:t>Ritka kompetenciákat igényel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hu-HU" sz="1600" dirty="0">
                  <a:latin typeface="+mj-lt"/>
                </a:rPr>
                <a:t>Sokszállítós együttműködé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hu-HU" sz="1600" dirty="0">
                  <a:latin typeface="+mj-lt"/>
                </a:rPr>
                <a:t>Hosszú projektfutá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hu-HU" sz="1600" dirty="0">
                  <a:latin typeface="+mj-lt"/>
                </a:rPr>
                <a:t>Kultúrharc, komoly szervezeti ellenállás</a:t>
              </a:r>
              <a:endParaRPr lang="en-US" sz="1600"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4025766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8C72127-C2EC-9805-6CC0-F7ADEB2A29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hu-HU" dirty="0"/>
              <a:t>A hálózati infrastruktúra zónái és a pontosan kifejezett rendszerkapcsolatok 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AE3635-A411-6F61-5930-7B9108048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Integrációs Architektúra</a:t>
            </a:r>
            <a:endParaRPr lang="en-US" dirty="0"/>
          </a:p>
        </p:txBody>
      </p:sp>
      <p:sp>
        <p:nvSpPr>
          <p:cNvPr id="6" name="Téglalap 35">
            <a:extLst>
              <a:ext uri="{FF2B5EF4-FFF2-40B4-BE49-F238E27FC236}">
                <a16:creationId xmlns:a16="http://schemas.microsoft.com/office/drawing/2014/main" id="{67D6D7D3-C674-BB9A-7158-E44A9DC5DDF8}"/>
              </a:ext>
            </a:extLst>
          </p:cNvPr>
          <p:cNvSpPr/>
          <p:nvPr/>
        </p:nvSpPr>
        <p:spPr>
          <a:xfrm>
            <a:off x="585914" y="3319995"/>
            <a:ext cx="10612640" cy="1907110"/>
          </a:xfrm>
          <a:prstGeom prst="rect">
            <a:avLst/>
          </a:prstGeom>
          <a:solidFill>
            <a:srgbClr val="7030A0">
              <a:alpha val="12000"/>
            </a:srgbClr>
          </a:solidFill>
          <a:ln w="571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hu-HU" dirty="0" err="1">
                <a:solidFill>
                  <a:schemeClr val="accent2"/>
                </a:solidFill>
              </a:rPr>
              <a:t>Integration</a:t>
            </a:r>
            <a:endParaRPr lang="hu-HU" dirty="0">
              <a:solidFill>
                <a:schemeClr val="accent2"/>
              </a:solidFill>
            </a:endParaRPr>
          </a:p>
        </p:txBody>
      </p:sp>
      <p:sp>
        <p:nvSpPr>
          <p:cNvPr id="7" name="Téglalap 36">
            <a:extLst>
              <a:ext uri="{FF2B5EF4-FFF2-40B4-BE49-F238E27FC236}">
                <a16:creationId xmlns:a16="http://schemas.microsoft.com/office/drawing/2014/main" id="{97B59FC7-5DEC-C496-D942-B11A095A4170}"/>
              </a:ext>
            </a:extLst>
          </p:cNvPr>
          <p:cNvSpPr/>
          <p:nvPr/>
        </p:nvSpPr>
        <p:spPr>
          <a:xfrm>
            <a:off x="585914" y="1185088"/>
            <a:ext cx="10612640" cy="2080092"/>
          </a:xfrm>
          <a:prstGeom prst="rect">
            <a:avLst/>
          </a:prstGeom>
          <a:solidFill>
            <a:srgbClr val="00B050">
              <a:alpha val="12000"/>
            </a:srgbClr>
          </a:solidFill>
          <a:ln w="571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hu-HU" dirty="0" err="1">
                <a:solidFill>
                  <a:schemeClr val="accent2"/>
                </a:solidFill>
              </a:rPr>
              <a:t>Interaction</a:t>
            </a:r>
            <a:endParaRPr lang="hu-HU" dirty="0">
              <a:solidFill>
                <a:schemeClr val="accent2"/>
              </a:solidFill>
            </a:endParaRPr>
          </a:p>
        </p:txBody>
      </p:sp>
      <p:sp>
        <p:nvSpPr>
          <p:cNvPr id="8" name="Téglalap 16">
            <a:extLst>
              <a:ext uri="{FF2B5EF4-FFF2-40B4-BE49-F238E27FC236}">
                <a16:creationId xmlns:a16="http://schemas.microsoft.com/office/drawing/2014/main" id="{F30EAD8D-8A05-D5B9-31A5-BBD99803A6BC}"/>
              </a:ext>
            </a:extLst>
          </p:cNvPr>
          <p:cNvSpPr/>
          <p:nvPr/>
        </p:nvSpPr>
        <p:spPr>
          <a:xfrm>
            <a:off x="856885" y="1700456"/>
            <a:ext cx="4113047" cy="3298049"/>
          </a:xfrm>
          <a:prstGeom prst="rect">
            <a:avLst/>
          </a:prstGeom>
          <a:solidFill>
            <a:srgbClr val="00B050">
              <a:alpha val="26000"/>
            </a:srgbClr>
          </a:solidFill>
          <a:ln w="571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hu-HU" dirty="0"/>
              <a:t>HQ</a:t>
            </a:r>
          </a:p>
        </p:txBody>
      </p:sp>
      <p:sp>
        <p:nvSpPr>
          <p:cNvPr id="9" name="Téglalap 145">
            <a:extLst>
              <a:ext uri="{FF2B5EF4-FFF2-40B4-BE49-F238E27FC236}">
                <a16:creationId xmlns:a16="http://schemas.microsoft.com/office/drawing/2014/main" id="{B3D3FB57-BF9B-2DA8-7BDF-79C4DFACBA30}"/>
              </a:ext>
            </a:extLst>
          </p:cNvPr>
          <p:cNvSpPr/>
          <p:nvPr/>
        </p:nvSpPr>
        <p:spPr>
          <a:xfrm>
            <a:off x="6769951" y="1700456"/>
            <a:ext cx="4113047" cy="3298049"/>
          </a:xfrm>
          <a:prstGeom prst="rect">
            <a:avLst/>
          </a:prstGeom>
          <a:solidFill>
            <a:srgbClr val="00B050">
              <a:alpha val="26000"/>
            </a:srgbClr>
          </a:solidFill>
          <a:ln w="571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hu-HU" dirty="0"/>
              <a:t>Bank HU</a:t>
            </a:r>
          </a:p>
        </p:txBody>
      </p:sp>
      <p:sp>
        <p:nvSpPr>
          <p:cNvPr id="10" name="Téglalap 158">
            <a:extLst>
              <a:ext uri="{FF2B5EF4-FFF2-40B4-BE49-F238E27FC236}">
                <a16:creationId xmlns:a16="http://schemas.microsoft.com/office/drawing/2014/main" id="{10A7F754-AFB2-F780-4BEA-C48D90C8D801}"/>
              </a:ext>
            </a:extLst>
          </p:cNvPr>
          <p:cNvSpPr/>
          <p:nvPr/>
        </p:nvSpPr>
        <p:spPr>
          <a:xfrm>
            <a:off x="7065214" y="2345460"/>
            <a:ext cx="485609" cy="2210814"/>
          </a:xfrm>
          <a:prstGeom prst="rect">
            <a:avLst/>
          </a:prstGeom>
          <a:solidFill>
            <a:schemeClr val="accent3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rtlCol="0" anchor="t"/>
          <a:lstStyle/>
          <a:p>
            <a:pPr algn="ctr"/>
            <a:r>
              <a:rPr lang="hu-HU" sz="1000" dirty="0">
                <a:solidFill>
                  <a:schemeClr val="dk1"/>
                </a:solidFill>
              </a:rPr>
              <a:t>IIB </a:t>
            </a:r>
          </a:p>
          <a:p>
            <a:pPr algn="ctr"/>
            <a:r>
              <a:rPr lang="hu-HU" sz="1000" dirty="0"/>
              <a:t>(</a:t>
            </a:r>
            <a:r>
              <a:rPr lang="hu-HU" sz="1000" dirty="0" err="1"/>
              <a:t>transformation</a:t>
            </a:r>
            <a:r>
              <a:rPr lang="hu-HU" sz="1000" dirty="0"/>
              <a:t> and </a:t>
            </a:r>
            <a:r>
              <a:rPr lang="hu-HU" sz="1000" dirty="0" err="1"/>
              <a:t>routing</a:t>
            </a:r>
            <a:r>
              <a:rPr lang="hu-HU" sz="1000" dirty="0"/>
              <a:t>)</a:t>
            </a:r>
            <a:endParaRPr lang="hu-HU" sz="1000" dirty="0">
              <a:solidFill>
                <a:schemeClr val="dk1"/>
              </a:solidFill>
            </a:endParaRPr>
          </a:p>
        </p:txBody>
      </p:sp>
      <p:sp>
        <p:nvSpPr>
          <p:cNvPr id="11" name="Téglalap 3">
            <a:extLst>
              <a:ext uri="{FF2B5EF4-FFF2-40B4-BE49-F238E27FC236}">
                <a16:creationId xmlns:a16="http://schemas.microsoft.com/office/drawing/2014/main" id="{1E536383-6BCC-7702-418C-3B96A830945D}"/>
              </a:ext>
            </a:extLst>
          </p:cNvPr>
          <p:cNvSpPr/>
          <p:nvPr/>
        </p:nvSpPr>
        <p:spPr>
          <a:xfrm>
            <a:off x="1107341" y="2493164"/>
            <a:ext cx="964803" cy="539358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hu-HU" sz="1050" dirty="0"/>
              <a:t>T24</a:t>
            </a:r>
          </a:p>
        </p:txBody>
      </p:sp>
      <p:sp>
        <p:nvSpPr>
          <p:cNvPr id="12" name="Téglalap 4">
            <a:extLst>
              <a:ext uri="{FF2B5EF4-FFF2-40B4-BE49-F238E27FC236}">
                <a16:creationId xmlns:a16="http://schemas.microsoft.com/office/drawing/2014/main" id="{31BC6FF2-4EB2-AEED-50F1-281CDAB18438}"/>
              </a:ext>
            </a:extLst>
          </p:cNvPr>
          <p:cNvSpPr/>
          <p:nvPr/>
        </p:nvSpPr>
        <p:spPr>
          <a:xfrm>
            <a:off x="2017203" y="2436461"/>
            <a:ext cx="343530" cy="260831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hu-HU" sz="500" dirty="0"/>
              <a:t>IRIS v2</a:t>
            </a:r>
          </a:p>
        </p:txBody>
      </p:sp>
      <p:grpSp>
        <p:nvGrpSpPr>
          <p:cNvPr id="13" name="Csoportba foglalás 5">
            <a:extLst>
              <a:ext uri="{FF2B5EF4-FFF2-40B4-BE49-F238E27FC236}">
                <a16:creationId xmlns:a16="http://schemas.microsoft.com/office/drawing/2014/main" id="{9AE0923B-C69E-3725-B8D8-FB33CB61A7E8}"/>
              </a:ext>
            </a:extLst>
          </p:cNvPr>
          <p:cNvGrpSpPr/>
          <p:nvPr/>
        </p:nvGrpSpPr>
        <p:grpSpPr>
          <a:xfrm>
            <a:off x="3906583" y="2298803"/>
            <a:ext cx="373592" cy="674416"/>
            <a:chOff x="2987753" y="4742125"/>
            <a:chExt cx="1474373" cy="825788"/>
          </a:xfrm>
          <a:solidFill>
            <a:srgbClr val="FF6699"/>
          </a:solidFill>
        </p:grpSpPr>
        <p:sp>
          <p:nvSpPr>
            <p:cNvPr id="14" name="Téglalap 6">
              <a:extLst>
                <a:ext uri="{FF2B5EF4-FFF2-40B4-BE49-F238E27FC236}">
                  <a16:creationId xmlns:a16="http://schemas.microsoft.com/office/drawing/2014/main" id="{D866E840-F2AE-D311-1BA1-FCE197869818}"/>
                </a:ext>
              </a:extLst>
            </p:cNvPr>
            <p:cNvSpPr/>
            <p:nvPr/>
          </p:nvSpPr>
          <p:spPr>
            <a:xfrm>
              <a:off x="2987753" y="4742125"/>
              <a:ext cx="1371600" cy="691116"/>
            </a:xfrm>
            <a:prstGeom prst="rect">
              <a:avLst/>
            </a:prstGeom>
            <a:grpFill/>
            <a:ln>
              <a:solidFill>
                <a:srgbClr val="FF0066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vert" rtlCol="0" anchor="ctr"/>
            <a:lstStyle/>
            <a:p>
              <a:pPr algn="ctr"/>
              <a:r>
                <a:rPr lang="hu-HU" sz="700" dirty="0"/>
                <a:t>Microservice</a:t>
              </a:r>
            </a:p>
          </p:txBody>
        </p:sp>
        <p:sp>
          <p:nvSpPr>
            <p:cNvPr id="15" name="Téglalap 8">
              <a:extLst>
                <a:ext uri="{FF2B5EF4-FFF2-40B4-BE49-F238E27FC236}">
                  <a16:creationId xmlns:a16="http://schemas.microsoft.com/office/drawing/2014/main" id="{2E348F61-B33F-33FA-CA9B-1B1647C0F11B}"/>
                </a:ext>
              </a:extLst>
            </p:cNvPr>
            <p:cNvSpPr/>
            <p:nvPr/>
          </p:nvSpPr>
          <p:spPr>
            <a:xfrm>
              <a:off x="3090526" y="4876797"/>
              <a:ext cx="1371600" cy="691116"/>
            </a:xfrm>
            <a:prstGeom prst="rect">
              <a:avLst/>
            </a:prstGeom>
            <a:grpFill/>
            <a:ln>
              <a:solidFill>
                <a:srgbClr val="FF0066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vert" rtlCol="0" anchor="ctr"/>
            <a:lstStyle/>
            <a:p>
              <a:pPr algn="ctr"/>
              <a:r>
                <a:rPr lang="hu-HU" sz="700" dirty="0"/>
                <a:t>Microservice</a:t>
              </a:r>
            </a:p>
          </p:txBody>
        </p:sp>
        <p:sp>
          <p:nvSpPr>
            <p:cNvPr id="16" name="Téglalap 7">
              <a:extLst>
                <a:ext uri="{FF2B5EF4-FFF2-40B4-BE49-F238E27FC236}">
                  <a16:creationId xmlns:a16="http://schemas.microsoft.com/office/drawing/2014/main" id="{BF061E54-80C2-4751-760F-3012C8351C22}"/>
                </a:ext>
              </a:extLst>
            </p:cNvPr>
            <p:cNvSpPr/>
            <p:nvPr/>
          </p:nvSpPr>
          <p:spPr>
            <a:xfrm>
              <a:off x="3033823" y="4798828"/>
              <a:ext cx="1371599" cy="691116"/>
            </a:xfrm>
            <a:prstGeom prst="rect">
              <a:avLst/>
            </a:prstGeom>
            <a:grpFill/>
            <a:ln>
              <a:solidFill>
                <a:srgbClr val="FF0066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vert" rtlCol="0" anchor="ctr"/>
            <a:lstStyle/>
            <a:p>
              <a:pPr algn="ctr"/>
              <a:r>
                <a:rPr lang="hu-HU" sz="600" dirty="0"/>
                <a:t>Microservice</a:t>
              </a:r>
            </a:p>
            <a:p>
              <a:pPr algn="ctr"/>
              <a:r>
                <a:rPr lang="hu-HU" sz="600" dirty="0"/>
                <a:t>(</a:t>
              </a:r>
              <a:r>
                <a:rPr lang="hu-HU" sz="600" dirty="0" err="1"/>
                <a:t>transform</a:t>
              </a:r>
              <a:r>
                <a:rPr lang="hu-HU" sz="600" dirty="0"/>
                <a:t>)</a:t>
              </a:r>
            </a:p>
          </p:txBody>
        </p:sp>
      </p:grpSp>
      <p:sp>
        <p:nvSpPr>
          <p:cNvPr id="17" name="Téglalap 9">
            <a:extLst>
              <a:ext uri="{FF2B5EF4-FFF2-40B4-BE49-F238E27FC236}">
                <a16:creationId xmlns:a16="http://schemas.microsoft.com/office/drawing/2014/main" id="{1F6122D1-D55F-2343-B974-5D15FBEA6EDF}"/>
              </a:ext>
            </a:extLst>
          </p:cNvPr>
          <p:cNvSpPr/>
          <p:nvPr/>
        </p:nvSpPr>
        <p:spPr>
          <a:xfrm>
            <a:off x="4300420" y="1978827"/>
            <a:ext cx="364177" cy="999760"/>
          </a:xfrm>
          <a:prstGeom prst="rect">
            <a:avLst/>
          </a:prstGeom>
          <a:solidFill>
            <a:srgbClr val="FF6699"/>
          </a:solidFill>
          <a:ln>
            <a:solidFill>
              <a:srgbClr val="FF006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" rtlCol="0" anchor="ctr"/>
          <a:lstStyle/>
          <a:p>
            <a:pPr algn="ctr"/>
            <a:r>
              <a:rPr lang="hu-HU" sz="900" dirty="0"/>
              <a:t>API MGMNT Platform</a:t>
            </a:r>
          </a:p>
        </p:txBody>
      </p:sp>
      <p:sp>
        <p:nvSpPr>
          <p:cNvPr id="18" name="Téglalap 10">
            <a:extLst>
              <a:ext uri="{FF2B5EF4-FFF2-40B4-BE49-F238E27FC236}">
                <a16:creationId xmlns:a16="http://schemas.microsoft.com/office/drawing/2014/main" id="{5ABF5366-A857-2C2E-CCEE-4AA2D66D6E96}"/>
              </a:ext>
            </a:extLst>
          </p:cNvPr>
          <p:cNvSpPr/>
          <p:nvPr/>
        </p:nvSpPr>
        <p:spPr>
          <a:xfrm>
            <a:off x="9303751" y="1970058"/>
            <a:ext cx="1003045" cy="439759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hu-HU" sz="900" dirty="0" err="1">
                <a:solidFill>
                  <a:schemeClr val="dk1"/>
                </a:solidFill>
              </a:rPr>
              <a:t>Light</a:t>
            </a:r>
            <a:r>
              <a:rPr lang="hu-HU" sz="900" dirty="0">
                <a:solidFill>
                  <a:schemeClr val="dk1"/>
                </a:solidFill>
              </a:rPr>
              <a:t> </a:t>
            </a:r>
          </a:p>
          <a:p>
            <a:pPr algn="ctr"/>
            <a:r>
              <a:rPr lang="hu-HU" sz="900" dirty="0">
                <a:solidFill>
                  <a:schemeClr val="dk1"/>
                </a:solidFill>
              </a:rPr>
              <a:t>front-</a:t>
            </a:r>
            <a:r>
              <a:rPr lang="hu-HU" sz="900" dirty="0" err="1">
                <a:solidFill>
                  <a:schemeClr val="dk1"/>
                </a:solidFill>
              </a:rPr>
              <a:t>ends</a:t>
            </a:r>
            <a:endParaRPr lang="hu-HU" sz="900" dirty="0">
              <a:solidFill>
                <a:schemeClr val="dk1"/>
              </a:solidFill>
            </a:endParaRPr>
          </a:p>
        </p:txBody>
      </p:sp>
      <p:sp>
        <p:nvSpPr>
          <p:cNvPr id="19" name="Téglalap 11">
            <a:extLst>
              <a:ext uri="{FF2B5EF4-FFF2-40B4-BE49-F238E27FC236}">
                <a16:creationId xmlns:a16="http://schemas.microsoft.com/office/drawing/2014/main" id="{43DC696A-464F-CB7A-BA87-5DDE18FD7A61}"/>
              </a:ext>
            </a:extLst>
          </p:cNvPr>
          <p:cNvSpPr/>
          <p:nvPr/>
        </p:nvSpPr>
        <p:spPr>
          <a:xfrm>
            <a:off x="4298728" y="3735887"/>
            <a:ext cx="359771" cy="1075326"/>
          </a:xfrm>
          <a:prstGeom prst="rect">
            <a:avLst/>
          </a:prstGeom>
          <a:solidFill>
            <a:srgbClr val="FF6699"/>
          </a:solidFill>
          <a:ln>
            <a:solidFill>
              <a:srgbClr val="FF006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" rtlCol="0" anchor="ctr"/>
          <a:lstStyle/>
          <a:p>
            <a:pPr algn="ctr"/>
            <a:r>
              <a:rPr lang="hu-HU" sz="900" dirty="0" err="1"/>
              <a:t>Event</a:t>
            </a:r>
            <a:r>
              <a:rPr lang="hu-HU" sz="900" dirty="0"/>
              <a:t> </a:t>
            </a:r>
            <a:r>
              <a:rPr lang="hu-HU" sz="900" dirty="0" err="1"/>
              <a:t>streaming</a:t>
            </a:r>
            <a:r>
              <a:rPr lang="hu-HU" sz="900" dirty="0"/>
              <a:t> platform</a:t>
            </a:r>
          </a:p>
        </p:txBody>
      </p:sp>
      <p:cxnSp>
        <p:nvCxnSpPr>
          <p:cNvPr id="20" name="Egyenes összekötő nyíllal 17">
            <a:extLst>
              <a:ext uri="{FF2B5EF4-FFF2-40B4-BE49-F238E27FC236}">
                <a16:creationId xmlns:a16="http://schemas.microsoft.com/office/drawing/2014/main" id="{DB6A0AB8-63D4-C670-F040-9CD63DAFC2E6}"/>
              </a:ext>
            </a:extLst>
          </p:cNvPr>
          <p:cNvCxnSpPr>
            <a:stCxn id="12" idx="3"/>
            <a:endCxn id="14" idx="1"/>
          </p:cNvCxnSpPr>
          <p:nvPr/>
        </p:nvCxnSpPr>
        <p:spPr>
          <a:xfrm>
            <a:off x="2360733" y="2566877"/>
            <a:ext cx="1545850" cy="1414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zögletes összekötő 24">
            <a:extLst>
              <a:ext uri="{FF2B5EF4-FFF2-40B4-BE49-F238E27FC236}">
                <a16:creationId xmlns:a16="http://schemas.microsoft.com/office/drawing/2014/main" id="{E7783C12-68D1-FC0F-F263-8BC10A6449DD}"/>
              </a:ext>
            </a:extLst>
          </p:cNvPr>
          <p:cNvCxnSpPr>
            <a:endCxn id="22" idx="2"/>
          </p:cNvCxnSpPr>
          <p:nvPr/>
        </p:nvCxnSpPr>
        <p:spPr>
          <a:xfrm flipV="1">
            <a:off x="4694257" y="3519304"/>
            <a:ext cx="4324303" cy="1167544"/>
          </a:xfrm>
          <a:prstGeom prst="bentConnector2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Téglalap 25">
            <a:extLst>
              <a:ext uri="{FF2B5EF4-FFF2-40B4-BE49-F238E27FC236}">
                <a16:creationId xmlns:a16="http://schemas.microsoft.com/office/drawing/2014/main" id="{1469B0C1-9F00-08AF-2FB9-41907CDE7FF4}"/>
              </a:ext>
            </a:extLst>
          </p:cNvPr>
          <p:cNvSpPr/>
          <p:nvPr/>
        </p:nvSpPr>
        <p:spPr>
          <a:xfrm>
            <a:off x="8517037" y="3011889"/>
            <a:ext cx="1003045" cy="507415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hu-HU" sz="900" dirty="0"/>
              <a:t>Local</a:t>
            </a:r>
            <a:r>
              <a:rPr lang="hu-HU" sz="900" dirty="0">
                <a:solidFill>
                  <a:schemeClr val="dk1"/>
                </a:solidFill>
              </a:rPr>
              <a:t> </a:t>
            </a:r>
            <a:r>
              <a:rPr lang="hu-HU" sz="900" dirty="0" err="1">
                <a:solidFill>
                  <a:schemeClr val="dk1"/>
                </a:solidFill>
              </a:rPr>
              <a:t>Application</a:t>
            </a:r>
            <a:endParaRPr lang="hu-HU" sz="900" dirty="0">
              <a:solidFill>
                <a:schemeClr val="dk1"/>
              </a:solidFill>
            </a:endParaRPr>
          </a:p>
        </p:txBody>
      </p:sp>
      <p:cxnSp>
        <p:nvCxnSpPr>
          <p:cNvPr id="23" name="Szögletes összekötő 31">
            <a:extLst>
              <a:ext uri="{FF2B5EF4-FFF2-40B4-BE49-F238E27FC236}">
                <a16:creationId xmlns:a16="http://schemas.microsoft.com/office/drawing/2014/main" id="{194F85E0-43F2-0AF7-A22E-9CC1CDB13A87}"/>
              </a:ext>
            </a:extLst>
          </p:cNvPr>
          <p:cNvCxnSpPr>
            <a:endCxn id="18" idx="1"/>
          </p:cNvCxnSpPr>
          <p:nvPr/>
        </p:nvCxnSpPr>
        <p:spPr>
          <a:xfrm>
            <a:off x="4710884" y="2189312"/>
            <a:ext cx="4592867" cy="626"/>
          </a:xfrm>
          <a:prstGeom prst="bentConnector3">
            <a:avLst>
              <a:gd name="adj1" fmla="val 50000"/>
            </a:avLst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zögletes összekötő 33">
            <a:extLst>
              <a:ext uri="{FF2B5EF4-FFF2-40B4-BE49-F238E27FC236}">
                <a16:creationId xmlns:a16="http://schemas.microsoft.com/office/drawing/2014/main" id="{111B662B-E093-DB4B-D8F0-7B44E924B3F7}"/>
              </a:ext>
            </a:extLst>
          </p:cNvPr>
          <p:cNvCxnSpPr/>
          <p:nvPr/>
        </p:nvCxnSpPr>
        <p:spPr>
          <a:xfrm rot="10800000">
            <a:off x="4287054" y="3563947"/>
            <a:ext cx="2794166" cy="436345"/>
          </a:xfrm>
          <a:prstGeom prst="bentConnector3">
            <a:avLst>
              <a:gd name="adj1" fmla="val 50000"/>
            </a:avLst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zögletes összekötő 45">
            <a:extLst>
              <a:ext uri="{FF2B5EF4-FFF2-40B4-BE49-F238E27FC236}">
                <a16:creationId xmlns:a16="http://schemas.microsoft.com/office/drawing/2014/main" id="{8782F6F4-3B49-6E85-84B5-3BC2B195AE89}"/>
              </a:ext>
            </a:extLst>
          </p:cNvPr>
          <p:cNvCxnSpPr/>
          <p:nvPr/>
        </p:nvCxnSpPr>
        <p:spPr>
          <a:xfrm>
            <a:off x="1406675" y="3032521"/>
            <a:ext cx="2868705" cy="1401966"/>
          </a:xfrm>
          <a:prstGeom prst="bentConnector3">
            <a:avLst>
              <a:gd name="adj1" fmla="val -89"/>
            </a:avLst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zögletes összekötő 47">
            <a:extLst>
              <a:ext uri="{FF2B5EF4-FFF2-40B4-BE49-F238E27FC236}">
                <a16:creationId xmlns:a16="http://schemas.microsoft.com/office/drawing/2014/main" id="{D47697FA-5669-D82E-8920-F3A21E612C1E}"/>
              </a:ext>
            </a:extLst>
          </p:cNvPr>
          <p:cNvCxnSpPr>
            <a:stCxn id="12" idx="0"/>
          </p:cNvCxnSpPr>
          <p:nvPr/>
        </p:nvCxnSpPr>
        <p:spPr>
          <a:xfrm rot="5400000" flipH="1" flipV="1">
            <a:off x="3156418" y="1262797"/>
            <a:ext cx="206215" cy="2141114"/>
          </a:xfrm>
          <a:prstGeom prst="bentConnector2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Szövegdoboz 60">
            <a:extLst>
              <a:ext uri="{FF2B5EF4-FFF2-40B4-BE49-F238E27FC236}">
                <a16:creationId xmlns:a16="http://schemas.microsoft.com/office/drawing/2014/main" id="{F8047D5A-098F-4BA3-95CC-53852C0F7EA9}"/>
              </a:ext>
            </a:extLst>
          </p:cNvPr>
          <p:cNvSpPr txBox="1"/>
          <p:nvPr/>
        </p:nvSpPr>
        <p:spPr>
          <a:xfrm>
            <a:off x="5922193" y="2268507"/>
            <a:ext cx="480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800" dirty="0"/>
              <a:t>REST</a:t>
            </a:r>
          </a:p>
        </p:txBody>
      </p:sp>
      <p:sp>
        <p:nvSpPr>
          <p:cNvPr id="28" name="Szövegdoboz 61">
            <a:extLst>
              <a:ext uri="{FF2B5EF4-FFF2-40B4-BE49-F238E27FC236}">
                <a16:creationId xmlns:a16="http://schemas.microsoft.com/office/drawing/2014/main" id="{AD6401E5-AF24-76A3-72F6-6D31F9857AD1}"/>
              </a:ext>
            </a:extLst>
          </p:cNvPr>
          <p:cNvSpPr txBox="1"/>
          <p:nvPr/>
        </p:nvSpPr>
        <p:spPr>
          <a:xfrm>
            <a:off x="8310032" y="3986295"/>
            <a:ext cx="84224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800" dirty="0"/>
              <a:t>XML / JMS</a:t>
            </a:r>
          </a:p>
        </p:txBody>
      </p:sp>
      <p:cxnSp>
        <p:nvCxnSpPr>
          <p:cNvPr id="29" name="Szögletes összekötő 106">
            <a:extLst>
              <a:ext uri="{FF2B5EF4-FFF2-40B4-BE49-F238E27FC236}">
                <a16:creationId xmlns:a16="http://schemas.microsoft.com/office/drawing/2014/main" id="{0BAEE2EF-6652-014E-2073-0DCDD4C6F489}"/>
              </a:ext>
            </a:extLst>
          </p:cNvPr>
          <p:cNvCxnSpPr>
            <a:endCxn id="22" idx="0"/>
          </p:cNvCxnSpPr>
          <p:nvPr/>
        </p:nvCxnSpPr>
        <p:spPr>
          <a:xfrm>
            <a:off x="4694257" y="2298803"/>
            <a:ext cx="4324303" cy="713086"/>
          </a:xfrm>
          <a:prstGeom prst="bentConnector2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Szövegdoboz 109">
            <a:extLst>
              <a:ext uri="{FF2B5EF4-FFF2-40B4-BE49-F238E27FC236}">
                <a16:creationId xmlns:a16="http://schemas.microsoft.com/office/drawing/2014/main" id="{36D3BF1A-D8CA-8514-EF16-9FE09E42B5BA}"/>
              </a:ext>
            </a:extLst>
          </p:cNvPr>
          <p:cNvSpPr txBox="1"/>
          <p:nvPr/>
        </p:nvSpPr>
        <p:spPr>
          <a:xfrm>
            <a:off x="5926269" y="2014800"/>
            <a:ext cx="6660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800" dirty="0"/>
              <a:t>REST</a:t>
            </a:r>
          </a:p>
        </p:txBody>
      </p:sp>
      <p:sp>
        <p:nvSpPr>
          <p:cNvPr id="31" name="Szövegdoboz 111">
            <a:extLst>
              <a:ext uri="{FF2B5EF4-FFF2-40B4-BE49-F238E27FC236}">
                <a16:creationId xmlns:a16="http://schemas.microsoft.com/office/drawing/2014/main" id="{7A4F319C-99B4-85A1-FD6A-144034B5E253}"/>
              </a:ext>
            </a:extLst>
          </p:cNvPr>
          <p:cNvSpPr txBox="1"/>
          <p:nvPr/>
        </p:nvSpPr>
        <p:spPr>
          <a:xfrm>
            <a:off x="1588640" y="3667757"/>
            <a:ext cx="77209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800" dirty="0"/>
              <a:t>OFS / JMS</a:t>
            </a:r>
          </a:p>
        </p:txBody>
      </p:sp>
      <p:sp>
        <p:nvSpPr>
          <p:cNvPr id="32" name="Téglalap 38">
            <a:extLst>
              <a:ext uri="{FF2B5EF4-FFF2-40B4-BE49-F238E27FC236}">
                <a16:creationId xmlns:a16="http://schemas.microsoft.com/office/drawing/2014/main" id="{0C9916A1-967C-72FC-235A-A24FFE02918F}"/>
              </a:ext>
            </a:extLst>
          </p:cNvPr>
          <p:cNvSpPr/>
          <p:nvPr/>
        </p:nvSpPr>
        <p:spPr>
          <a:xfrm>
            <a:off x="2398235" y="5428622"/>
            <a:ext cx="752088" cy="371966"/>
          </a:xfrm>
          <a:prstGeom prst="rect">
            <a:avLst/>
          </a:prstGeom>
          <a:solidFill>
            <a:srgbClr val="FF6699"/>
          </a:solidFill>
          <a:ln>
            <a:solidFill>
              <a:srgbClr val="FF006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700" dirty="0" err="1"/>
              <a:t>Temenos</a:t>
            </a:r>
            <a:r>
              <a:rPr lang="en-US" sz="700" dirty="0"/>
              <a:t> Competence Center</a:t>
            </a:r>
            <a:endParaRPr lang="hu-HU" sz="700" dirty="0"/>
          </a:p>
        </p:txBody>
      </p:sp>
      <p:cxnSp>
        <p:nvCxnSpPr>
          <p:cNvPr id="33" name="Szögletes összekötő 39">
            <a:extLst>
              <a:ext uri="{FF2B5EF4-FFF2-40B4-BE49-F238E27FC236}">
                <a16:creationId xmlns:a16="http://schemas.microsoft.com/office/drawing/2014/main" id="{F9539513-26F9-DEAC-76B7-7B7E020856CF}"/>
              </a:ext>
            </a:extLst>
          </p:cNvPr>
          <p:cNvCxnSpPr>
            <a:endCxn id="35" idx="1"/>
          </p:cNvCxnSpPr>
          <p:nvPr/>
        </p:nvCxnSpPr>
        <p:spPr>
          <a:xfrm flipV="1">
            <a:off x="4948187" y="5514578"/>
            <a:ext cx="559880" cy="4267"/>
          </a:xfrm>
          <a:prstGeom prst="bentConnector3">
            <a:avLst>
              <a:gd name="adj1" fmla="val 50000"/>
            </a:avLst>
          </a:prstGeom>
          <a:ln w="28575">
            <a:headEnd type="none" w="med" len="med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zögletes összekötő 43">
            <a:extLst>
              <a:ext uri="{FF2B5EF4-FFF2-40B4-BE49-F238E27FC236}">
                <a16:creationId xmlns:a16="http://schemas.microsoft.com/office/drawing/2014/main" id="{73048F5F-1D3A-1093-59AA-75CE6F8BB149}"/>
              </a:ext>
            </a:extLst>
          </p:cNvPr>
          <p:cNvCxnSpPr>
            <a:endCxn id="36" idx="1"/>
          </p:cNvCxnSpPr>
          <p:nvPr/>
        </p:nvCxnSpPr>
        <p:spPr>
          <a:xfrm>
            <a:off x="4948187" y="5740301"/>
            <a:ext cx="559880" cy="905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Szövegdoboz 28">
            <a:extLst>
              <a:ext uri="{FF2B5EF4-FFF2-40B4-BE49-F238E27FC236}">
                <a16:creationId xmlns:a16="http://schemas.microsoft.com/office/drawing/2014/main" id="{24D30B05-EB38-5BEC-6ACA-1A40AA313206}"/>
              </a:ext>
            </a:extLst>
          </p:cNvPr>
          <p:cNvSpPr txBox="1"/>
          <p:nvPr/>
        </p:nvSpPr>
        <p:spPr>
          <a:xfrm>
            <a:off x="5508067" y="5414550"/>
            <a:ext cx="1261884" cy="20005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700" dirty="0"/>
              <a:t>Default integration path</a:t>
            </a:r>
            <a:endParaRPr lang="hu-HU" sz="700" dirty="0"/>
          </a:p>
        </p:txBody>
      </p:sp>
      <p:sp>
        <p:nvSpPr>
          <p:cNvPr id="36" name="Szövegdoboz 50">
            <a:extLst>
              <a:ext uri="{FF2B5EF4-FFF2-40B4-BE49-F238E27FC236}">
                <a16:creationId xmlns:a16="http://schemas.microsoft.com/office/drawing/2014/main" id="{9F6F62DE-6153-5D71-764C-19F7A6D75333}"/>
              </a:ext>
            </a:extLst>
          </p:cNvPr>
          <p:cNvSpPr txBox="1"/>
          <p:nvPr/>
        </p:nvSpPr>
        <p:spPr>
          <a:xfrm>
            <a:off x="5508067" y="5641178"/>
            <a:ext cx="1313180" cy="20005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700" dirty="0"/>
              <a:t>Optional integration path</a:t>
            </a:r>
            <a:endParaRPr lang="hu-HU" sz="700" dirty="0"/>
          </a:p>
        </p:txBody>
      </p:sp>
      <p:cxnSp>
        <p:nvCxnSpPr>
          <p:cNvPr id="37" name="Szögletes összekötő 95">
            <a:extLst>
              <a:ext uri="{FF2B5EF4-FFF2-40B4-BE49-F238E27FC236}">
                <a16:creationId xmlns:a16="http://schemas.microsoft.com/office/drawing/2014/main" id="{77A27581-F4A5-9FA6-B2DD-92A9435DB6C2}"/>
              </a:ext>
            </a:extLst>
          </p:cNvPr>
          <p:cNvCxnSpPr>
            <a:stCxn id="11" idx="2"/>
            <a:endCxn id="44" idx="1"/>
          </p:cNvCxnSpPr>
          <p:nvPr/>
        </p:nvCxnSpPr>
        <p:spPr>
          <a:xfrm rot="16200000" flipH="1">
            <a:off x="2357805" y="2264459"/>
            <a:ext cx="813637" cy="2349761"/>
          </a:xfrm>
          <a:prstGeom prst="bentConnector2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zögletes összekötő 128">
            <a:extLst>
              <a:ext uri="{FF2B5EF4-FFF2-40B4-BE49-F238E27FC236}">
                <a16:creationId xmlns:a16="http://schemas.microsoft.com/office/drawing/2014/main" id="{D53407E0-72AF-EDFB-232D-35C0462559B9}"/>
              </a:ext>
            </a:extLst>
          </p:cNvPr>
          <p:cNvCxnSpPr>
            <a:endCxn id="22" idx="1"/>
          </p:cNvCxnSpPr>
          <p:nvPr/>
        </p:nvCxnSpPr>
        <p:spPr>
          <a:xfrm>
            <a:off x="7550823" y="2863233"/>
            <a:ext cx="966214" cy="402364"/>
          </a:xfrm>
          <a:prstGeom prst="bentConnector3">
            <a:avLst>
              <a:gd name="adj1" fmla="val 50000"/>
            </a:avLst>
          </a:prstGeom>
          <a:ln w="28575">
            <a:headEnd type="triangle" w="med" len="med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zögletes összekötő 129">
            <a:extLst>
              <a:ext uri="{FF2B5EF4-FFF2-40B4-BE49-F238E27FC236}">
                <a16:creationId xmlns:a16="http://schemas.microsoft.com/office/drawing/2014/main" id="{4315EE12-3D5E-0F7B-AFAE-24300AE43475}"/>
              </a:ext>
            </a:extLst>
          </p:cNvPr>
          <p:cNvCxnSpPr>
            <a:stCxn id="12" idx="2"/>
          </p:cNvCxnSpPr>
          <p:nvPr/>
        </p:nvCxnSpPr>
        <p:spPr>
          <a:xfrm rot="16200000" flipH="1">
            <a:off x="4400409" y="485850"/>
            <a:ext cx="453363" cy="4876245"/>
          </a:xfrm>
          <a:prstGeom prst="bentConnector2">
            <a:avLst/>
          </a:prstGeom>
          <a:ln w="28575">
            <a:headEnd type="triangle" w="med" len="med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églalap 130">
            <a:extLst>
              <a:ext uri="{FF2B5EF4-FFF2-40B4-BE49-F238E27FC236}">
                <a16:creationId xmlns:a16="http://schemas.microsoft.com/office/drawing/2014/main" id="{45E699D0-8F39-2EBE-4698-DE52D4CE01D5}"/>
              </a:ext>
            </a:extLst>
          </p:cNvPr>
          <p:cNvSpPr/>
          <p:nvPr/>
        </p:nvSpPr>
        <p:spPr>
          <a:xfrm>
            <a:off x="8559576" y="5441912"/>
            <a:ext cx="917966" cy="371966"/>
          </a:xfrm>
          <a:prstGeom prst="rect">
            <a:avLst/>
          </a:prstGeom>
          <a:solidFill>
            <a:schemeClr val="accent3"/>
          </a:solidFill>
          <a:ln>
            <a:solidFill>
              <a:srgbClr val="FF006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hu-HU" sz="700" dirty="0"/>
              <a:t>Bank </a:t>
            </a:r>
            <a:r>
              <a:rPr lang="hu-HU" sz="700" dirty="0" err="1"/>
              <a:t>Integration</a:t>
            </a:r>
            <a:r>
              <a:rPr lang="hu-HU" sz="700" dirty="0"/>
              <a:t> </a:t>
            </a:r>
            <a:r>
              <a:rPr lang="hu-HU" sz="700" dirty="0" err="1"/>
              <a:t>competence</a:t>
            </a:r>
            <a:r>
              <a:rPr lang="hu-HU" sz="700" dirty="0"/>
              <a:t> center</a:t>
            </a:r>
          </a:p>
        </p:txBody>
      </p:sp>
      <p:grpSp>
        <p:nvGrpSpPr>
          <p:cNvPr id="41" name="Csoportba foglalás 131">
            <a:extLst>
              <a:ext uri="{FF2B5EF4-FFF2-40B4-BE49-F238E27FC236}">
                <a16:creationId xmlns:a16="http://schemas.microsoft.com/office/drawing/2014/main" id="{8012C07A-4182-0E19-5B66-2390606A3913}"/>
              </a:ext>
            </a:extLst>
          </p:cNvPr>
          <p:cNvGrpSpPr/>
          <p:nvPr/>
        </p:nvGrpSpPr>
        <p:grpSpPr>
          <a:xfrm>
            <a:off x="3927830" y="3517635"/>
            <a:ext cx="373592" cy="674416"/>
            <a:chOff x="2987753" y="4742125"/>
            <a:chExt cx="1474373" cy="825788"/>
          </a:xfrm>
          <a:solidFill>
            <a:srgbClr val="FF6699"/>
          </a:solidFill>
        </p:grpSpPr>
        <p:sp>
          <p:nvSpPr>
            <p:cNvPr id="42" name="Téglalap 132">
              <a:extLst>
                <a:ext uri="{FF2B5EF4-FFF2-40B4-BE49-F238E27FC236}">
                  <a16:creationId xmlns:a16="http://schemas.microsoft.com/office/drawing/2014/main" id="{CD65DD9D-79B0-7B88-88A3-54F237592110}"/>
                </a:ext>
              </a:extLst>
            </p:cNvPr>
            <p:cNvSpPr/>
            <p:nvPr/>
          </p:nvSpPr>
          <p:spPr>
            <a:xfrm>
              <a:off x="2987753" y="4742125"/>
              <a:ext cx="1371600" cy="691116"/>
            </a:xfrm>
            <a:prstGeom prst="rect">
              <a:avLst/>
            </a:prstGeom>
            <a:grpFill/>
            <a:ln>
              <a:solidFill>
                <a:srgbClr val="FF0066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vert" rtlCol="0" anchor="ctr"/>
            <a:lstStyle/>
            <a:p>
              <a:pPr algn="ctr"/>
              <a:r>
                <a:rPr lang="hu-HU" sz="700" dirty="0"/>
                <a:t>Microservice</a:t>
              </a:r>
            </a:p>
          </p:txBody>
        </p:sp>
        <p:sp>
          <p:nvSpPr>
            <p:cNvPr id="43" name="Téglalap 133">
              <a:extLst>
                <a:ext uri="{FF2B5EF4-FFF2-40B4-BE49-F238E27FC236}">
                  <a16:creationId xmlns:a16="http://schemas.microsoft.com/office/drawing/2014/main" id="{E9D1EEC6-E2FB-2FCD-84D1-BCBFD78F488D}"/>
                </a:ext>
              </a:extLst>
            </p:cNvPr>
            <p:cNvSpPr/>
            <p:nvPr/>
          </p:nvSpPr>
          <p:spPr>
            <a:xfrm>
              <a:off x="3090526" y="4876797"/>
              <a:ext cx="1371600" cy="691116"/>
            </a:xfrm>
            <a:prstGeom prst="rect">
              <a:avLst/>
            </a:prstGeom>
            <a:grpFill/>
            <a:ln>
              <a:solidFill>
                <a:srgbClr val="FF0066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vert" rtlCol="0" anchor="ctr"/>
            <a:lstStyle/>
            <a:p>
              <a:pPr algn="ctr"/>
              <a:r>
                <a:rPr lang="hu-HU" sz="700" dirty="0"/>
                <a:t>Microservice</a:t>
              </a:r>
            </a:p>
          </p:txBody>
        </p:sp>
        <p:sp>
          <p:nvSpPr>
            <p:cNvPr id="44" name="Téglalap 134">
              <a:extLst>
                <a:ext uri="{FF2B5EF4-FFF2-40B4-BE49-F238E27FC236}">
                  <a16:creationId xmlns:a16="http://schemas.microsoft.com/office/drawing/2014/main" id="{AF4C0EDF-3F65-067A-B762-232A4553C7FE}"/>
                </a:ext>
              </a:extLst>
            </p:cNvPr>
            <p:cNvSpPr/>
            <p:nvPr/>
          </p:nvSpPr>
          <p:spPr>
            <a:xfrm>
              <a:off x="3033823" y="4798828"/>
              <a:ext cx="1371599" cy="691116"/>
            </a:xfrm>
            <a:prstGeom prst="rect">
              <a:avLst/>
            </a:prstGeom>
            <a:grpFill/>
            <a:ln>
              <a:solidFill>
                <a:srgbClr val="FF0066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vert" rtlCol="0" anchor="ctr"/>
            <a:lstStyle/>
            <a:p>
              <a:pPr algn="ctr"/>
              <a:r>
                <a:rPr lang="hu-HU" sz="600" dirty="0"/>
                <a:t>Microservice</a:t>
              </a:r>
            </a:p>
            <a:p>
              <a:pPr algn="ctr"/>
              <a:r>
                <a:rPr lang="hu-HU" sz="600" dirty="0"/>
                <a:t>(</a:t>
              </a:r>
              <a:r>
                <a:rPr lang="hu-HU" sz="600" dirty="0" err="1"/>
                <a:t>transform</a:t>
              </a:r>
              <a:r>
                <a:rPr lang="hu-HU" sz="600" dirty="0"/>
                <a:t>)</a:t>
              </a:r>
            </a:p>
          </p:txBody>
        </p:sp>
      </p:grpSp>
      <p:cxnSp>
        <p:nvCxnSpPr>
          <p:cNvPr id="45" name="Szögletes összekötő 135">
            <a:extLst>
              <a:ext uri="{FF2B5EF4-FFF2-40B4-BE49-F238E27FC236}">
                <a16:creationId xmlns:a16="http://schemas.microsoft.com/office/drawing/2014/main" id="{4AD43D2C-E290-22A5-61AE-8817BE4A0F39}"/>
              </a:ext>
            </a:extLst>
          </p:cNvPr>
          <p:cNvCxnSpPr/>
          <p:nvPr/>
        </p:nvCxnSpPr>
        <p:spPr>
          <a:xfrm rot="10800000" flipV="1">
            <a:off x="7550824" y="3527467"/>
            <a:ext cx="1266381" cy="472826"/>
          </a:xfrm>
          <a:prstGeom prst="bentConnector3">
            <a:avLst>
              <a:gd name="adj1" fmla="val 717"/>
            </a:avLst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zögletes összekötő 163">
            <a:extLst>
              <a:ext uri="{FF2B5EF4-FFF2-40B4-BE49-F238E27FC236}">
                <a16:creationId xmlns:a16="http://schemas.microsoft.com/office/drawing/2014/main" id="{722EBEEB-0B82-6D9A-1EAE-DA7A76D68F88}"/>
              </a:ext>
            </a:extLst>
          </p:cNvPr>
          <p:cNvCxnSpPr>
            <a:endCxn id="10" idx="1"/>
          </p:cNvCxnSpPr>
          <p:nvPr/>
        </p:nvCxnSpPr>
        <p:spPr>
          <a:xfrm>
            <a:off x="1832714" y="3024896"/>
            <a:ext cx="5232500" cy="425971"/>
          </a:xfrm>
          <a:prstGeom prst="bentConnector3">
            <a:avLst>
              <a:gd name="adj1" fmla="val 70"/>
            </a:avLst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zögletes összekötő 167">
            <a:extLst>
              <a:ext uri="{FF2B5EF4-FFF2-40B4-BE49-F238E27FC236}">
                <a16:creationId xmlns:a16="http://schemas.microsoft.com/office/drawing/2014/main" id="{15854C0B-86D5-B827-278C-084405778E5A}"/>
              </a:ext>
            </a:extLst>
          </p:cNvPr>
          <p:cNvCxnSpPr/>
          <p:nvPr/>
        </p:nvCxnSpPr>
        <p:spPr>
          <a:xfrm rot="10800000">
            <a:off x="1960815" y="3046003"/>
            <a:ext cx="5104401" cy="277612"/>
          </a:xfrm>
          <a:prstGeom prst="bentConnector3">
            <a:avLst>
              <a:gd name="adj1" fmla="val 99761"/>
            </a:avLst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zögletes összekötő 180">
            <a:extLst>
              <a:ext uri="{FF2B5EF4-FFF2-40B4-BE49-F238E27FC236}">
                <a16:creationId xmlns:a16="http://schemas.microsoft.com/office/drawing/2014/main" id="{52726879-14AE-2784-3FD5-A2A51A5742F5}"/>
              </a:ext>
            </a:extLst>
          </p:cNvPr>
          <p:cNvCxnSpPr/>
          <p:nvPr/>
        </p:nvCxnSpPr>
        <p:spPr>
          <a:xfrm>
            <a:off x="2262537" y="2726467"/>
            <a:ext cx="4802676" cy="303797"/>
          </a:xfrm>
          <a:prstGeom prst="bentConnector3">
            <a:avLst>
              <a:gd name="adj1" fmla="val 437"/>
            </a:avLst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" name="Szövegdoboz 51">
            <a:extLst>
              <a:ext uri="{FF2B5EF4-FFF2-40B4-BE49-F238E27FC236}">
                <a16:creationId xmlns:a16="http://schemas.microsoft.com/office/drawing/2014/main" id="{35B1BD6C-68D0-B407-EC2C-440653DA297C}"/>
              </a:ext>
            </a:extLst>
          </p:cNvPr>
          <p:cNvSpPr txBox="1"/>
          <p:nvPr/>
        </p:nvSpPr>
        <p:spPr>
          <a:xfrm>
            <a:off x="8039549" y="2803515"/>
            <a:ext cx="4808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800" dirty="0"/>
              <a:t>REST </a:t>
            </a:r>
            <a:r>
              <a:rPr lang="hu-HU" sz="800" dirty="0" err="1"/>
              <a:t>or</a:t>
            </a:r>
            <a:r>
              <a:rPr lang="hu-HU" sz="800" dirty="0"/>
              <a:t> SOAP</a:t>
            </a:r>
          </a:p>
        </p:txBody>
      </p:sp>
      <p:sp>
        <p:nvSpPr>
          <p:cNvPr id="50" name="Szövegdoboz 52">
            <a:extLst>
              <a:ext uri="{FF2B5EF4-FFF2-40B4-BE49-F238E27FC236}">
                <a16:creationId xmlns:a16="http://schemas.microsoft.com/office/drawing/2014/main" id="{4C29A9CA-D49B-F32B-0F7D-36813CB89F15}"/>
              </a:ext>
            </a:extLst>
          </p:cNvPr>
          <p:cNvSpPr txBox="1"/>
          <p:nvPr/>
        </p:nvSpPr>
        <p:spPr>
          <a:xfrm>
            <a:off x="6262327" y="3986295"/>
            <a:ext cx="84224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800" dirty="0"/>
              <a:t>XML / JMS</a:t>
            </a:r>
          </a:p>
        </p:txBody>
      </p:sp>
      <p:sp>
        <p:nvSpPr>
          <p:cNvPr id="51" name="Szövegdoboz 53">
            <a:extLst>
              <a:ext uri="{FF2B5EF4-FFF2-40B4-BE49-F238E27FC236}">
                <a16:creationId xmlns:a16="http://schemas.microsoft.com/office/drawing/2014/main" id="{225C28E5-AC4A-7512-1F8F-81643B7D99EF}"/>
              </a:ext>
            </a:extLst>
          </p:cNvPr>
          <p:cNvSpPr txBox="1"/>
          <p:nvPr/>
        </p:nvSpPr>
        <p:spPr>
          <a:xfrm>
            <a:off x="1874640" y="4230329"/>
            <a:ext cx="77209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800" dirty="0"/>
              <a:t>OFS / JMS</a:t>
            </a:r>
          </a:p>
        </p:txBody>
      </p:sp>
    </p:spTree>
    <p:extLst>
      <p:ext uri="{BB962C8B-B14F-4D97-AF65-F5344CB8AC3E}">
        <p14:creationId xmlns:p14="http://schemas.microsoft.com/office/powerpoint/2010/main" val="2403594387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DBF7606-2577-DFD8-1B1C-792D8F8293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DBF7606-2577-DFD8-1B1C-792D8F8293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</a:t>
            </a:r>
            <a:r>
              <a:rPr lang="hu-HU" dirty="0" err="1"/>
              <a:t>ystem</a:t>
            </a:r>
            <a:r>
              <a:rPr lang="hu-HU" dirty="0"/>
              <a:t> </a:t>
            </a:r>
            <a:r>
              <a:rPr lang="hu-HU" dirty="0" err="1"/>
              <a:t>Integration</a:t>
            </a:r>
            <a:r>
              <a:rPr lang="hu-HU" dirty="0"/>
              <a:t> </a:t>
            </a:r>
            <a:r>
              <a:rPr lang="hu-HU" b="0" dirty="0"/>
              <a:t>(SI)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Gyakorl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6647923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D6BBA49-D777-5F5F-94F9-1E960D60CC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9050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D6BBA49-D777-5F5F-94F9-1E960D60CC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hu-HU" dirty="0"/>
              <a:t>System </a:t>
            </a:r>
            <a:r>
              <a:rPr lang="hu-HU" dirty="0" err="1"/>
              <a:t>Integration</a:t>
            </a:r>
            <a:r>
              <a:rPr lang="hu-HU" dirty="0"/>
              <a:t> – tervezési feladat</a:t>
            </a:r>
            <a:endParaRPr lang="en-US" dirty="0"/>
          </a:p>
        </p:txBody>
      </p:sp>
      <p:graphicFrame>
        <p:nvGraphicFramePr>
          <p:cNvPr id="19" name="Chart Placeholder 18"/>
          <p:cNvGraphicFramePr>
            <a:graphicFrameLocks noGrp="1"/>
          </p:cNvGraphicFramePr>
          <p:nvPr>
            <p:ph type="chart" sz="quarter" idx="4294967295"/>
            <p:extLst>
              <p:ext uri="{D42A27DB-BD31-4B8C-83A1-F6EECF244321}">
                <p14:modId xmlns:p14="http://schemas.microsoft.com/office/powerpoint/2010/main" val="3212964077"/>
              </p:ext>
            </p:extLst>
          </p:nvPr>
        </p:nvGraphicFramePr>
        <p:xfrm>
          <a:off x="496817" y="1363215"/>
          <a:ext cx="11237911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1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265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24263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hu-HU" sz="1600" b="1" dirty="0">
                          <a:solidFill>
                            <a:schemeClr val="accent4"/>
                          </a:solidFill>
                          <a:latin typeface="+mn-lt"/>
                        </a:rPr>
                        <a:t>Alap információk</a:t>
                      </a:r>
                      <a:endParaRPr lang="en-US" sz="1600" b="1" dirty="0">
                        <a:solidFill>
                          <a:schemeClr val="accent4"/>
                        </a:solidFill>
                        <a:latin typeface="+mn-lt"/>
                      </a:endParaRPr>
                    </a:p>
                  </a:txBody>
                  <a:tcPr marL="91909" marR="91909"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hu-HU" sz="1600" b="0" dirty="0">
                          <a:solidFill>
                            <a:schemeClr val="tx1"/>
                          </a:solidFill>
                        </a:rPr>
                        <a:t>A !</a:t>
                      </a:r>
                      <a:r>
                        <a:rPr lang="hu-HU" sz="1600" b="0" dirty="0" err="1">
                          <a:solidFill>
                            <a:schemeClr val="tx1"/>
                          </a:solidFill>
                        </a:rPr>
                        <a:t>loadMe</a:t>
                      </a:r>
                      <a:r>
                        <a:rPr lang="hu-HU" sz="1600" b="0" dirty="0">
                          <a:solidFill>
                            <a:schemeClr val="tx1"/>
                          </a:solidFill>
                        </a:rPr>
                        <a:t> új diagnosztikai funkcionalitást vezet be (</a:t>
                      </a:r>
                      <a:r>
                        <a:rPr lang="hu-HU" sz="1600" b="0" dirty="0" err="1">
                          <a:solidFill>
                            <a:schemeClr val="tx1"/>
                          </a:solidFill>
                        </a:rPr>
                        <a:t>Heart</a:t>
                      </a:r>
                      <a:r>
                        <a:rPr lang="hu-HU" sz="1600" b="0" dirty="0">
                          <a:solidFill>
                            <a:schemeClr val="tx1"/>
                          </a:solidFill>
                        </a:rPr>
                        <a:t>-Beat), melyet egy konzol (műszerfal) alkalmazás testesíti meg, rendelkezik HQ back-end és </a:t>
                      </a:r>
                      <a:r>
                        <a:rPr lang="hu-HU" sz="1600" b="0" dirty="0" err="1">
                          <a:solidFill>
                            <a:schemeClr val="tx1"/>
                          </a:solidFill>
                        </a:rPr>
                        <a:t>cloud</a:t>
                      </a:r>
                      <a:r>
                        <a:rPr lang="hu-HU" sz="1600" b="0" dirty="0">
                          <a:solidFill>
                            <a:schemeClr val="tx1"/>
                          </a:solidFill>
                        </a:rPr>
                        <a:t> front-end komponensekkel.</a:t>
                      </a:r>
                    </a:p>
                    <a:p>
                      <a:r>
                        <a:rPr lang="hu-HU" sz="1600" b="0" dirty="0">
                          <a:solidFill>
                            <a:schemeClr val="tx1"/>
                          </a:solidFill>
                        </a:rPr>
                        <a:t>A jármű gyártója befogadja a </a:t>
                      </a:r>
                      <a:r>
                        <a:rPr lang="hu-HU" sz="1600" b="0" dirty="0" err="1">
                          <a:solidFill>
                            <a:schemeClr val="tx1"/>
                          </a:solidFill>
                        </a:rPr>
                        <a:t>store-jába</a:t>
                      </a:r>
                      <a:r>
                        <a:rPr lang="hu-HU" sz="1600" b="0" dirty="0">
                          <a:solidFill>
                            <a:schemeClr val="tx1"/>
                          </a:solidFill>
                        </a:rPr>
                        <a:t> az alkalmazást, ami korlátozott diagnosztikai adatokat kap a járműről, majd központi AI segítségével kategorizálja, esetleg frissítési sablonokat tölt le és telepít.</a:t>
                      </a:r>
                    </a:p>
                  </a:txBody>
                  <a:tcPr marL="91909" marR="91909" marT="91440" marB="9144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hu-HU" dirty="0"/>
              <a:t>Gyakorlati feladat II.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D5BF219-F022-D711-4B6B-6E48DDC6803D}"/>
              </a:ext>
            </a:extLst>
          </p:cNvPr>
          <p:cNvSpPr/>
          <p:nvPr/>
        </p:nvSpPr>
        <p:spPr bwMode="gray">
          <a:xfrm>
            <a:off x="2247900" y="3088401"/>
            <a:ext cx="9450479" cy="125302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91440" tIns="91440" rIns="91440" bIns="91440" rtlCol="0" anchor="ctr"/>
          <a:lstStyle/>
          <a:p>
            <a:r>
              <a:rPr lang="hu-HU" dirty="0"/>
              <a:t>Tervezzük meg a kapcsolatokat és adjuk meg, minek kell szerepelnie a szállítónak átadott szabálykönyvben!</a:t>
            </a:r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67321A41-04DB-006D-91D2-B2506902E083}"/>
              </a:ext>
            </a:extLst>
          </p:cNvPr>
          <p:cNvSpPr/>
          <p:nvPr/>
        </p:nvSpPr>
        <p:spPr bwMode="gray">
          <a:xfrm>
            <a:off x="493621" y="3262179"/>
            <a:ext cx="1435100" cy="882163"/>
          </a:xfrm>
          <a:prstGeom prst="rightArrow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hu-HU" sz="1600" b="1" dirty="0">
                <a:solidFill>
                  <a:schemeClr val="bg1"/>
                </a:solidFill>
              </a:rPr>
              <a:t>Feladat</a:t>
            </a: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876714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0C89F07-F979-4C2F-70FE-7FBB9C140D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0C89F07-F979-4C2F-70FE-7FBB9C140D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2AE3635-A411-6F61-5930-7B9108048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hu-HU" dirty="0"/>
              <a:t>Megoldás I.</a:t>
            </a:r>
            <a:endParaRPr lang="en-US" b="1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F6319D7-130B-0C95-5DDE-EE9E36AD41CF}"/>
              </a:ext>
            </a:extLst>
          </p:cNvPr>
          <p:cNvSpPr txBox="1">
            <a:spLocks/>
          </p:cNvSpPr>
          <p:nvPr/>
        </p:nvSpPr>
        <p:spPr>
          <a:xfrm>
            <a:off x="497681" y="651601"/>
            <a:ext cx="11201400" cy="334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dirty="0"/>
              <a:t>Integrációs architektúra – tervezési feladat: A kiindulási állapot (alapszolgáltatások nélkül)</a:t>
            </a:r>
            <a:endParaRPr lang="en-US" dirty="0"/>
          </a:p>
        </p:txBody>
      </p:sp>
      <p:sp>
        <p:nvSpPr>
          <p:cNvPr id="2" name="Cloud 172">
            <a:extLst>
              <a:ext uri="{FF2B5EF4-FFF2-40B4-BE49-F238E27FC236}">
                <a16:creationId xmlns:a16="http://schemas.microsoft.com/office/drawing/2014/main" id="{6559E8E0-9518-AD4B-1959-C021E3E68D1D}"/>
              </a:ext>
            </a:extLst>
          </p:cNvPr>
          <p:cNvSpPr/>
          <p:nvPr/>
        </p:nvSpPr>
        <p:spPr>
          <a:xfrm>
            <a:off x="609600" y="1419725"/>
            <a:ext cx="4712540" cy="3102019"/>
          </a:xfrm>
          <a:prstGeom prst="cloud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ounded Rectangle 169">
            <a:extLst>
              <a:ext uri="{FF2B5EF4-FFF2-40B4-BE49-F238E27FC236}">
                <a16:creationId xmlns:a16="http://schemas.microsoft.com/office/drawing/2014/main" id="{BE5ACA78-F015-8B09-2AB7-C869774C86EB}"/>
              </a:ext>
            </a:extLst>
          </p:cNvPr>
          <p:cNvSpPr/>
          <p:nvPr/>
        </p:nvSpPr>
        <p:spPr>
          <a:xfrm>
            <a:off x="5614737" y="2823411"/>
            <a:ext cx="5753363" cy="3364103"/>
          </a:xfrm>
          <a:prstGeom prst="roundRect">
            <a:avLst>
              <a:gd name="adj" fmla="val 10984"/>
            </a:avLst>
          </a:prstGeom>
          <a:solidFill>
            <a:srgbClr val="00B050">
              <a:alpha val="10000"/>
            </a:srgbClr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bject 4">
            <a:extLst>
              <a:ext uri="{FF2B5EF4-FFF2-40B4-BE49-F238E27FC236}">
                <a16:creationId xmlns:a16="http://schemas.microsoft.com/office/drawing/2014/main" id="{0AA6F97B-327F-4033-C131-C1CDB9C53DF8}"/>
              </a:ext>
            </a:extLst>
          </p:cNvPr>
          <p:cNvSpPr txBox="1"/>
          <p:nvPr/>
        </p:nvSpPr>
        <p:spPr>
          <a:xfrm>
            <a:off x="8778250" y="5942725"/>
            <a:ext cx="240718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lvl="2" algn="ctr">
              <a:spcAft>
                <a:spcPts val="300"/>
              </a:spcAft>
              <a:buClr>
                <a:schemeClr val="tx1"/>
              </a:buClr>
              <a:buSzPct val="100000"/>
            </a:pPr>
            <a:r>
              <a:rPr lang="hu-HU" sz="1200" b="1" i="1" dirty="0">
                <a:solidFill>
                  <a:srgbClr val="000000"/>
                </a:solidFill>
              </a:rPr>
              <a:t>On-Premise </a:t>
            </a:r>
            <a:r>
              <a:rPr lang="en-US" sz="1200" b="1" i="1" dirty="0">
                <a:solidFill>
                  <a:srgbClr val="000000"/>
                </a:solidFill>
              </a:rPr>
              <a:t>Internal Network</a:t>
            </a:r>
            <a:r>
              <a:rPr lang="hu-HU" sz="1200" b="1" i="1" dirty="0">
                <a:solidFill>
                  <a:srgbClr val="000000"/>
                </a:solidFill>
              </a:rPr>
              <a:t> </a:t>
            </a:r>
            <a:r>
              <a:rPr lang="hu-HU" sz="1200" b="1" i="1" dirty="0" err="1">
                <a:solidFill>
                  <a:srgbClr val="000000"/>
                </a:solidFill>
              </a:rPr>
              <a:t>Zone</a:t>
            </a:r>
            <a:endParaRPr lang="en-US" sz="1200" b="1" i="1" dirty="0">
              <a:solidFill>
                <a:srgbClr val="000000"/>
              </a:solidFill>
            </a:endParaRPr>
          </a:p>
        </p:txBody>
      </p:sp>
      <p:sp>
        <p:nvSpPr>
          <p:cNvPr id="41" name="Rectangle 192">
            <a:extLst>
              <a:ext uri="{FF2B5EF4-FFF2-40B4-BE49-F238E27FC236}">
                <a16:creationId xmlns:a16="http://schemas.microsoft.com/office/drawing/2014/main" id="{BC6177FF-CC56-6F72-2170-0F818B993F7D}"/>
              </a:ext>
            </a:extLst>
          </p:cNvPr>
          <p:cNvSpPr/>
          <p:nvPr/>
        </p:nvSpPr>
        <p:spPr>
          <a:xfrm>
            <a:off x="3496500" y="1634060"/>
            <a:ext cx="1432550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50" b="1" dirty="0" err="1"/>
              <a:t>Publi</a:t>
            </a:r>
            <a:r>
              <a:rPr lang="hu-HU" sz="950" b="1" dirty="0"/>
              <a:t>c </a:t>
            </a:r>
            <a:r>
              <a:rPr lang="en-US" sz="950" b="1" dirty="0"/>
              <a:t>Internet</a:t>
            </a:r>
            <a:r>
              <a:rPr lang="hu-HU" sz="950" b="1" dirty="0"/>
              <a:t> /</a:t>
            </a:r>
            <a:br>
              <a:rPr lang="hu-HU" sz="950" b="1" dirty="0"/>
            </a:br>
            <a:r>
              <a:rPr lang="hu-HU" sz="950" b="1" dirty="0"/>
              <a:t> </a:t>
            </a:r>
            <a:r>
              <a:rPr lang="hu-HU" sz="950" b="1" dirty="0" err="1"/>
              <a:t>External</a:t>
            </a:r>
            <a:r>
              <a:rPr lang="hu-HU" sz="950" b="1" dirty="0"/>
              <a:t> </a:t>
            </a:r>
            <a:r>
              <a:rPr lang="hu-HU" sz="950" b="1" dirty="0" err="1"/>
              <a:t>Zone</a:t>
            </a:r>
            <a:endParaRPr lang="en-US" sz="950" b="1" dirty="0"/>
          </a:p>
        </p:txBody>
      </p:sp>
      <p:sp>
        <p:nvSpPr>
          <p:cNvPr id="16" name="Rounded Rectangle 169">
            <a:extLst>
              <a:ext uri="{FF2B5EF4-FFF2-40B4-BE49-F238E27FC236}">
                <a16:creationId xmlns:a16="http://schemas.microsoft.com/office/drawing/2014/main" id="{6A46839C-71E2-FF47-0C9C-49B7A550BF4B}"/>
              </a:ext>
            </a:extLst>
          </p:cNvPr>
          <p:cNvSpPr/>
          <p:nvPr/>
        </p:nvSpPr>
        <p:spPr>
          <a:xfrm>
            <a:off x="5791200" y="2991404"/>
            <a:ext cx="5378079" cy="943151"/>
          </a:xfrm>
          <a:prstGeom prst="roundRect">
            <a:avLst>
              <a:gd name="adj" fmla="val 10984"/>
            </a:avLst>
          </a:prstGeom>
          <a:solidFill>
            <a:srgbClr val="00B050">
              <a:alpha val="10000"/>
            </a:srgbClr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r"/>
            <a:r>
              <a:rPr lang="hu-HU" sz="1200" dirty="0">
                <a:solidFill>
                  <a:schemeClr val="tx1"/>
                </a:solidFill>
              </a:rPr>
              <a:t>Front-End </a:t>
            </a:r>
            <a:r>
              <a:rPr lang="hu-HU" sz="1200" dirty="0" err="1">
                <a:solidFill>
                  <a:schemeClr val="tx1"/>
                </a:solidFill>
              </a:rPr>
              <a:t>Zon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7" name="Rectangle 390">
            <a:extLst>
              <a:ext uri="{FF2B5EF4-FFF2-40B4-BE49-F238E27FC236}">
                <a16:creationId xmlns:a16="http://schemas.microsoft.com/office/drawing/2014/main" id="{49164EDF-652D-6B52-08F0-0159B1875A19}"/>
              </a:ext>
            </a:extLst>
          </p:cNvPr>
          <p:cNvSpPr/>
          <p:nvPr/>
        </p:nvSpPr>
        <p:spPr>
          <a:xfrm>
            <a:off x="8088531" y="3200965"/>
            <a:ext cx="1255465" cy="4373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dirty="0">
              <a:solidFill>
                <a:schemeClr val="tx1"/>
              </a:solidFill>
            </a:endParaRPr>
          </a:p>
        </p:txBody>
      </p:sp>
      <p:sp>
        <p:nvSpPr>
          <p:cNvPr id="18" name="Rectangle 390">
            <a:extLst>
              <a:ext uri="{FF2B5EF4-FFF2-40B4-BE49-F238E27FC236}">
                <a16:creationId xmlns:a16="http://schemas.microsoft.com/office/drawing/2014/main" id="{0B682455-BE6F-84F7-D0CA-C2DF48B7C78F}"/>
              </a:ext>
            </a:extLst>
          </p:cNvPr>
          <p:cNvSpPr/>
          <p:nvPr/>
        </p:nvSpPr>
        <p:spPr>
          <a:xfrm>
            <a:off x="8202831" y="3133909"/>
            <a:ext cx="1255465" cy="4373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dirty="0">
              <a:solidFill>
                <a:schemeClr val="tx1"/>
              </a:solidFill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D5B0EA1-F6CA-2F83-4C13-051EB5C99A1E}"/>
              </a:ext>
            </a:extLst>
          </p:cNvPr>
          <p:cNvGrpSpPr/>
          <p:nvPr/>
        </p:nvGrpSpPr>
        <p:grpSpPr>
          <a:xfrm>
            <a:off x="7903740" y="3280894"/>
            <a:ext cx="1329162" cy="437362"/>
            <a:chOff x="2987070" y="5501830"/>
            <a:chExt cx="1255465" cy="437362"/>
          </a:xfrm>
          <a:solidFill>
            <a:srgbClr val="EAF3FA"/>
          </a:solidFill>
        </p:grpSpPr>
        <p:sp>
          <p:nvSpPr>
            <p:cNvPr id="28" name="Rectangle 390">
              <a:extLst>
                <a:ext uri="{FF2B5EF4-FFF2-40B4-BE49-F238E27FC236}">
                  <a16:creationId xmlns:a16="http://schemas.microsoft.com/office/drawing/2014/main" id="{883E336D-08B6-F888-7129-ED8EEF83379E}"/>
                </a:ext>
              </a:extLst>
            </p:cNvPr>
            <p:cNvSpPr/>
            <p:nvPr/>
          </p:nvSpPr>
          <p:spPr>
            <a:xfrm>
              <a:off x="2987070" y="5501830"/>
              <a:ext cx="1255465" cy="437362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hu-HU" sz="800" b="1" dirty="0">
                  <a:solidFill>
                    <a:schemeClr val="tx1"/>
                  </a:solidFill>
                </a:rPr>
                <a:t>!</a:t>
              </a:r>
              <a:r>
                <a:rPr lang="hu-HU" sz="800" b="1" dirty="0" err="1">
                  <a:solidFill>
                    <a:schemeClr val="tx1"/>
                  </a:solidFill>
                </a:rPr>
                <a:t>loadMe</a:t>
              </a:r>
              <a:r>
                <a:rPr lang="hu-HU" sz="800" b="1" dirty="0">
                  <a:solidFill>
                    <a:schemeClr val="tx1"/>
                  </a:solidFill>
                </a:rPr>
                <a:t> Front-end </a:t>
              </a:r>
            </a:p>
            <a:p>
              <a:pPr algn="r"/>
              <a:r>
                <a:rPr lang="en-US" sz="800" b="1" dirty="0">
                  <a:solidFill>
                    <a:schemeClr val="tx1"/>
                  </a:solidFill>
                </a:rPr>
                <a:t>App</a:t>
              </a:r>
              <a:r>
                <a:rPr lang="hu-HU" sz="800" b="1" dirty="0" err="1">
                  <a:solidFill>
                    <a:schemeClr val="tx1"/>
                  </a:solidFill>
                </a:rPr>
                <a:t>lications</a:t>
              </a:r>
              <a:r>
                <a:rPr lang="hu-HU" sz="800" b="1" dirty="0">
                  <a:solidFill>
                    <a:schemeClr val="tx1"/>
                  </a:solidFill>
                </a:rPr>
                <a:t> / </a:t>
              </a:r>
              <a:r>
                <a:rPr lang="hu-HU" sz="800" b="1" dirty="0" err="1">
                  <a:solidFill>
                    <a:schemeClr val="tx1"/>
                  </a:solidFill>
                </a:rPr>
                <a:t>DBs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29" name="Freeform 216">
              <a:extLst>
                <a:ext uri="{FF2B5EF4-FFF2-40B4-BE49-F238E27FC236}">
                  <a16:creationId xmlns:a16="http://schemas.microsoft.com/office/drawing/2014/main" id="{4EEA76B7-9A66-E15A-B233-7EA6585258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9516" y="5585180"/>
              <a:ext cx="255551" cy="255086"/>
            </a:xfrm>
            <a:custGeom>
              <a:avLst/>
              <a:gdLst>
                <a:gd name="T0" fmla="*/ 321 w 374"/>
                <a:gd name="T1" fmla="*/ 151 h 375"/>
                <a:gd name="T2" fmla="*/ 336 w 374"/>
                <a:gd name="T3" fmla="*/ 81 h 375"/>
                <a:gd name="T4" fmla="*/ 336 w 374"/>
                <a:gd name="T5" fmla="*/ 73 h 375"/>
                <a:gd name="T6" fmla="*/ 298 w 374"/>
                <a:gd name="T7" fmla="*/ 36 h 375"/>
                <a:gd name="T8" fmla="*/ 255 w 374"/>
                <a:gd name="T9" fmla="*/ 67 h 375"/>
                <a:gd name="T10" fmla="*/ 216 w 374"/>
                <a:gd name="T11" fmla="*/ 5 h 375"/>
                <a:gd name="T12" fmla="*/ 211 w 374"/>
                <a:gd name="T13" fmla="*/ 0 h 375"/>
                <a:gd name="T14" fmla="*/ 159 w 374"/>
                <a:gd name="T15" fmla="*/ 1 h 375"/>
                <a:gd name="T16" fmla="*/ 151 w 374"/>
                <a:gd name="T17" fmla="*/ 54 h 375"/>
                <a:gd name="T18" fmla="*/ 79 w 374"/>
                <a:gd name="T19" fmla="*/ 38 h 375"/>
                <a:gd name="T20" fmla="*/ 71 w 374"/>
                <a:gd name="T21" fmla="*/ 38 h 375"/>
                <a:gd name="T22" fmla="*/ 35 w 374"/>
                <a:gd name="T23" fmla="*/ 77 h 375"/>
                <a:gd name="T24" fmla="*/ 66 w 374"/>
                <a:gd name="T25" fmla="*/ 118 h 375"/>
                <a:gd name="T26" fmla="*/ 5 w 374"/>
                <a:gd name="T27" fmla="*/ 157 h 375"/>
                <a:gd name="T28" fmla="*/ 0 w 374"/>
                <a:gd name="T29" fmla="*/ 163 h 375"/>
                <a:gd name="T30" fmla="*/ 1 w 374"/>
                <a:gd name="T31" fmla="*/ 215 h 375"/>
                <a:gd name="T32" fmla="*/ 52 w 374"/>
                <a:gd name="T33" fmla="*/ 224 h 375"/>
                <a:gd name="T34" fmla="*/ 36 w 374"/>
                <a:gd name="T35" fmla="*/ 294 h 375"/>
                <a:gd name="T36" fmla="*/ 38 w 374"/>
                <a:gd name="T37" fmla="*/ 302 h 375"/>
                <a:gd name="T38" fmla="*/ 74 w 374"/>
                <a:gd name="T39" fmla="*/ 339 h 375"/>
                <a:gd name="T40" fmla="*/ 79 w 374"/>
                <a:gd name="T41" fmla="*/ 337 h 375"/>
                <a:gd name="T42" fmla="*/ 133 w 374"/>
                <a:gd name="T43" fmla="*/ 316 h 375"/>
                <a:gd name="T44" fmla="*/ 156 w 374"/>
                <a:gd name="T45" fmla="*/ 370 h 375"/>
                <a:gd name="T46" fmla="*/ 211 w 374"/>
                <a:gd name="T47" fmla="*/ 375 h 375"/>
                <a:gd name="T48" fmla="*/ 216 w 374"/>
                <a:gd name="T49" fmla="*/ 370 h 375"/>
                <a:gd name="T50" fmla="*/ 239 w 374"/>
                <a:gd name="T51" fmla="*/ 316 h 375"/>
                <a:gd name="T52" fmla="*/ 294 w 374"/>
                <a:gd name="T53" fmla="*/ 337 h 375"/>
                <a:gd name="T54" fmla="*/ 300 w 374"/>
                <a:gd name="T55" fmla="*/ 339 h 375"/>
                <a:gd name="T56" fmla="*/ 336 w 374"/>
                <a:gd name="T57" fmla="*/ 302 h 375"/>
                <a:gd name="T58" fmla="*/ 308 w 374"/>
                <a:gd name="T59" fmla="*/ 257 h 375"/>
                <a:gd name="T60" fmla="*/ 321 w 374"/>
                <a:gd name="T61" fmla="*/ 224 h 375"/>
                <a:gd name="T62" fmla="*/ 372 w 374"/>
                <a:gd name="T63" fmla="*/ 215 h 375"/>
                <a:gd name="T64" fmla="*/ 374 w 374"/>
                <a:gd name="T65" fmla="*/ 163 h 375"/>
                <a:gd name="T66" fmla="*/ 368 w 374"/>
                <a:gd name="T67" fmla="*/ 157 h 375"/>
                <a:gd name="T68" fmla="*/ 179 w 374"/>
                <a:gd name="T69" fmla="*/ 266 h 375"/>
                <a:gd name="T70" fmla="*/ 142 w 374"/>
                <a:gd name="T71" fmla="*/ 254 h 375"/>
                <a:gd name="T72" fmla="*/ 113 w 374"/>
                <a:gd name="T73" fmla="*/ 219 h 375"/>
                <a:gd name="T74" fmla="*/ 108 w 374"/>
                <a:gd name="T75" fmla="*/ 187 h 375"/>
                <a:gd name="T76" fmla="*/ 109 w 374"/>
                <a:gd name="T77" fmla="*/ 171 h 375"/>
                <a:gd name="T78" fmla="*/ 130 w 374"/>
                <a:gd name="T79" fmla="*/ 132 h 375"/>
                <a:gd name="T80" fmla="*/ 171 w 374"/>
                <a:gd name="T81" fmla="*/ 109 h 375"/>
                <a:gd name="T82" fmla="*/ 187 w 374"/>
                <a:gd name="T83" fmla="*/ 108 h 375"/>
                <a:gd name="T84" fmla="*/ 218 w 374"/>
                <a:gd name="T85" fmla="*/ 114 h 375"/>
                <a:gd name="T86" fmla="*/ 253 w 374"/>
                <a:gd name="T87" fmla="*/ 142 h 375"/>
                <a:gd name="T88" fmla="*/ 266 w 374"/>
                <a:gd name="T89" fmla="*/ 179 h 375"/>
                <a:gd name="T90" fmla="*/ 266 w 374"/>
                <a:gd name="T91" fmla="*/ 196 h 375"/>
                <a:gd name="T92" fmla="*/ 253 w 374"/>
                <a:gd name="T93" fmla="*/ 233 h 375"/>
                <a:gd name="T94" fmla="*/ 218 w 374"/>
                <a:gd name="T95" fmla="*/ 261 h 375"/>
                <a:gd name="T96" fmla="*/ 187 w 374"/>
                <a:gd name="T97" fmla="*/ 267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74" h="375">
                  <a:moveTo>
                    <a:pt x="368" y="157"/>
                  </a:moveTo>
                  <a:lnTo>
                    <a:pt x="321" y="151"/>
                  </a:lnTo>
                  <a:lnTo>
                    <a:pt x="321" y="151"/>
                  </a:lnTo>
                  <a:lnTo>
                    <a:pt x="314" y="134"/>
                  </a:lnTo>
                  <a:lnTo>
                    <a:pt x="308" y="118"/>
                  </a:lnTo>
                  <a:lnTo>
                    <a:pt x="336" y="81"/>
                  </a:lnTo>
                  <a:lnTo>
                    <a:pt x="336" y="81"/>
                  </a:lnTo>
                  <a:lnTo>
                    <a:pt x="337" y="77"/>
                  </a:lnTo>
                  <a:lnTo>
                    <a:pt x="336" y="73"/>
                  </a:lnTo>
                  <a:lnTo>
                    <a:pt x="302" y="38"/>
                  </a:lnTo>
                  <a:lnTo>
                    <a:pt x="302" y="38"/>
                  </a:lnTo>
                  <a:lnTo>
                    <a:pt x="298" y="36"/>
                  </a:lnTo>
                  <a:lnTo>
                    <a:pt x="294" y="38"/>
                  </a:lnTo>
                  <a:lnTo>
                    <a:pt x="255" y="67"/>
                  </a:lnTo>
                  <a:lnTo>
                    <a:pt x="255" y="67"/>
                  </a:lnTo>
                  <a:lnTo>
                    <a:pt x="239" y="59"/>
                  </a:lnTo>
                  <a:lnTo>
                    <a:pt x="223" y="54"/>
                  </a:lnTo>
                  <a:lnTo>
                    <a:pt x="216" y="5"/>
                  </a:lnTo>
                  <a:lnTo>
                    <a:pt x="216" y="5"/>
                  </a:lnTo>
                  <a:lnTo>
                    <a:pt x="215" y="1"/>
                  </a:lnTo>
                  <a:lnTo>
                    <a:pt x="211" y="0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59" y="1"/>
                  </a:lnTo>
                  <a:lnTo>
                    <a:pt x="156" y="5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33" y="59"/>
                  </a:lnTo>
                  <a:lnTo>
                    <a:pt x="118" y="67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5" y="36"/>
                  </a:lnTo>
                  <a:lnTo>
                    <a:pt x="71" y="38"/>
                  </a:lnTo>
                  <a:lnTo>
                    <a:pt x="38" y="73"/>
                  </a:lnTo>
                  <a:lnTo>
                    <a:pt x="38" y="73"/>
                  </a:lnTo>
                  <a:lnTo>
                    <a:pt x="35" y="77"/>
                  </a:lnTo>
                  <a:lnTo>
                    <a:pt x="36" y="81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58" y="134"/>
                  </a:lnTo>
                  <a:lnTo>
                    <a:pt x="52" y="151"/>
                  </a:lnTo>
                  <a:lnTo>
                    <a:pt x="5" y="157"/>
                  </a:lnTo>
                  <a:lnTo>
                    <a:pt x="5" y="157"/>
                  </a:lnTo>
                  <a:lnTo>
                    <a:pt x="1" y="160"/>
                  </a:lnTo>
                  <a:lnTo>
                    <a:pt x="0" y="163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1" y="215"/>
                  </a:lnTo>
                  <a:lnTo>
                    <a:pt x="5" y="218"/>
                  </a:lnTo>
                  <a:lnTo>
                    <a:pt x="52" y="224"/>
                  </a:lnTo>
                  <a:lnTo>
                    <a:pt x="52" y="224"/>
                  </a:lnTo>
                  <a:lnTo>
                    <a:pt x="58" y="241"/>
                  </a:lnTo>
                  <a:lnTo>
                    <a:pt x="66" y="257"/>
                  </a:lnTo>
                  <a:lnTo>
                    <a:pt x="36" y="294"/>
                  </a:lnTo>
                  <a:lnTo>
                    <a:pt x="36" y="294"/>
                  </a:lnTo>
                  <a:lnTo>
                    <a:pt x="35" y="298"/>
                  </a:lnTo>
                  <a:lnTo>
                    <a:pt x="38" y="302"/>
                  </a:lnTo>
                  <a:lnTo>
                    <a:pt x="71" y="337"/>
                  </a:lnTo>
                  <a:lnTo>
                    <a:pt x="71" y="337"/>
                  </a:lnTo>
                  <a:lnTo>
                    <a:pt x="74" y="339"/>
                  </a:lnTo>
                  <a:lnTo>
                    <a:pt x="75" y="339"/>
                  </a:lnTo>
                  <a:lnTo>
                    <a:pt x="75" y="339"/>
                  </a:lnTo>
                  <a:lnTo>
                    <a:pt x="79" y="337"/>
                  </a:lnTo>
                  <a:lnTo>
                    <a:pt x="118" y="308"/>
                  </a:lnTo>
                  <a:lnTo>
                    <a:pt x="118" y="308"/>
                  </a:lnTo>
                  <a:lnTo>
                    <a:pt x="133" y="316"/>
                  </a:lnTo>
                  <a:lnTo>
                    <a:pt x="151" y="321"/>
                  </a:lnTo>
                  <a:lnTo>
                    <a:pt x="156" y="370"/>
                  </a:lnTo>
                  <a:lnTo>
                    <a:pt x="156" y="370"/>
                  </a:lnTo>
                  <a:lnTo>
                    <a:pt x="159" y="374"/>
                  </a:lnTo>
                  <a:lnTo>
                    <a:pt x="163" y="375"/>
                  </a:lnTo>
                  <a:lnTo>
                    <a:pt x="211" y="375"/>
                  </a:lnTo>
                  <a:lnTo>
                    <a:pt x="211" y="375"/>
                  </a:lnTo>
                  <a:lnTo>
                    <a:pt x="215" y="374"/>
                  </a:lnTo>
                  <a:lnTo>
                    <a:pt x="216" y="370"/>
                  </a:lnTo>
                  <a:lnTo>
                    <a:pt x="223" y="321"/>
                  </a:lnTo>
                  <a:lnTo>
                    <a:pt x="223" y="321"/>
                  </a:lnTo>
                  <a:lnTo>
                    <a:pt x="239" y="316"/>
                  </a:lnTo>
                  <a:lnTo>
                    <a:pt x="255" y="308"/>
                  </a:lnTo>
                  <a:lnTo>
                    <a:pt x="294" y="337"/>
                  </a:lnTo>
                  <a:lnTo>
                    <a:pt x="294" y="337"/>
                  </a:lnTo>
                  <a:lnTo>
                    <a:pt x="297" y="339"/>
                  </a:lnTo>
                  <a:lnTo>
                    <a:pt x="297" y="339"/>
                  </a:lnTo>
                  <a:lnTo>
                    <a:pt x="300" y="339"/>
                  </a:lnTo>
                  <a:lnTo>
                    <a:pt x="302" y="337"/>
                  </a:lnTo>
                  <a:lnTo>
                    <a:pt x="336" y="302"/>
                  </a:lnTo>
                  <a:lnTo>
                    <a:pt x="336" y="302"/>
                  </a:lnTo>
                  <a:lnTo>
                    <a:pt x="337" y="298"/>
                  </a:lnTo>
                  <a:lnTo>
                    <a:pt x="336" y="294"/>
                  </a:lnTo>
                  <a:lnTo>
                    <a:pt x="308" y="257"/>
                  </a:lnTo>
                  <a:lnTo>
                    <a:pt x="308" y="257"/>
                  </a:lnTo>
                  <a:lnTo>
                    <a:pt x="314" y="241"/>
                  </a:lnTo>
                  <a:lnTo>
                    <a:pt x="321" y="224"/>
                  </a:lnTo>
                  <a:lnTo>
                    <a:pt x="368" y="218"/>
                  </a:lnTo>
                  <a:lnTo>
                    <a:pt x="368" y="218"/>
                  </a:lnTo>
                  <a:lnTo>
                    <a:pt x="372" y="215"/>
                  </a:lnTo>
                  <a:lnTo>
                    <a:pt x="374" y="211"/>
                  </a:lnTo>
                  <a:lnTo>
                    <a:pt x="374" y="163"/>
                  </a:lnTo>
                  <a:lnTo>
                    <a:pt x="374" y="163"/>
                  </a:lnTo>
                  <a:lnTo>
                    <a:pt x="372" y="160"/>
                  </a:lnTo>
                  <a:lnTo>
                    <a:pt x="368" y="157"/>
                  </a:lnTo>
                  <a:lnTo>
                    <a:pt x="368" y="157"/>
                  </a:lnTo>
                  <a:close/>
                  <a:moveTo>
                    <a:pt x="187" y="267"/>
                  </a:moveTo>
                  <a:lnTo>
                    <a:pt x="187" y="267"/>
                  </a:lnTo>
                  <a:lnTo>
                    <a:pt x="179" y="266"/>
                  </a:lnTo>
                  <a:lnTo>
                    <a:pt x="171" y="266"/>
                  </a:lnTo>
                  <a:lnTo>
                    <a:pt x="156" y="261"/>
                  </a:lnTo>
                  <a:lnTo>
                    <a:pt x="142" y="254"/>
                  </a:lnTo>
                  <a:lnTo>
                    <a:pt x="130" y="243"/>
                  </a:lnTo>
                  <a:lnTo>
                    <a:pt x="121" y="233"/>
                  </a:lnTo>
                  <a:lnTo>
                    <a:pt x="113" y="219"/>
                  </a:lnTo>
                  <a:lnTo>
                    <a:pt x="109" y="203"/>
                  </a:lnTo>
                  <a:lnTo>
                    <a:pt x="108" y="196"/>
                  </a:lnTo>
                  <a:lnTo>
                    <a:pt x="108" y="187"/>
                  </a:lnTo>
                  <a:lnTo>
                    <a:pt x="108" y="187"/>
                  </a:lnTo>
                  <a:lnTo>
                    <a:pt x="108" y="179"/>
                  </a:lnTo>
                  <a:lnTo>
                    <a:pt x="109" y="171"/>
                  </a:lnTo>
                  <a:lnTo>
                    <a:pt x="113" y="156"/>
                  </a:lnTo>
                  <a:lnTo>
                    <a:pt x="121" y="142"/>
                  </a:lnTo>
                  <a:lnTo>
                    <a:pt x="130" y="132"/>
                  </a:lnTo>
                  <a:lnTo>
                    <a:pt x="142" y="121"/>
                  </a:lnTo>
                  <a:lnTo>
                    <a:pt x="156" y="114"/>
                  </a:lnTo>
                  <a:lnTo>
                    <a:pt x="171" y="109"/>
                  </a:lnTo>
                  <a:lnTo>
                    <a:pt x="179" y="108"/>
                  </a:lnTo>
                  <a:lnTo>
                    <a:pt x="187" y="108"/>
                  </a:lnTo>
                  <a:lnTo>
                    <a:pt x="187" y="108"/>
                  </a:lnTo>
                  <a:lnTo>
                    <a:pt x="195" y="108"/>
                  </a:lnTo>
                  <a:lnTo>
                    <a:pt x="203" y="109"/>
                  </a:lnTo>
                  <a:lnTo>
                    <a:pt x="218" y="114"/>
                  </a:lnTo>
                  <a:lnTo>
                    <a:pt x="231" y="121"/>
                  </a:lnTo>
                  <a:lnTo>
                    <a:pt x="243" y="132"/>
                  </a:lnTo>
                  <a:lnTo>
                    <a:pt x="253" y="142"/>
                  </a:lnTo>
                  <a:lnTo>
                    <a:pt x="259" y="156"/>
                  </a:lnTo>
                  <a:lnTo>
                    <a:pt x="265" y="171"/>
                  </a:lnTo>
                  <a:lnTo>
                    <a:pt x="266" y="179"/>
                  </a:lnTo>
                  <a:lnTo>
                    <a:pt x="266" y="187"/>
                  </a:lnTo>
                  <a:lnTo>
                    <a:pt x="266" y="187"/>
                  </a:lnTo>
                  <a:lnTo>
                    <a:pt x="266" y="196"/>
                  </a:lnTo>
                  <a:lnTo>
                    <a:pt x="265" y="203"/>
                  </a:lnTo>
                  <a:lnTo>
                    <a:pt x="259" y="219"/>
                  </a:lnTo>
                  <a:lnTo>
                    <a:pt x="253" y="233"/>
                  </a:lnTo>
                  <a:lnTo>
                    <a:pt x="243" y="243"/>
                  </a:lnTo>
                  <a:lnTo>
                    <a:pt x="231" y="254"/>
                  </a:lnTo>
                  <a:lnTo>
                    <a:pt x="218" y="261"/>
                  </a:lnTo>
                  <a:lnTo>
                    <a:pt x="203" y="266"/>
                  </a:lnTo>
                  <a:lnTo>
                    <a:pt x="195" y="266"/>
                  </a:lnTo>
                  <a:lnTo>
                    <a:pt x="187" y="267"/>
                  </a:lnTo>
                  <a:lnTo>
                    <a:pt x="187" y="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0" name="Freeform 216">
            <a:extLst>
              <a:ext uri="{FF2B5EF4-FFF2-40B4-BE49-F238E27FC236}">
                <a16:creationId xmlns:a16="http://schemas.microsoft.com/office/drawing/2014/main" id="{14F882BB-3985-8300-345C-C3BE35BDFB1A}"/>
              </a:ext>
            </a:extLst>
          </p:cNvPr>
          <p:cNvSpPr>
            <a:spLocks noEditPoints="1"/>
          </p:cNvSpPr>
          <p:nvPr/>
        </p:nvSpPr>
        <p:spPr bwMode="auto">
          <a:xfrm>
            <a:off x="7983005" y="3389438"/>
            <a:ext cx="241314" cy="220274"/>
          </a:xfrm>
          <a:custGeom>
            <a:avLst/>
            <a:gdLst>
              <a:gd name="T0" fmla="*/ 321 w 374"/>
              <a:gd name="T1" fmla="*/ 151 h 375"/>
              <a:gd name="T2" fmla="*/ 336 w 374"/>
              <a:gd name="T3" fmla="*/ 81 h 375"/>
              <a:gd name="T4" fmla="*/ 336 w 374"/>
              <a:gd name="T5" fmla="*/ 73 h 375"/>
              <a:gd name="T6" fmla="*/ 298 w 374"/>
              <a:gd name="T7" fmla="*/ 36 h 375"/>
              <a:gd name="T8" fmla="*/ 255 w 374"/>
              <a:gd name="T9" fmla="*/ 67 h 375"/>
              <a:gd name="T10" fmla="*/ 216 w 374"/>
              <a:gd name="T11" fmla="*/ 5 h 375"/>
              <a:gd name="T12" fmla="*/ 211 w 374"/>
              <a:gd name="T13" fmla="*/ 0 h 375"/>
              <a:gd name="T14" fmla="*/ 159 w 374"/>
              <a:gd name="T15" fmla="*/ 1 h 375"/>
              <a:gd name="T16" fmla="*/ 151 w 374"/>
              <a:gd name="T17" fmla="*/ 54 h 375"/>
              <a:gd name="T18" fmla="*/ 79 w 374"/>
              <a:gd name="T19" fmla="*/ 38 h 375"/>
              <a:gd name="T20" fmla="*/ 71 w 374"/>
              <a:gd name="T21" fmla="*/ 38 h 375"/>
              <a:gd name="T22" fmla="*/ 35 w 374"/>
              <a:gd name="T23" fmla="*/ 77 h 375"/>
              <a:gd name="T24" fmla="*/ 66 w 374"/>
              <a:gd name="T25" fmla="*/ 118 h 375"/>
              <a:gd name="T26" fmla="*/ 5 w 374"/>
              <a:gd name="T27" fmla="*/ 157 h 375"/>
              <a:gd name="T28" fmla="*/ 0 w 374"/>
              <a:gd name="T29" fmla="*/ 163 h 375"/>
              <a:gd name="T30" fmla="*/ 1 w 374"/>
              <a:gd name="T31" fmla="*/ 215 h 375"/>
              <a:gd name="T32" fmla="*/ 52 w 374"/>
              <a:gd name="T33" fmla="*/ 224 h 375"/>
              <a:gd name="T34" fmla="*/ 36 w 374"/>
              <a:gd name="T35" fmla="*/ 294 h 375"/>
              <a:gd name="T36" fmla="*/ 38 w 374"/>
              <a:gd name="T37" fmla="*/ 302 h 375"/>
              <a:gd name="T38" fmla="*/ 74 w 374"/>
              <a:gd name="T39" fmla="*/ 339 h 375"/>
              <a:gd name="T40" fmla="*/ 79 w 374"/>
              <a:gd name="T41" fmla="*/ 337 h 375"/>
              <a:gd name="T42" fmla="*/ 133 w 374"/>
              <a:gd name="T43" fmla="*/ 316 h 375"/>
              <a:gd name="T44" fmla="*/ 156 w 374"/>
              <a:gd name="T45" fmla="*/ 370 h 375"/>
              <a:gd name="T46" fmla="*/ 211 w 374"/>
              <a:gd name="T47" fmla="*/ 375 h 375"/>
              <a:gd name="T48" fmla="*/ 216 w 374"/>
              <a:gd name="T49" fmla="*/ 370 h 375"/>
              <a:gd name="T50" fmla="*/ 239 w 374"/>
              <a:gd name="T51" fmla="*/ 316 h 375"/>
              <a:gd name="T52" fmla="*/ 294 w 374"/>
              <a:gd name="T53" fmla="*/ 337 h 375"/>
              <a:gd name="T54" fmla="*/ 300 w 374"/>
              <a:gd name="T55" fmla="*/ 339 h 375"/>
              <a:gd name="T56" fmla="*/ 336 w 374"/>
              <a:gd name="T57" fmla="*/ 302 h 375"/>
              <a:gd name="T58" fmla="*/ 308 w 374"/>
              <a:gd name="T59" fmla="*/ 257 h 375"/>
              <a:gd name="T60" fmla="*/ 321 w 374"/>
              <a:gd name="T61" fmla="*/ 224 h 375"/>
              <a:gd name="T62" fmla="*/ 372 w 374"/>
              <a:gd name="T63" fmla="*/ 215 h 375"/>
              <a:gd name="T64" fmla="*/ 374 w 374"/>
              <a:gd name="T65" fmla="*/ 163 h 375"/>
              <a:gd name="T66" fmla="*/ 368 w 374"/>
              <a:gd name="T67" fmla="*/ 157 h 375"/>
              <a:gd name="T68" fmla="*/ 179 w 374"/>
              <a:gd name="T69" fmla="*/ 266 h 375"/>
              <a:gd name="T70" fmla="*/ 142 w 374"/>
              <a:gd name="T71" fmla="*/ 254 h 375"/>
              <a:gd name="T72" fmla="*/ 113 w 374"/>
              <a:gd name="T73" fmla="*/ 219 h 375"/>
              <a:gd name="T74" fmla="*/ 108 w 374"/>
              <a:gd name="T75" fmla="*/ 187 h 375"/>
              <a:gd name="T76" fmla="*/ 109 w 374"/>
              <a:gd name="T77" fmla="*/ 171 h 375"/>
              <a:gd name="T78" fmla="*/ 130 w 374"/>
              <a:gd name="T79" fmla="*/ 132 h 375"/>
              <a:gd name="T80" fmla="*/ 171 w 374"/>
              <a:gd name="T81" fmla="*/ 109 h 375"/>
              <a:gd name="T82" fmla="*/ 187 w 374"/>
              <a:gd name="T83" fmla="*/ 108 h 375"/>
              <a:gd name="T84" fmla="*/ 218 w 374"/>
              <a:gd name="T85" fmla="*/ 114 h 375"/>
              <a:gd name="T86" fmla="*/ 253 w 374"/>
              <a:gd name="T87" fmla="*/ 142 h 375"/>
              <a:gd name="T88" fmla="*/ 266 w 374"/>
              <a:gd name="T89" fmla="*/ 179 h 375"/>
              <a:gd name="T90" fmla="*/ 266 w 374"/>
              <a:gd name="T91" fmla="*/ 196 h 375"/>
              <a:gd name="T92" fmla="*/ 253 w 374"/>
              <a:gd name="T93" fmla="*/ 233 h 375"/>
              <a:gd name="T94" fmla="*/ 218 w 374"/>
              <a:gd name="T95" fmla="*/ 261 h 375"/>
              <a:gd name="T96" fmla="*/ 187 w 374"/>
              <a:gd name="T97" fmla="*/ 267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74" h="375">
                <a:moveTo>
                  <a:pt x="368" y="157"/>
                </a:moveTo>
                <a:lnTo>
                  <a:pt x="321" y="151"/>
                </a:lnTo>
                <a:lnTo>
                  <a:pt x="321" y="151"/>
                </a:lnTo>
                <a:lnTo>
                  <a:pt x="314" y="134"/>
                </a:lnTo>
                <a:lnTo>
                  <a:pt x="308" y="118"/>
                </a:lnTo>
                <a:lnTo>
                  <a:pt x="336" y="81"/>
                </a:lnTo>
                <a:lnTo>
                  <a:pt x="336" y="81"/>
                </a:lnTo>
                <a:lnTo>
                  <a:pt x="337" y="77"/>
                </a:lnTo>
                <a:lnTo>
                  <a:pt x="336" y="73"/>
                </a:lnTo>
                <a:lnTo>
                  <a:pt x="302" y="38"/>
                </a:lnTo>
                <a:lnTo>
                  <a:pt x="302" y="38"/>
                </a:lnTo>
                <a:lnTo>
                  <a:pt x="298" y="36"/>
                </a:lnTo>
                <a:lnTo>
                  <a:pt x="294" y="38"/>
                </a:lnTo>
                <a:lnTo>
                  <a:pt x="255" y="67"/>
                </a:lnTo>
                <a:lnTo>
                  <a:pt x="255" y="67"/>
                </a:lnTo>
                <a:lnTo>
                  <a:pt x="239" y="59"/>
                </a:lnTo>
                <a:lnTo>
                  <a:pt x="223" y="54"/>
                </a:lnTo>
                <a:lnTo>
                  <a:pt x="216" y="5"/>
                </a:lnTo>
                <a:lnTo>
                  <a:pt x="216" y="5"/>
                </a:lnTo>
                <a:lnTo>
                  <a:pt x="215" y="1"/>
                </a:lnTo>
                <a:lnTo>
                  <a:pt x="211" y="0"/>
                </a:lnTo>
                <a:lnTo>
                  <a:pt x="163" y="0"/>
                </a:lnTo>
                <a:lnTo>
                  <a:pt x="163" y="0"/>
                </a:lnTo>
                <a:lnTo>
                  <a:pt x="159" y="1"/>
                </a:lnTo>
                <a:lnTo>
                  <a:pt x="156" y="5"/>
                </a:lnTo>
                <a:lnTo>
                  <a:pt x="151" y="54"/>
                </a:lnTo>
                <a:lnTo>
                  <a:pt x="151" y="54"/>
                </a:lnTo>
                <a:lnTo>
                  <a:pt x="133" y="59"/>
                </a:lnTo>
                <a:lnTo>
                  <a:pt x="118" y="67"/>
                </a:lnTo>
                <a:lnTo>
                  <a:pt x="79" y="38"/>
                </a:lnTo>
                <a:lnTo>
                  <a:pt x="79" y="38"/>
                </a:lnTo>
                <a:lnTo>
                  <a:pt x="75" y="36"/>
                </a:lnTo>
                <a:lnTo>
                  <a:pt x="71" y="38"/>
                </a:lnTo>
                <a:lnTo>
                  <a:pt x="38" y="73"/>
                </a:lnTo>
                <a:lnTo>
                  <a:pt x="38" y="73"/>
                </a:lnTo>
                <a:lnTo>
                  <a:pt x="35" y="77"/>
                </a:lnTo>
                <a:lnTo>
                  <a:pt x="36" y="81"/>
                </a:lnTo>
                <a:lnTo>
                  <a:pt x="66" y="118"/>
                </a:lnTo>
                <a:lnTo>
                  <a:pt x="66" y="118"/>
                </a:lnTo>
                <a:lnTo>
                  <a:pt x="58" y="134"/>
                </a:lnTo>
                <a:lnTo>
                  <a:pt x="52" y="151"/>
                </a:lnTo>
                <a:lnTo>
                  <a:pt x="5" y="157"/>
                </a:lnTo>
                <a:lnTo>
                  <a:pt x="5" y="157"/>
                </a:lnTo>
                <a:lnTo>
                  <a:pt x="1" y="160"/>
                </a:lnTo>
                <a:lnTo>
                  <a:pt x="0" y="163"/>
                </a:lnTo>
                <a:lnTo>
                  <a:pt x="0" y="211"/>
                </a:lnTo>
                <a:lnTo>
                  <a:pt x="0" y="211"/>
                </a:lnTo>
                <a:lnTo>
                  <a:pt x="1" y="215"/>
                </a:lnTo>
                <a:lnTo>
                  <a:pt x="5" y="218"/>
                </a:lnTo>
                <a:lnTo>
                  <a:pt x="52" y="224"/>
                </a:lnTo>
                <a:lnTo>
                  <a:pt x="52" y="224"/>
                </a:lnTo>
                <a:lnTo>
                  <a:pt x="58" y="241"/>
                </a:lnTo>
                <a:lnTo>
                  <a:pt x="66" y="257"/>
                </a:lnTo>
                <a:lnTo>
                  <a:pt x="36" y="294"/>
                </a:lnTo>
                <a:lnTo>
                  <a:pt x="36" y="294"/>
                </a:lnTo>
                <a:lnTo>
                  <a:pt x="35" y="298"/>
                </a:lnTo>
                <a:lnTo>
                  <a:pt x="38" y="302"/>
                </a:lnTo>
                <a:lnTo>
                  <a:pt x="71" y="337"/>
                </a:lnTo>
                <a:lnTo>
                  <a:pt x="71" y="337"/>
                </a:lnTo>
                <a:lnTo>
                  <a:pt x="74" y="339"/>
                </a:lnTo>
                <a:lnTo>
                  <a:pt x="75" y="339"/>
                </a:lnTo>
                <a:lnTo>
                  <a:pt x="75" y="339"/>
                </a:lnTo>
                <a:lnTo>
                  <a:pt x="79" y="337"/>
                </a:lnTo>
                <a:lnTo>
                  <a:pt x="118" y="308"/>
                </a:lnTo>
                <a:lnTo>
                  <a:pt x="118" y="308"/>
                </a:lnTo>
                <a:lnTo>
                  <a:pt x="133" y="316"/>
                </a:lnTo>
                <a:lnTo>
                  <a:pt x="151" y="321"/>
                </a:lnTo>
                <a:lnTo>
                  <a:pt x="156" y="370"/>
                </a:lnTo>
                <a:lnTo>
                  <a:pt x="156" y="370"/>
                </a:lnTo>
                <a:lnTo>
                  <a:pt x="159" y="374"/>
                </a:lnTo>
                <a:lnTo>
                  <a:pt x="163" y="375"/>
                </a:lnTo>
                <a:lnTo>
                  <a:pt x="211" y="375"/>
                </a:lnTo>
                <a:lnTo>
                  <a:pt x="211" y="375"/>
                </a:lnTo>
                <a:lnTo>
                  <a:pt x="215" y="374"/>
                </a:lnTo>
                <a:lnTo>
                  <a:pt x="216" y="370"/>
                </a:lnTo>
                <a:lnTo>
                  <a:pt x="223" y="321"/>
                </a:lnTo>
                <a:lnTo>
                  <a:pt x="223" y="321"/>
                </a:lnTo>
                <a:lnTo>
                  <a:pt x="239" y="316"/>
                </a:lnTo>
                <a:lnTo>
                  <a:pt x="255" y="308"/>
                </a:lnTo>
                <a:lnTo>
                  <a:pt x="294" y="337"/>
                </a:lnTo>
                <a:lnTo>
                  <a:pt x="294" y="337"/>
                </a:lnTo>
                <a:lnTo>
                  <a:pt x="297" y="339"/>
                </a:lnTo>
                <a:lnTo>
                  <a:pt x="297" y="339"/>
                </a:lnTo>
                <a:lnTo>
                  <a:pt x="300" y="339"/>
                </a:lnTo>
                <a:lnTo>
                  <a:pt x="302" y="337"/>
                </a:lnTo>
                <a:lnTo>
                  <a:pt x="336" y="302"/>
                </a:lnTo>
                <a:lnTo>
                  <a:pt x="336" y="302"/>
                </a:lnTo>
                <a:lnTo>
                  <a:pt x="337" y="298"/>
                </a:lnTo>
                <a:lnTo>
                  <a:pt x="336" y="294"/>
                </a:lnTo>
                <a:lnTo>
                  <a:pt x="308" y="257"/>
                </a:lnTo>
                <a:lnTo>
                  <a:pt x="308" y="257"/>
                </a:lnTo>
                <a:lnTo>
                  <a:pt x="314" y="241"/>
                </a:lnTo>
                <a:lnTo>
                  <a:pt x="321" y="224"/>
                </a:lnTo>
                <a:lnTo>
                  <a:pt x="368" y="218"/>
                </a:lnTo>
                <a:lnTo>
                  <a:pt x="368" y="218"/>
                </a:lnTo>
                <a:lnTo>
                  <a:pt x="372" y="215"/>
                </a:lnTo>
                <a:lnTo>
                  <a:pt x="374" y="211"/>
                </a:lnTo>
                <a:lnTo>
                  <a:pt x="374" y="163"/>
                </a:lnTo>
                <a:lnTo>
                  <a:pt x="374" y="163"/>
                </a:lnTo>
                <a:lnTo>
                  <a:pt x="372" y="160"/>
                </a:lnTo>
                <a:lnTo>
                  <a:pt x="368" y="157"/>
                </a:lnTo>
                <a:lnTo>
                  <a:pt x="368" y="157"/>
                </a:lnTo>
                <a:close/>
                <a:moveTo>
                  <a:pt x="187" y="267"/>
                </a:moveTo>
                <a:lnTo>
                  <a:pt x="187" y="267"/>
                </a:lnTo>
                <a:lnTo>
                  <a:pt x="179" y="266"/>
                </a:lnTo>
                <a:lnTo>
                  <a:pt x="171" y="266"/>
                </a:lnTo>
                <a:lnTo>
                  <a:pt x="156" y="261"/>
                </a:lnTo>
                <a:lnTo>
                  <a:pt x="142" y="254"/>
                </a:lnTo>
                <a:lnTo>
                  <a:pt x="130" y="243"/>
                </a:lnTo>
                <a:lnTo>
                  <a:pt x="121" y="233"/>
                </a:lnTo>
                <a:lnTo>
                  <a:pt x="113" y="219"/>
                </a:lnTo>
                <a:lnTo>
                  <a:pt x="109" y="203"/>
                </a:lnTo>
                <a:lnTo>
                  <a:pt x="108" y="196"/>
                </a:lnTo>
                <a:lnTo>
                  <a:pt x="108" y="187"/>
                </a:lnTo>
                <a:lnTo>
                  <a:pt x="108" y="187"/>
                </a:lnTo>
                <a:lnTo>
                  <a:pt x="108" y="179"/>
                </a:lnTo>
                <a:lnTo>
                  <a:pt x="109" y="171"/>
                </a:lnTo>
                <a:lnTo>
                  <a:pt x="113" y="156"/>
                </a:lnTo>
                <a:lnTo>
                  <a:pt x="121" y="142"/>
                </a:lnTo>
                <a:lnTo>
                  <a:pt x="130" y="132"/>
                </a:lnTo>
                <a:lnTo>
                  <a:pt x="142" y="121"/>
                </a:lnTo>
                <a:lnTo>
                  <a:pt x="156" y="114"/>
                </a:lnTo>
                <a:lnTo>
                  <a:pt x="171" y="109"/>
                </a:lnTo>
                <a:lnTo>
                  <a:pt x="179" y="108"/>
                </a:lnTo>
                <a:lnTo>
                  <a:pt x="187" y="108"/>
                </a:lnTo>
                <a:lnTo>
                  <a:pt x="187" y="108"/>
                </a:lnTo>
                <a:lnTo>
                  <a:pt x="195" y="108"/>
                </a:lnTo>
                <a:lnTo>
                  <a:pt x="203" y="109"/>
                </a:lnTo>
                <a:lnTo>
                  <a:pt x="218" y="114"/>
                </a:lnTo>
                <a:lnTo>
                  <a:pt x="231" y="121"/>
                </a:lnTo>
                <a:lnTo>
                  <a:pt x="243" y="132"/>
                </a:lnTo>
                <a:lnTo>
                  <a:pt x="253" y="142"/>
                </a:lnTo>
                <a:lnTo>
                  <a:pt x="259" y="156"/>
                </a:lnTo>
                <a:lnTo>
                  <a:pt x="265" y="171"/>
                </a:lnTo>
                <a:lnTo>
                  <a:pt x="266" y="179"/>
                </a:lnTo>
                <a:lnTo>
                  <a:pt x="266" y="187"/>
                </a:lnTo>
                <a:lnTo>
                  <a:pt x="266" y="187"/>
                </a:lnTo>
                <a:lnTo>
                  <a:pt x="266" y="196"/>
                </a:lnTo>
                <a:lnTo>
                  <a:pt x="265" y="203"/>
                </a:lnTo>
                <a:lnTo>
                  <a:pt x="259" y="219"/>
                </a:lnTo>
                <a:lnTo>
                  <a:pt x="253" y="233"/>
                </a:lnTo>
                <a:lnTo>
                  <a:pt x="243" y="243"/>
                </a:lnTo>
                <a:lnTo>
                  <a:pt x="231" y="254"/>
                </a:lnTo>
                <a:lnTo>
                  <a:pt x="218" y="261"/>
                </a:lnTo>
                <a:lnTo>
                  <a:pt x="203" y="266"/>
                </a:lnTo>
                <a:lnTo>
                  <a:pt x="195" y="266"/>
                </a:lnTo>
                <a:lnTo>
                  <a:pt x="187" y="267"/>
                </a:lnTo>
                <a:lnTo>
                  <a:pt x="187" y="267"/>
                </a:lnTo>
                <a:close/>
              </a:path>
            </a:pathLst>
          </a:custGeom>
          <a:solidFill>
            <a:schemeClr val="tx1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1" name="Rounded Rectangle 169">
            <a:extLst>
              <a:ext uri="{FF2B5EF4-FFF2-40B4-BE49-F238E27FC236}">
                <a16:creationId xmlns:a16="http://schemas.microsoft.com/office/drawing/2014/main" id="{F9E6DB6B-351F-9B44-8798-738C1467E5FF}"/>
              </a:ext>
            </a:extLst>
          </p:cNvPr>
          <p:cNvSpPr/>
          <p:nvPr/>
        </p:nvSpPr>
        <p:spPr>
          <a:xfrm>
            <a:off x="5802378" y="4033481"/>
            <a:ext cx="5378079" cy="915451"/>
          </a:xfrm>
          <a:prstGeom prst="roundRect">
            <a:avLst>
              <a:gd name="adj" fmla="val 10984"/>
            </a:avLst>
          </a:prstGeom>
          <a:solidFill>
            <a:srgbClr val="FFCD00">
              <a:alpha val="10000"/>
            </a:srgbClr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r"/>
            <a:r>
              <a:rPr lang="hu-HU" sz="1200" dirty="0">
                <a:solidFill>
                  <a:schemeClr val="tx1"/>
                </a:solidFill>
              </a:rPr>
              <a:t>Middleware </a:t>
            </a:r>
            <a:r>
              <a:rPr lang="hu-HU" sz="1200" dirty="0" err="1">
                <a:solidFill>
                  <a:schemeClr val="tx1"/>
                </a:solidFill>
              </a:rPr>
              <a:t>Zon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6" name="Rectangle 390">
            <a:extLst>
              <a:ext uri="{FF2B5EF4-FFF2-40B4-BE49-F238E27FC236}">
                <a16:creationId xmlns:a16="http://schemas.microsoft.com/office/drawing/2014/main" id="{B5D1BC63-D3F7-7582-423A-A7FD0E03E19A}"/>
              </a:ext>
            </a:extLst>
          </p:cNvPr>
          <p:cNvSpPr/>
          <p:nvPr/>
        </p:nvSpPr>
        <p:spPr>
          <a:xfrm>
            <a:off x="8088531" y="4291475"/>
            <a:ext cx="1255465" cy="4373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dirty="0">
              <a:solidFill>
                <a:schemeClr val="tx1"/>
              </a:solidFill>
            </a:endParaRPr>
          </a:p>
        </p:txBody>
      </p:sp>
      <p:sp>
        <p:nvSpPr>
          <p:cNvPr id="87" name="Rectangle 390">
            <a:extLst>
              <a:ext uri="{FF2B5EF4-FFF2-40B4-BE49-F238E27FC236}">
                <a16:creationId xmlns:a16="http://schemas.microsoft.com/office/drawing/2014/main" id="{5FB9F8B4-14B8-FA29-643E-C16D60D900F4}"/>
              </a:ext>
            </a:extLst>
          </p:cNvPr>
          <p:cNvSpPr/>
          <p:nvPr/>
        </p:nvSpPr>
        <p:spPr>
          <a:xfrm>
            <a:off x="8202831" y="4224419"/>
            <a:ext cx="1255465" cy="4373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dirty="0">
              <a:solidFill>
                <a:schemeClr val="tx1"/>
              </a:solidFill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9ED9E755-1AB3-DDFF-6ADC-F72DA54491AC}"/>
              </a:ext>
            </a:extLst>
          </p:cNvPr>
          <p:cNvGrpSpPr/>
          <p:nvPr/>
        </p:nvGrpSpPr>
        <p:grpSpPr>
          <a:xfrm>
            <a:off x="7903740" y="4371404"/>
            <a:ext cx="1329162" cy="437362"/>
            <a:chOff x="2987070" y="5501830"/>
            <a:chExt cx="1255465" cy="437362"/>
          </a:xfrm>
          <a:solidFill>
            <a:srgbClr val="FFCD00"/>
          </a:solidFill>
        </p:grpSpPr>
        <p:sp>
          <p:nvSpPr>
            <p:cNvPr id="89" name="Rectangle 390">
              <a:extLst>
                <a:ext uri="{FF2B5EF4-FFF2-40B4-BE49-F238E27FC236}">
                  <a16:creationId xmlns:a16="http://schemas.microsoft.com/office/drawing/2014/main" id="{7F63B4DD-7CDA-27B4-D1F1-29DD7F88AB7E}"/>
                </a:ext>
              </a:extLst>
            </p:cNvPr>
            <p:cNvSpPr/>
            <p:nvPr/>
          </p:nvSpPr>
          <p:spPr>
            <a:xfrm>
              <a:off x="2987070" y="5501830"/>
              <a:ext cx="1255465" cy="437362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hu-HU" sz="800" b="1" dirty="0">
                  <a:solidFill>
                    <a:schemeClr val="tx1"/>
                  </a:solidFill>
                </a:rPr>
                <a:t>WSO2 API Platform</a:t>
              </a:r>
            </a:p>
            <a:p>
              <a:pPr algn="r"/>
              <a:r>
                <a:rPr lang="hu-HU" sz="800" b="1" dirty="0">
                  <a:solidFill>
                    <a:schemeClr val="tx1"/>
                  </a:solidFill>
                </a:rPr>
                <a:t>Kafka File-</a:t>
              </a:r>
              <a:r>
                <a:rPr lang="hu-HU" sz="800" b="1" dirty="0" err="1">
                  <a:solidFill>
                    <a:schemeClr val="tx1"/>
                  </a:solidFill>
                </a:rPr>
                <a:t>based</a:t>
              </a:r>
              <a:r>
                <a:rPr lang="hu-HU" sz="800" b="1" dirty="0">
                  <a:solidFill>
                    <a:schemeClr val="tx1"/>
                  </a:solidFill>
                </a:rPr>
                <a:t> </a:t>
              </a:r>
            </a:p>
            <a:p>
              <a:pPr algn="r"/>
              <a:r>
                <a:rPr lang="en-US" sz="800" b="1" dirty="0">
                  <a:solidFill>
                    <a:schemeClr val="tx1"/>
                  </a:solidFill>
                </a:rPr>
                <a:t>App</a:t>
              </a:r>
              <a:r>
                <a:rPr lang="hu-HU" sz="800" b="1" dirty="0" err="1">
                  <a:solidFill>
                    <a:schemeClr val="tx1"/>
                  </a:solidFill>
                </a:rPr>
                <a:t>lications</a:t>
              </a:r>
              <a:r>
                <a:rPr lang="hu-HU" sz="800" b="1" dirty="0">
                  <a:solidFill>
                    <a:schemeClr val="tx1"/>
                  </a:solidFill>
                </a:rPr>
                <a:t> / </a:t>
              </a:r>
              <a:r>
                <a:rPr lang="hu-HU" sz="800" b="1" dirty="0" err="1">
                  <a:solidFill>
                    <a:schemeClr val="tx1"/>
                  </a:solidFill>
                </a:rPr>
                <a:t>DBs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90" name="Freeform 216">
              <a:extLst>
                <a:ext uri="{FF2B5EF4-FFF2-40B4-BE49-F238E27FC236}">
                  <a16:creationId xmlns:a16="http://schemas.microsoft.com/office/drawing/2014/main" id="{91DA6650-A2A3-3E96-7AC2-68BB871C2D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9516" y="5585180"/>
              <a:ext cx="255551" cy="255086"/>
            </a:xfrm>
            <a:custGeom>
              <a:avLst/>
              <a:gdLst>
                <a:gd name="T0" fmla="*/ 321 w 374"/>
                <a:gd name="T1" fmla="*/ 151 h 375"/>
                <a:gd name="T2" fmla="*/ 336 w 374"/>
                <a:gd name="T3" fmla="*/ 81 h 375"/>
                <a:gd name="T4" fmla="*/ 336 w 374"/>
                <a:gd name="T5" fmla="*/ 73 h 375"/>
                <a:gd name="T6" fmla="*/ 298 w 374"/>
                <a:gd name="T7" fmla="*/ 36 h 375"/>
                <a:gd name="T8" fmla="*/ 255 w 374"/>
                <a:gd name="T9" fmla="*/ 67 h 375"/>
                <a:gd name="T10" fmla="*/ 216 w 374"/>
                <a:gd name="T11" fmla="*/ 5 h 375"/>
                <a:gd name="T12" fmla="*/ 211 w 374"/>
                <a:gd name="T13" fmla="*/ 0 h 375"/>
                <a:gd name="T14" fmla="*/ 159 w 374"/>
                <a:gd name="T15" fmla="*/ 1 h 375"/>
                <a:gd name="T16" fmla="*/ 151 w 374"/>
                <a:gd name="T17" fmla="*/ 54 h 375"/>
                <a:gd name="T18" fmla="*/ 79 w 374"/>
                <a:gd name="T19" fmla="*/ 38 h 375"/>
                <a:gd name="T20" fmla="*/ 71 w 374"/>
                <a:gd name="T21" fmla="*/ 38 h 375"/>
                <a:gd name="T22" fmla="*/ 35 w 374"/>
                <a:gd name="T23" fmla="*/ 77 h 375"/>
                <a:gd name="T24" fmla="*/ 66 w 374"/>
                <a:gd name="T25" fmla="*/ 118 h 375"/>
                <a:gd name="T26" fmla="*/ 5 w 374"/>
                <a:gd name="T27" fmla="*/ 157 h 375"/>
                <a:gd name="T28" fmla="*/ 0 w 374"/>
                <a:gd name="T29" fmla="*/ 163 h 375"/>
                <a:gd name="T30" fmla="*/ 1 w 374"/>
                <a:gd name="T31" fmla="*/ 215 h 375"/>
                <a:gd name="T32" fmla="*/ 52 w 374"/>
                <a:gd name="T33" fmla="*/ 224 h 375"/>
                <a:gd name="T34" fmla="*/ 36 w 374"/>
                <a:gd name="T35" fmla="*/ 294 h 375"/>
                <a:gd name="T36" fmla="*/ 38 w 374"/>
                <a:gd name="T37" fmla="*/ 302 h 375"/>
                <a:gd name="T38" fmla="*/ 74 w 374"/>
                <a:gd name="T39" fmla="*/ 339 h 375"/>
                <a:gd name="T40" fmla="*/ 79 w 374"/>
                <a:gd name="T41" fmla="*/ 337 h 375"/>
                <a:gd name="T42" fmla="*/ 133 w 374"/>
                <a:gd name="T43" fmla="*/ 316 h 375"/>
                <a:gd name="T44" fmla="*/ 156 w 374"/>
                <a:gd name="T45" fmla="*/ 370 h 375"/>
                <a:gd name="T46" fmla="*/ 211 w 374"/>
                <a:gd name="T47" fmla="*/ 375 h 375"/>
                <a:gd name="T48" fmla="*/ 216 w 374"/>
                <a:gd name="T49" fmla="*/ 370 h 375"/>
                <a:gd name="T50" fmla="*/ 239 w 374"/>
                <a:gd name="T51" fmla="*/ 316 h 375"/>
                <a:gd name="T52" fmla="*/ 294 w 374"/>
                <a:gd name="T53" fmla="*/ 337 h 375"/>
                <a:gd name="T54" fmla="*/ 300 w 374"/>
                <a:gd name="T55" fmla="*/ 339 h 375"/>
                <a:gd name="T56" fmla="*/ 336 w 374"/>
                <a:gd name="T57" fmla="*/ 302 h 375"/>
                <a:gd name="T58" fmla="*/ 308 w 374"/>
                <a:gd name="T59" fmla="*/ 257 h 375"/>
                <a:gd name="T60" fmla="*/ 321 w 374"/>
                <a:gd name="T61" fmla="*/ 224 h 375"/>
                <a:gd name="T62" fmla="*/ 372 w 374"/>
                <a:gd name="T63" fmla="*/ 215 h 375"/>
                <a:gd name="T64" fmla="*/ 374 w 374"/>
                <a:gd name="T65" fmla="*/ 163 h 375"/>
                <a:gd name="T66" fmla="*/ 368 w 374"/>
                <a:gd name="T67" fmla="*/ 157 h 375"/>
                <a:gd name="T68" fmla="*/ 179 w 374"/>
                <a:gd name="T69" fmla="*/ 266 h 375"/>
                <a:gd name="T70" fmla="*/ 142 w 374"/>
                <a:gd name="T71" fmla="*/ 254 h 375"/>
                <a:gd name="T72" fmla="*/ 113 w 374"/>
                <a:gd name="T73" fmla="*/ 219 h 375"/>
                <a:gd name="T74" fmla="*/ 108 w 374"/>
                <a:gd name="T75" fmla="*/ 187 h 375"/>
                <a:gd name="T76" fmla="*/ 109 w 374"/>
                <a:gd name="T77" fmla="*/ 171 h 375"/>
                <a:gd name="T78" fmla="*/ 130 w 374"/>
                <a:gd name="T79" fmla="*/ 132 h 375"/>
                <a:gd name="T80" fmla="*/ 171 w 374"/>
                <a:gd name="T81" fmla="*/ 109 h 375"/>
                <a:gd name="T82" fmla="*/ 187 w 374"/>
                <a:gd name="T83" fmla="*/ 108 h 375"/>
                <a:gd name="T84" fmla="*/ 218 w 374"/>
                <a:gd name="T85" fmla="*/ 114 h 375"/>
                <a:gd name="T86" fmla="*/ 253 w 374"/>
                <a:gd name="T87" fmla="*/ 142 h 375"/>
                <a:gd name="T88" fmla="*/ 266 w 374"/>
                <a:gd name="T89" fmla="*/ 179 h 375"/>
                <a:gd name="T90" fmla="*/ 266 w 374"/>
                <a:gd name="T91" fmla="*/ 196 h 375"/>
                <a:gd name="T92" fmla="*/ 253 w 374"/>
                <a:gd name="T93" fmla="*/ 233 h 375"/>
                <a:gd name="T94" fmla="*/ 218 w 374"/>
                <a:gd name="T95" fmla="*/ 261 h 375"/>
                <a:gd name="T96" fmla="*/ 187 w 374"/>
                <a:gd name="T97" fmla="*/ 267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74" h="375">
                  <a:moveTo>
                    <a:pt x="368" y="157"/>
                  </a:moveTo>
                  <a:lnTo>
                    <a:pt x="321" y="151"/>
                  </a:lnTo>
                  <a:lnTo>
                    <a:pt x="321" y="151"/>
                  </a:lnTo>
                  <a:lnTo>
                    <a:pt x="314" y="134"/>
                  </a:lnTo>
                  <a:lnTo>
                    <a:pt x="308" y="118"/>
                  </a:lnTo>
                  <a:lnTo>
                    <a:pt x="336" y="81"/>
                  </a:lnTo>
                  <a:lnTo>
                    <a:pt x="336" y="81"/>
                  </a:lnTo>
                  <a:lnTo>
                    <a:pt x="337" y="77"/>
                  </a:lnTo>
                  <a:lnTo>
                    <a:pt x="336" y="73"/>
                  </a:lnTo>
                  <a:lnTo>
                    <a:pt x="302" y="38"/>
                  </a:lnTo>
                  <a:lnTo>
                    <a:pt x="302" y="38"/>
                  </a:lnTo>
                  <a:lnTo>
                    <a:pt x="298" y="36"/>
                  </a:lnTo>
                  <a:lnTo>
                    <a:pt x="294" y="38"/>
                  </a:lnTo>
                  <a:lnTo>
                    <a:pt x="255" y="67"/>
                  </a:lnTo>
                  <a:lnTo>
                    <a:pt x="255" y="67"/>
                  </a:lnTo>
                  <a:lnTo>
                    <a:pt x="239" y="59"/>
                  </a:lnTo>
                  <a:lnTo>
                    <a:pt x="223" y="54"/>
                  </a:lnTo>
                  <a:lnTo>
                    <a:pt x="216" y="5"/>
                  </a:lnTo>
                  <a:lnTo>
                    <a:pt x="216" y="5"/>
                  </a:lnTo>
                  <a:lnTo>
                    <a:pt x="215" y="1"/>
                  </a:lnTo>
                  <a:lnTo>
                    <a:pt x="211" y="0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59" y="1"/>
                  </a:lnTo>
                  <a:lnTo>
                    <a:pt x="156" y="5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33" y="59"/>
                  </a:lnTo>
                  <a:lnTo>
                    <a:pt x="118" y="67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5" y="36"/>
                  </a:lnTo>
                  <a:lnTo>
                    <a:pt x="71" y="38"/>
                  </a:lnTo>
                  <a:lnTo>
                    <a:pt x="38" y="73"/>
                  </a:lnTo>
                  <a:lnTo>
                    <a:pt x="38" y="73"/>
                  </a:lnTo>
                  <a:lnTo>
                    <a:pt x="35" y="77"/>
                  </a:lnTo>
                  <a:lnTo>
                    <a:pt x="36" y="81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58" y="134"/>
                  </a:lnTo>
                  <a:lnTo>
                    <a:pt x="52" y="151"/>
                  </a:lnTo>
                  <a:lnTo>
                    <a:pt x="5" y="157"/>
                  </a:lnTo>
                  <a:lnTo>
                    <a:pt x="5" y="157"/>
                  </a:lnTo>
                  <a:lnTo>
                    <a:pt x="1" y="160"/>
                  </a:lnTo>
                  <a:lnTo>
                    <a:pt x="0" y="163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1" y="215"/>
                  </a:lnTo>
                  <a:lnTo>
                    <a:pt x="5" y="218"/>
                  </a:lnTo>
                  <a:lnTo>
                    <a:pt x="52" y="224"/>
                  </a:lnTo>
                  <a:lnTo>
                    <a:pt x="52" y="224"/>
                  </a:lnTo>
                  <a:lnTo>
                    <a:pt x="58" y="241"/>
                  </a:lnTo>
                  <a:lnTo>
                    <a:pt x="66" y="257"/>
                  </a:lnTo>
                  <a:lnTo>
                    <a:pt x="36" y="294"/>
                  </a:lnTo>
                  <a:lnTo>
                    <a:pt x="36" y="294"/>
                  </a:lnTo>
                  <a:lnTo>
                    <a:pt x="35" y="298"/>
                  </a:lnTo>
                  <a:lnTo>
                    <a:pt x="38" y="302"/>
                  </a:lnTo>
                  <a:lnTo>
                    <a:pt x="71" y="337"/>
                  </a:lnTo>
                  <a:lnTo>
                    <a:pt x="71" y="337"/>
                  </a:lnTo>
                  <a:lnTo>
                    <a:pt x="74" y="339"/>
                  </a:lnTo>
                  <a:lnTo>
                    <a:pt x="75" y="339"/>
                  </a:lnTo>
                  <a:lnTo>
                    <a:pt x="75" y="339"/>
                  </a:lnTo>
                  <a:lnTo>
                    <a:pt x="79" y="337"/>
                  </a:lnTo>
                  <a:lnTo>
                    <a:pt x="118" y="308"/>
                  </a:lnTo>
                  <a:lnTo>
                    <a:pt x="118" y="308"/>
                  </a:lnTo>
                  <a:lnTo>
                    <a:pt x="133" y="316"/>
                  </a:lnTo>
                  <a:lnTo>
                    <a:pt x="151" y="321"/>
                  </a:lnTo>
                  <a:lnTo>
                    <a:pt x="156" y="370"/>
                  </a:lnTo>
                  <a:lnTo>
                    <a:pt x="156" y="370"/>
                  </a:lnTo>
                  <a:lnTo>
                    <a:pt x="159" y="374"/>
                  </a:lnTo>
                  <a:lnTo>
                    <a:pt x="163" y="375"/>
                  </a:lnTo>
                  <a:lnTo>
                    <a:pt x="211" y="375"/>
                  </a:lnTo>
                  <a:lnTo>
                    <a:pt x="211" y="375"/>
                  </a:lnTo>
                  <a:lnTo>
                    <a:pt x="215" y="374"/>
                  </a:lnTo>
                  <a:lnTo>
                    <a:pt x="216" y="370"/>
                  </a:lnTo>
                  <a:lnTo>
                    <a:pt x="223" y="321"/>
                  </a:lnTo>
                  <a:lnTo>
                    <a:pt x="223" y="321"/>
                  </a:lnTo>
                  <a:lnTo>
                    <a:pt x="239" y="316"/>
                  </a:lnTo>
                  <a:lnTo>
                    <a:pt x="255" y="308"/>
                  </a:lnTo>
                  <a:lnTo>
                    <a:pt x="294" y="337"/>
                  </a:lnTo>
                  <a:lnTo>
                    <a:pt x="294" y="337"/>
                  </a:lnTo>
                  <a:lnTo>
                    <a:pt x="297" y="339"/>
                  </a:lnTo>
                  <a:lnTo>
                    <a:pt x="297" y="339"/>
                  </a:lnTo>
                  <a:lnTo>
                    <a:pt x="300" y="339"/>
                  </a:lnTo>
                  <a:lnTo>
                    <a:pt x="302" y="337"/>
                  </a:lnTo>
                  <a:lnTo>
                    <a:pt x="336" y="302"/>
                  </a:lnTo>
                  <a:lnTo>
                    <a:pt x="336" y="302"/>
                  </a:lnTo>
                  <a:lnTo>
                    <a:pt x="337" y="298"/>
                  </a:lnTo>
                  <a:lnTo>
                    <a:pt x="336" y="294"/>
                  </a:lnTo>
                  <a:lnTo>
                    <a:pt x="308" y="257"/>
                  </a:lnTo>
                  <a:lnTo>
                    <a:pt x="308" y="257"/>
                  </a:lnTo>
                  <a:lnTo>
                    <a:pt x="314" y="241"/>
                  </a:lnTo>
                  <a:lnTo>
                    <a:pt x="321" y="224"/>
                  </a:lnTo>
                  <a:lnTo>
                    <a:pt x="368" y="218"/>
                  </a:lnTo>
                  <a:lnTo>
                    <a:pt x="368" y="218"/>
                  </a:lnTo>
                  <a:lnTo>
                    <a:pt x="372" y="215"/>
                  </a:lnTo>
                  <a:lnTo>
                    <a:pt x="374" y="211"/>
                  </a:lnTo>
                  <a:lnTo>
                    <a:pt x="374" y="163"/>
                  </a:lnTo>
                  <a:lnTo>
                    <a:pt x="374" y="163"/>
                  </a:lnTo>
                  <a:lnTo>
                    <a:pt x="372" y="160"/>
                  </a:lnTo>
                  <a:lnTo>
                    <a:pt x="368" y="157"/>
                  </a:lnTo>
                  <a:lnTo>
                    <a:pt x="368" y="157"/>
                  </a:lnTo>
                  <a:close/>
                  <a:moveTo>
                    <a:pt x="187" y="267"/>
                  </a:moveTo>
                  <a:lnTo>
                    <a:pt x="187" y="267"/>
                  </a:lnTo>
                  <a:lnTo>
                    <a:pt x="179" y="266"/>
                  </a:lnTo>
                  <a:lnTo>
                    <a:pt x="171" y="266"/>
                  </a:lnTo>
                  <a:lnTo>
                    <a:pt x="156" y="261"/>
                  </a:lnTo>
                  <a:lnTo>
                    <a:pt x="142" y="254"/>
                  </a:lnTo>
                  <a:lnTo>
                    <a:pt x="130" y="243"/>
                  </a:lnTo>
                  <a:lnTo>
                    <a:pt x="121" y="233"/>
                  </a:lnTo>
                  <a:lnTo>
                    <a:pt x="113" y="219"/>
                  </a:lnTo>
                  <a:lnTo>
                    <a:pt x="109" y="203"/>
                  </a:lnTo>
                  <a:lnTo>
                    <a:pt x="108" y="196"/>
                  </a:lnTo>
                  <a:lnTo>
                    <a:pt x="108" y="187"/>
                  </a:lnTo>
                  <a:lnTo>
                    <a:pt x="108" y="187"/>
                  </a:lnTo>
                  <a:lnTo>
                    <a:pt x="108" y="179"/>
                  </a:lnTo>
                  <a:lnTo>
                    <a:pt x="109" y="171"/>
                  </a:lnTo>
                  <a:lnTo>
                    <a:pt x="113" y="156"/>
                  </a:lnTo>
                  <a:lnTo>
                    <a:pt x="121" y="142"/>
                  </a:lnTo>
                  <a:lnTo>
                    <a:pt x="130" y="132"/>
                  </a:lnTo>
                  <a:lnTo>
                    <a:pt x="142" y="121"/>
                  </a:lnTo>
                  <a:lnTo>
                    <a:pt x="156" y="114"/>
                  </a:lnTo>
                  <a:lnTo>
                    <a:pt x="171" y="109"/>
                  </a:lnTo>
                  <a:lnTo>
                    <a:pt x="179" y="108"/>
                  </a:lnTo>
                  <a:lnTo>
                    <a:pt x="187" y="108"/>
                  </a:lnTo>
                  <a:lnTo>
                    <a:pt x="187" y="108"/>
                  </a:lnTo>
                  <a:lnTo>
                    <a:pt x="195" y="108"/>
                  </a:lnTo>
                  <a:lnTo>
                    <a:pt x="203" y="109"/>
                  </a:lnTo>
                  <a:lnTo>
                    <a:pt x="218" y="114"/>
                  </a:lnTo>
                  <a:lnTo>
                    <a:pt x="231" y="121"/>
                  </a:lnTo>
                  <a:lnTo>
                    <a:pt x="243" y="132"/>
                  </a:lnTo>
                  <a:lnTo>
                    <a:pt x="253" y="142"/>
                  </a:lnTo>
                  <a:lnTo>
                    <a:pt x="259" y="156"/>
                  </a:lnTo>
                  <a:lnTo>
                    <a:pt x="265" y="171"/>
                  </a:lnTo>
                  <a:lnTo>
                    <a:pt x="266" y="179"/>
                  </a:lnTo>
                  <a:lnTo>
                    <a:pt x="266" y="187"/>
                  </a:lnTo>
                  <a:lnTo>
                    <a:pt x="266" y="187"/>
                  </a:lnTo>
                  <a:lnTo>
                    <a:pt x="266" y="196"/>
                  </a:lnTo>
                  <a:lnTo>
                    <a:pt x="265" y="203"/>
                  </a:lnTo>
                  <a:lnTo>
                    <a:pt x="259" y="219"/>
                  </a:lnTo>
                  <a:lnTo>
                    <a:pt x="253" y="233"/>
                  </a:lnTo>
                  <a:lnTo>
                    <a:pt x="243" y="243"/>
                  </a:lnTo>
                  <a:lnTo>
                    <a:pt x="231" y="254"/>
                  </a:lnTo>
                  <a:lnTo>
                    <a:pt x="218" y="261"/>
                  </a:lnTo>
                  <a:lnTo>
                    <a:pt x="203" y="266"/>
                  </a:lnTo>
                  <a:lnTo>
                    <a:pt x="195" y="266"/>
                  </a:lnTo>
                  <a:lnTo>
                    <a:pt x="187" y="267"/>
                  </a:lnTo>
                  <a:lnTo>
                    <a:pt x="187" y="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1" name="Freeform 216">
            <a:extLst>
              <a:ext uri="{FF2B5EF4-FFF2-40B4-BE49-F238E27FC236}">
                <a16:creationId xmlns:a16="http://schemas.microsoft.com/office/drawing/2014/main" id="{C2288678-362B-9721-CBA9-913C5A0FDFB1}"/>
              </a:ext>
            </a:extLst>
          </p:cNvPr>
          <p:cNvSpPr>
            <a:spLocks noEditPoints="1"/>
          </p:cNvSpPr>
          <p:nvPr/>
        </p:nvSpPr>
        <p:spPr bwMode="auto">
          <a:xfrm>
            <a:off x="7983005" y="4479948"/>
            <a:ext cx="241314" cy="220274"/>
          </a:xfrm>
          <a:custGeom>
            <a:avLst/>
            <a:gdLst>
              <a:gd name="T0" fmla="*/ 321 w 374"/>
              <a:gd name="T1" fmla="*/ 151 h 375"/>
              <a:gd name="T2" fmla="*/ 336 w 374"/>
              <a:gd name="T3" fmla="*/ 81 h 375"/>
              <a:gd name="T4" fmla="*/ 336 w 374"/>
              <a:gd name="T5" fmla="*/ 73 h 375"/>
              <a:gd name="T6" fmla="*/ 298 w 374"/>
              <a:gd name="T7" fmla="*/ 36 h 375"/>
              <a:gd name="T8" fmla="*/ 255 w 374"/>
              <a:gd name="T9" fmla="*/ 67 h 375"/>
              <a:gd name="T10" fmla="*/ 216 w 374"/>
              <a:gd name="T11" fmla="*/ 5 h 375"/>
              <a:gd name="T12" fmla="*/ 211 w 374"/>
              <a:gd name="T13" fmla="*/ 0 h 375"/>
              <a:gd name="T14" fmla="*/ 159 w 374"/>
              <a:gd name="T15" fmla="*/ 1 h 375"/>
              <a:gd name="T16" fmla="*/ 151 w 374"/>
              <a:gd name="T17" fmla="*/ 54 h 375"/>
              <a:gd name="T18" fmla="*/ 79 w 374"/>
              <a:gd name="T19" fmla="*/ 38 h 375"/>
              <a:gd name="T20" fmla="*/ 71 w 374"/>
              <a:gd name="T21" fmla="*/ 38 h 375"/>
              <a:gd name="T22" fmla="*/ 35 w 374"/>
              <a:gd name="T23" fmla="*/ 77 h 375"/>
              <a:gd name="T24" fmla="*/ 66 w 374"/>
              <a:gd name="T25" fmla="*/ 118 h 375"/>
              <a:gd name="T26" fmla="*/ 5 w 374"/>
              <a:gd name="T27" fmla="*/ 157 h 375"/>
              <a:gd name="T28" fmla="*/ 0 w 374"/>
              <a:gd name="T29" fmla="*/ 163 h 375"/>
              <a:gd name="T30" fmla="*/ 1 w 374"/>
              <a:gd name="T31" fmla="*/ 215 h 375"/>
              <a:gd name="T32" fmla="*/ 52 w 374"/>
              <a:gd name="T33" fmla="*/ 224 h 375"/>
              <a:gd name="T34" fmla="*/ 36 w 374"/>
              <a:gd name="T35" fmla="*/ 294 h 375"/>
              <a:gd name="T36" fmla="*/ 38 w 374"/>
              <a:gd name="T37" fmla="*/ 302 h 375"/>
              <a:gd name="T38" fmla="*/ 74 w 374"/>
              <a:gd name="T39" fmla="*/ 339 h 375"/>
              <a:gd name="T40" fmla="*/ 79 w 374"/>
              <a:gd name="T41" fmla="*/ 337 h 375"/>
              <a:gd name="T42" fmla="*/ 133 w 374"/>
              <a:gd name="T43" fmla="*/ 316 h 375"/>
              <a:gd name="T44" fmla="*/ 156 w 374"/>
              <a:gd name="T45" fmla="*/ 370 h 375"/>
              <a:gd name="T46" fmla="*/ 211 w 374"/>
              <a:gd name="T47" fmla="*/ 375 h 375"/>
              <a:gd name="T48" fmla="*/ 216 w 374"/>
              <a:gd name="T49" fmla="*/ 370 h 375"/>
              <a:gd name="T50" fmla="*/ 239 w 374"/>
              <a:gd name="T51" fmla="*/ 316 h 375"/>
              <a:gd name="T52" fmla="*/ 294 w 374"/>
              <a:gd name="T53" fmla="*/ 337 h 375"/>
              <a:gd name="T54" fmla="*/ 300 w 374"/>
              <a:gd name="T55" fmla="*/ 339 h 375"/>
              <a:gd name="T56" fmla="*/ 336 w 374"/>
              <a:gd name="T57" fmla="*/ 302 h 375"/>
              <a:gd name="T58" fmla="*/ 308 w 374"/>
              <a:gd name="T59" fmla="*/ 257 h 375"/>
              <a:gd name="T60" fmla="*/ 321 w 374"/>
              <a:gd name="T61" fmla="*/ 224 h 375"/>
              <a:gd name="T62" fmla="*/ 372 w 374"/>
              <a:gd name="T63" fmla="*/ 215 h 375"/>
              <a:gd name="T64" fmla="*/ 374 w 374"/>
              <a:gd name="T65" fmla="*/ 163 h 375"/>
              <a:gd name="T66" fmla="*/ 368 w 374"/>
              <a:gd name="T67" fmla="*/ 157 h 375"/>
              <a:gd name="T68" fmla="*/ 179 w 374"/>
              <a:gd name="T69" fmla="*/ 266 h 375"/>
              <a:gd name="T70" fmla="*/ 142 w 374"/>
              <a:gd name="T71" fmla="*/ 254 h 375"/>
              <a:gd name="T72" fmla="*/ 113 w 374"/>
              <a:gd name="T73" fmla="*/ 219 h 375"/>
              <a:gd name="T74" fmla="*/ 108 w 374"/>
              <a:gd name="T75" fmla="*/ 187 h 375"/>
              <a:gd name="T76" fmla="*/ 109 w 374"/>
              <a:gd name="T77" fmla="*/ 171 h 375"/>
              <a:gd name="T78" fmla="*/ 130 w 374"/>
              <a:gd name="T79" fmla="*/ 132 h 375"/>
              <a:gd name="T80" fmla="*/ 171 w 374"/>
              <a:gd name="T81" fmla="*/ 109 h 375"/>
              <a:gd name="T82" fmla="*/ 187 w 374"/>
              <a:gd name="T83" fmla="*/ 108 h 375"/>
              <a:gd name="T84" fmla="*/ 218 w 374"/>
              <a:gd name="T85" fmla="*/ 114 h 375"/>
              <a:gd name="T86" fmla="*/ 253 w 374"/>
              <a:gd name="T87" fmla="*/ 142 h 375"/>
              <a:gd name="T88" fmla="*/ 266 w 374"/>
              <a:gd name="T89" fmla="*/ 179 h 375"/>
              <a:gd name="T90" fmla="*/ 266 w 374"/>
              <a:gd name="T91" fmla="*/ 196 h 375"/>
              <a:gd name="T92" fmla="*/ 253 w 374"/>
              <a:gd name="T93" fmla="*/ 233 h 375"/>
              <a:gd name="T94" fmla="*/ 218 w 374"/>
              <a:gd name="T95" fmla="*/ 261 h 375"/>
              <a:gd name="T96" fmla="*/ 187 w 374"/>
              <a:gd name="T97" fmla="*/ 267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74" h="375">
                <a:moveTo>
                  <a:pt x="368" y="157"/>
                </a:moveTo>
                <a:lnTo>
                  <a:pt x="321" y="151"/>
                </a:lnTo>
                <a:lnTo>
                  <a:pt x="321" y="151"/>
                </a:lnTo>
                <a:lnTo>
                  <a:pt x="314" y="134"/>
                </a:lnTo>
                <a:lnTo>
                  <a:pt x="308" y="118"/>
                </a:lnTo>
                <a:lnTo>
                  <a:pt x="336" y="81"/>
                </a:lnTo>
                <a:lnTo>
                  <a:pt x="336" y="81"/>
                </a:lnTo>
                <a:lnTo>
                  <a:pt x="337" y="77"/>
                </a:lnTo>
                <a:lnTo>
                  <a:pt x="336" y="73"/>
                </a:lnTo>
                <a:lnTo>
                  <a:pt x="302" y="38"/>
                </a:lnTo>
                <a:lnTo>
                  <a:pt x="302" y="38"/>
                </a:lnTo>
                <a:lnTo>
                  <a:pt x="298" y="36"/>
                </a:lnTo>
                <a:lnTo>
                  <a:pt x="294" y="38"/>
                </a:lnTo>
                <a:lnTo>
                  <a:pt x="255" y="67"/>
                </a:lnTo>
                <a:lnTo>
                  <a:pt x="255" y="67"/>
                </a:lnTo>
                <a:lnTo>
                  <a:pt x="239" y="59"/>
                </a:lnTo>
                <a:lnTo>
                  <a:pt x="223" y="54"/>
                </a:lnTo>
                <a:lnTo>
                  <a:pt x="216" y="5"/>
                </a:lnTo>
                <a:lnTo>
                  <a:pt x="216" y="5"/>
                </a:lnTo>
                <a:lnTo>
                  <a:pt x="215" y="1"/>
                </a:lnTo>
                <a:lnTo>
                  <a:pt x="211" y="0"/>
                </a:lnTo>
                <a:lnTo>
                  <a:pt x="163" y="0"/>
                </a:lnTo>
                <a:lnTo>
                  <a:pt x="163" y="0"/>
                </a:lnTo>
                <a:lnTo>
                  <a:pt x="159" y="1"/>
                </a:lnTo>
                <a:lnTo>
                  <a:pt x="156" y="5"/>
                </a:lnTo>
                <a:lnTo>
                  <a:pt x="151" y="54"/>
                </a:lnTo>
                <a:lnTo>
                  <a:pt x="151" y="54"/>
                </a:lnTo>
                <a:lnTo>
                  <a:pt x="133" y="59"/>
                </a:lnTo>
                <a:lnTo>
                  <a:pt x="118" y="67"/>
                </a:lnTo>
                <a:lnTo>
                  <a:pt x="79" y="38"/>
                </a:lnTo>
                <a:lnTo>
                  <a:pt x="79" y="38"/>
                </a:lnTo>
                <a:lnTo>
                  <a:pt x="75" y="36"/>
                </a:lnTo>
                <a:lnTo>
                  <a:pt x="71" y="38"/>
                </a:lnTo>
                <a:lnTo>
                  <a:pt x="38" y="73"/>
                </a:lnTo>
                <a:lnTo>
                  <a:pt x="38" y="73"/>
                </a:lnTo>
                <a:lnTo>
                  <a:pt x="35" y="77"/>
                </a:lnTo>
                <a:lnTo>
                  <a:pt x="36" y="81"/>
                </a:lnTo>
                <a:lnTo>
                  <a:pt x="66" y="118"/>
                </a:lnTo>
                <a:lnTo>
                  <a:pt x="66" y="118"/>
                </a:lnTo>
                <a:lnTo>
                  <a:pt x="58" y="134"/>
                </a:lnTo>
                <a:lnTo>
                  <a:pt x="52" y="151"/>
                </a:lnTo>
                <a:lnTo>
                  <a:pt x="5" y="157"/>
                </a:lnTo>
                <a:lnTo>
                  <a:pt x="5" y="157"/>
                </a:lnTo>
                <a:lnTo>
                  <a:pt x="1" y="160"/>
                </a:lnTo>
                <a:lnTo>
                  <a:pt x="0" y="163"/>
                </a:lnTo>
                <a:lnTo>
                  <a:pt x="0" y="211"/>
                </a:lnTo>
                <a:lnTo>
                  <a:pt x="0" y="211"/>
                </a:lnTo>
                <a:lnTo>
                  <a:pt x="1" y="215"/>
                </a:lnTo>
                <a:lnTo>
                  <a:pt x="5" y="218"/>
                </a:lnTo>
                <a:lnTo>
                  <a:pt x="52" y="224"/>
                </a:lnTo>
                <a:lnTo>
                  <a:pt x="52" y="224"/>
                </a:lnTo>
                <a:lnTo>
                  <a:pt x="58" y="241"/>
                </a:lnTo>
                <a:lnTo>
                  <a:pt x="66" y="257"/>
                </a:lnTo>
                <a:lnTo>
                  <a:pt x="36" y="294"/>
                </a:lnTo>
                <a:lnTo>
                  <a:pt x="36" y="294"/>
                </a:lnTo>
                <a:lnTo>
                  <a:pt x="35" y="298"/>
                </a:lnTo>
                <a:lnTo>
                  <a:pt x="38" y="302"/>
                </a:lnTo>
                <a:lnTo>
                  <a:pt x="71" y="337"/>
                </a:lnTo>
                <a:lnTo>
                  <a:pt x="71" y="337"/>
                </a:lnTo>
                <a:lnTo>
                  <a:pt x="74" y="339"/>
                </a:lnTo>
                <a:lnTo>
                  <a:pt x="75" y="339"/>
                </a:lnTo>
                <a:lnTo>
                  <a:pt x="75" y="339"/>
                </a:lnTo>
                <a:lnTo>
                  <a:pt x="79" y="337"/>
                </a:lnTo>
                <a:lnTo>
                  <a:pt x="118" y="308"/>
                </a:lnTo>
                <a:lnTo>
                  <a:pt x="118" y="308"/>
                </a:lnTo>
                <a:lnTo>
                  <a:pt x="133" y="316"/>
                </a:lnTo>
                <a:lnTo>
                  <a:pt x="151" y="321"/>
                </a:lnTo>
                <a:lnTo>
                  <a:pt x="156" y="370"/>
                </a:lnTo>
                <a:lnTo>
                  <a:pt x="156" y="370"/>
                </a:lnTo>
                <a:lnTo>
                  <a:pt x="159" y="374"/>
                </a:lnTo>
                <a:lnTo>
                  <a:pt x="163" y="375"/>
                </a:lnTo>
                <a:lnTo>
                  <a:pt x="211" y="375"/>
                </a:lnTo>
                <a:lnTo>
                  <a:pt x="211" y="375"/>
                </a:lnTo>
                <a:lnTo>
                  <a:pt x="215" y="374"/>
                </a:lnTo>
                <a:lnTo>
                  <a:pt x="216" y="370"/>
                </a:lnTo>
                <a:lnTo>
                  <a:pt x="223" y="321"/>
                </a:lnTo>
                <a:lnTo>
                  <a:pt x="223" y="321"/>
                </a:lnTo>
                <a:lnTo>
                  <a:pt x="239" y="316"/>
                </a:lnTo>
                <a:lnTo>
                  <a:pt x="255" y="308"/>
                </a:lnTo>
                <a:lnTo>
                  <a:pt x="294" y="337"/>
                </a:lnTo>
                <a:lnTo>
                  <a:pt x="294" y="337"/>
                </a:lnTo>
                <a:lnTo>
                  <a:pt x="297" y="339"/>
                </a:lnTo>
                <a:lnTo>
                  <a:pt x="297" y="339"/>
                </a:lnTo>
                <a:lnTo>
                  <a:pt x="300" y="339"/>
                </a:lnTo>
                <a:lnTo>
                  <a:pt x="302" y="337"/>
                </a:lnTo>
                <a:lnTo>
                  <a:pt x="336" y="302"/>
                </a:lnTo>
                <a:lnTo>
                  <a:pt x="336" y="302"/>
                </a:lnTo>
                <a:lnTo>
                  <a:pt x="337" y="298"/>
                </a:lnTo>
                <a:lnTo>
                  <a:pt x="336" y="294"/>
                </a:lnTo>
                <a:lnTo>
                  <a:pt x="308" y="257"/>
                </a:lnTo>
                <a:lnTo>
                  <a:pt x="308" y="257"/>
                </a:lnTo>
                <a:lnTo>
                  <a:pt x="314" y="241"/>
                </a:lnTo>
                <a:lnTo>
                  <a:pt x="321" y="224"/>
                </a:lnTo>
                <a:lnTo>
                  <a:pt x="368" y="218"/>
                </a:lnTo>
                <a:lnTo>
                  <a:pt x="368" y="218"/>
                </a:lnTo>
                <a:lnTo>
                  <a:pt x="372" y="215"/>
                </a:lnTo>
                <a:lnTo>
                  <a:pt x="374" y="211"/>
                </a:lnTo>
                <a:lnTo>
                  <a:pt x="374" y="163"/>
                </a:lnTo>
                <a:lnTo>
                  <a:pt x="374" y="163"/>
                </a:lnTo>
                <a:lnTo>
                  <a:pt x="372" y="160"/>
                </a:lnTo>
                <a:lnTo>
                  <a:pt x="368" y="157"/>
                </a:lnTo>
                <a:lnTo>
                  <a:pt x="368" y="157"/>
                </a:lnTo>
                <a:close/>
                <a:moveTo>
                  <a:pt x="187" y="267"/>
                </a:moveTo>
                <a:lnTo>
                  <a:pt x="187" y="267"/>
                </a:lnTo>
                <a:lnTo>
                  <a:pt x="179" y="266"/>
                </a:lnTo>
                <a:lnTo>
                  <a:pt x="171" y="266"/>
                </a:lnTo>
                <a:lnTo>
                  <a:pt x="156" y="261"/>
                </a:lnTo>
                <a:lnTo>
                  <a:pt x="142" y="254"/>
                </a:lnTo>
                <a:lnTo>
                  <a:pt x="130" y="243"/>
                </a:lnTo>
                <a:lnTo>
                  <a:pt x="121" y="233"/>
                </a:lnTo>
                <a:lnTo>
                  <a:pt x="113" y="219"/>
                </a:lnTo>
                <a:lnTo>
                  <a:pt x="109" y="203"/>
                </a:lnTo>
                <a:lnTo>
                  <a:pt x="108" y="196"/>
                </a:lnTo>
                <a:lnTo>
                  <a:pt x="108" y="187"/>
                </a:lnTo>
                <a:lnTo>
                  <a:pt x="108" y="187"/>
                </a:lnTo>
                <a:lnTo>
                  <a:pt x="108" y="179"/>
                </a:lnTo>
                <a:lnTo>
                  <a:pt x="109" y="171"/>
                </a:lnTo>
                <a:lnTo>
                  <a:pt x="113" y="156"/>
                </a:lnTo>
                <a:lnTo>
                  <a:pt x="121" y="142"/>
                </a:lnTo>
                <a:lnTo>
                  <a:pt x="130" y="132"/>
                </a:lnTo>
                <a:lnTo>
                  <a:pt x="142" y="121"/>
                </a:lnTo>
                <a:lnTo>
                  <a:pt x="156" y="114"/>
                </a:lnTo>
                <a:lnTo>
                  <a:pt x="171" y="109"/>
                </a:lnTo>
                <a:lnTo>
                  <a:pt x="179" y="108"/>
                </a:lnTo>
                <a:lnTo>
                  <a:pt x="187" y="108"/>
                </a:lnTo>
                <a:lnTo>
                  <a:pt x="187" y="108"/>
                </a:lnTo>
                <a:lnTo>
                  <a:pt x="195" y="108"/>
                </a:lnTo>
                <a:lnTo>
                  <a:pt x="203" y="109"/>
                </a:lnTo>
                <a:lnTo>
                  <a:pt x="218" y="114"/>
                </a:lnTo>
                <a:lnTo>
                  <a:pt x="231" y="121"/>
                </a:lnTo>
                <a:lnTo>
                  <a:pt x="243" y="132"/>
                </a:lnTo>
                <a:lnTo>
                  <a:pt x="253" y="142"/>
                </a:lnTo>
                <a:lnTo>
                  <a:pt x="259" y="156"/>
                </a:lnTo>
                <a:lnTo>
                  <a:pt x="265" y="171"/>
                </a:lnTo>
                <a:lnTo>
                  <a:pt x="266" y="179"/>
                </a:lnTo>
                <a:lnTo>
                  <a:pt x="266" y="187"/>
                </a:lnTo>
                <a:lnTo>
                  <a:pt x="266" y="187"/>
                </a:lnTo>
                <a:lnTo>
                  <a:pt x="266" y="196"/>
                </a:lnTo>
                <a:lnTo>
                  <a:pt x="265" y="203"/>
                </a:lnTo>
                <a:lnTo>
                  <a:pt x="259" y="219"/>
                </a:lnTo>
                <a:lnTo>
                  <a:pt x="253" y="233"/>
                </a:lnTo>
                <a:lnTo>
                  <a:pt x="243" y="243"/>
                </a:lnTo>
                <a:lnTo>
                  <a:pt x="231" y="254"/>
                </a:lnTo>
                <a:lnTo>
                  <a:pt x="218" y="261"/>
                </a:lnTo>
                <a:lnTo>
                  <a:pt x="203" y="266"/>
                </a:lnTo>
                <a:lnTo>
                  <a:pt x="195" y="266"/>
                </a:lnTo>
                <a:lnTo>
                  <a:pt x="187" y="267"/>
                </a:lnTo>
                <a:lnTo>
                  <a:pt x="187" y="267"/>
                </a:lnTo>
                <a:close/>
              </a:path>
            </a:pathLst>
          </a:cu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2" name="Rectangle 160">
            <a:extLst>
              <a:ext uri="{FF2B5EF4-FFF2-40B4-BE49-F238E27FC236}">
                <a16:creationId xmlns:a16="http://schemas.microsoft.com/office/drawing/2014/main" id="{BFEBEE72-8850-3C97-B9E1-03AF2A480222}"/>
              </a:ext>
            </a:extLst>
          </p:cNvPr>
          <p:cNvSpPr/>
          <p:nvPr/>
        </p:nvSpPr>
        <p:spPr>
          <a:xfrm>
            <a:off x="5787872" y="4044026"/>
            <a:ext cx="1016090" cy="303101"/>
          </a:xfrm>
          <a:prstGeom prst="rect">
            <a:avLst/>
          </a:prstGeom>
          <a:solidFill>
            <a:srgbClr val="FFCD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800" b="1" dirty="0">
                <a:solidFill>
                  <a:schemeClr val="tx1"/>
                </a:solidFill>
              </a:rPr>
              <a:t>WSO2 API Gateway</a:t>
            </a:r>
            <a:endParaRPr lang="en-US" sz="800" b="1" dirty="0">
              <a:solidFill>
                <a:schemeClr val="tx1"/>
              </a:solidFill>
            </a:endParaRPr>
          </a:p>
        </p:txBody>
      </p:sp>
      <p:sp>
        <p:nvSpPr>
          <p:cNvPr id="32" name="Rounded Rectangle 169">
            <a:extLst>
              <a:ext uri="{FF2B5EF4-FFF2-40B4-BE49-F238E27FC236}">
                <a16:creationId xmlns:a16="http://schemas.microsoft.com/office/drawing/2014/main" id="{4752C0E8-4D14-4609-6D18-D0B21ABACFE3}"/>
              </a:ext>
            </a:extLst>
          </p:cNvPr>
          <p:cNvSpPr/>
          <p:nvPr/>
        </p:nvSpPr>
        <p:spPr>
          <a:xfrm>
            <a:off x="5802378" y="5062801"/>
            <a:ext cx="5378079" cy="819802"/>
          </a:xfrm>
          <a:prstGeom prst="roundRect">
            <a:avLst>
              <a:gd name="adj" fmla="val 10984"/>
            </a:avLst>
          </a:prstGeom>
          <a:solidFill>
            <a:srgbClr val="00B0F0">
              <a:alpha val="10000"/>
            </a:srgbClr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r"/>
            <a:r>
              <a:rPr lang="hu-HU" sz="1200" dirty="0">
                <a:solidFill>
                  <a:schemeClr val="tx1"/>
                </a:solidFill>
              </a:rPr>
              <a:t>Back-End </a:t>
            </a:r>
            <a:r>
              <a:rPr lang="hu-HU" sz="1200" dirty="0" err="1">
                <a:solidFill>
                  <a:schemeClr val="tx1"/>
                </a:solidFill>
              </a:rPr>
              <a:t>Zon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77" name="Rectangle 390">
            <a:extLst>
              <a:ext uri="{FF2B5EF4-FFF2-40B4-BE49-F238E27FC236}">
                <a16:creationId xmlns:a16="http://schemas.microsoft.com/office/drawing/2014/main" id="{616C824C-0BCD-2C29-B3D0-C03200B0B8F4}"/>
              </a:ext>
            </a:extLst>
          </p:cNvPr>
          <p:cNvSpPr/>
          <p:nvPr/>
        </p:nvSpPr>
        <p:spPr>
          <a:xfrm>
            <a:off x="8072899" y="5248165"/>
            <a:ext cx="1255465" cy="4373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dirty="0">
              <a:solidFill>
                <a:schemeClr val="tx1"/>
              </a:solidFill>
            </a:endParaRPr>
          </a:p>
        </p:txBody>
      </p:sp>
      <p:sp>
        <p:nvSpPr>
          <p:cNvPr id="78" name="Rectangle 390">
            <a:extLst>
              <a:ext uri="{FF2B5EF4-FFF2-40B4-BE49-F238E27FC236}">
                <a16:creationId xmlns:a16="http://schemas.microsoft.com/office/drawing/2014/main" id="{DF7A7633-37F3-214E-EBDA-FCEA203F0B89}"/>
              </a:ext>
            </a:extLst>
          </p:cNvPr>
          <p:cNvSpPr/>
          <p:nvPr/>
        </p:nvSpPr>
        <p:spPr>
          <a:xfrm>
            <a:off x="8210059" y="5181109"/>
            <a:ext cx="1255465" cy="4373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dirty="0">
              <a:solidFill>
                <a:schemeClr val="tx1"/>
              </a:solidFill>
            </a:endParaRP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606D7B09-4599-A983-A934-30ECCE5E7127}"/>
              </a:ext>
            </a:extLst>
          </p:cNvPr>
          <p:cNvGrpSpPr/>
          <p:nvPr/>
        </p:nvGrpSpPr>
        <p:grpSpPr>
          <a:xfrm>
            <a:off x="7946565" y="5328094"/>
            <a:ext cx="1255465" cy="437362"/>
            <a:chOff x="2987070" y="5501830"/>
            <a:chExt cx="1255465" cy="437362"/>
          </a:xfrm>
          <a:solidFill>
            <a:srgbClr val="6FC2B4"/>
          </a:solidFill>
        </p:grpSpPr>
        <p:sp>
          <p:nvSpPr>
            <p:cNvPr id="80" name="Rectangle 390">
              <a:extLst>
                <a:ext uri="{FF2B5EF4-FFF2-40B4-BE49-F238E27FC236}">
                  <a16:creationId xmlns:a16="http://schemas.microsoft.com/office/drawing/2014/main" id="{362E9A21-0EDA-11E3-7814-7EE40FF3241D}"/>
                </a:ext>
              </a:extLst>
            </p:cNvPr>
            <p:cNvSpPr/>
            <p:nvPr/>
          </p:nvSpPr>
          <p:spPr>
            <a:xfrm>
              <a:off x="2987070" y="5501830"/>
              <a:ext cx="1255465" cy="437362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hu-HU" sz="800" b="1" dirty="0">
                  <a:solidFill>
                    <a:schemeClr val="tx1"/>
                  </a:solidFill>
                </a:rPr>
                <a:t>!</a:t>
              </a:r>
              <a:r>
                <a:rPr lang="hu-HU" sz="800" b="1" dirty="0" err="1">
                  <a:solidFill>
                    <a:schemeClr val="tx1"/>
                  </a:solidFill>
                </a:rPr>
                <a:t>loadMe</a:t>
              </a:r>
              <a:r>
                <a:rPr lang="hu-HU" sz="800" b="1" dirty="0">
                  <a:solidFill>
                    <a:schemeClr val="tx1"/>
                  </a:solidFill>
                </a:rPr>
                <a:t> Back-end </a:t>
              </a:r>
            </a:p>
            <a:p>
              <a:pPr algn="r"/>
              <a:r>
                <a:rPr lang="en-US" sz="800" b="1" dirty="0">
                  <a:solidFill>
                    <a:schemeClr val="tx1"/>
                  </a:solidFill>
                </a:rPr>
                <a:t>App</a:t>
              </a:r>
              <a:r>
                <a:rPr lang="hu-HU" sz="800" b="1" dirty="0" err="1">
                  <a:solidFill>
                    <a:schemeClr val="tx1"/>
                  </a:solidFill>
                </a:rPr>
                <a:t>lications</a:t>
              </a:r>
              <a:r>
                <a:rPr lang="hu-HU" sz="800" b="1" dirty="0">
                  <a:solidFill>
                    <a:schemeClr val="tx1"/>
                  </a:solidFill>
                </a:rPr>
                <a:t> / </a:t>
              </a:r>
              <a:r>
                <a:rPr lang="hu-HU" sz="800" b="1" dirty="0" err="1">
                  <a:solidFill>
                    <a:schemeClr val="tx1"/>
                  </a:solidFill>
                </a:rPr>
                <a:t>DBs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81" name="Freeform 216">
              <a:extLst>
                <a:ext uri="{FF2B5EF4-FFF2-40B4-BE49-F238E27FC236}">
                  <a16:creationId xmlns:a16="http://schemas.microsoft.com/office/drawing/2014/main" id="{721FF160-669E-02F1-0E96-264FE6E237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9516" y="5585180"/>
              <a:ext cx="255551" cy="255086"/>
            </a:xfrm>
            <a:custGeom>
              <a:avLst/>
              <a:gdLst>
                <a:gd name="T0" fmla="*/ 321 w 374"/>
                <a:gd name="T1" fmla="*/ 151 h 375"/>
                <a:gd name="T2" fmla="*/ 336 w 374"/>
                <a:gd name="T3" fmla="*/ 81 h 375"/>
                <a:gd name="T4" fmla="*/ 336 w 374"/>
                <a:gd name="T5" fmla="*/ 73 h 375"/>
                <a:gd name="T6" fmla="*/ 298 w 374"/>
                <a:gd name="T7" fmla="*/ 36 h 375"/>
                <a:gd name="T8" fmla="*/ 255 w 374"/>
                <a:gd name="T9" fmla="*/ 67 h 375"/>
                <a:gd name="T10" fmla="*/ 216 w 374"/>
                <a:gd name="T11" fmla="*/ 5 h 375"/>
                <a:gd name="T12" fmla="*/ 211 w 374"/>
                <a:gd name="T13" fmla="*/ 0 h 375"/>
                <a:gd name="T14" fmla="*/ 159 w 374"/>
                <a:gd name="T15" fmla="*/ 1 h 375"/>
                <a:gd name="T16" fmla="*/ 151 w 374"/>
                <a:gd name="T17" fmla="*/ 54 h 375"/>
                <a:gd name="T18" fmla="*/ 79 w 374"/>
                <a:gd name="T19" fmla="*/ 38 h 375"/>
                <a:gd name="T20" fmla="*/ 71 w 374"/>
                <a:gd name="T21" fmla="*/ 38 h 375"/>
                <a:gd name="T22" fmla="*/ 35 w 374"/>
                <a:gd name="T23" fmla="*/ 77 h 375"/>
                <a:gd name="T24" fmla="*/ 66 w 374"/>
                <a:gd name="T25" fmla="*/ 118 h 375"/>
                <a:gd name="T26" fmla="*/ 5 w 374"/>
                <a:gd name="T27" fmla="*/ 157 h 375"/>
                <a:gd name="T28" fmla="*/ 0 w 374"/>
                <a:gd name="T29" fmla="*/ 163 h 375"/>
                <a:gd name="T30" fmla="*/ 1 w 374"/>
                <a:gd name="T31" fmla="*/ 215 h 375"/>
                <a:gd name="T32" fmla="*/ 52 w 374"/>
                <a:gd name="T33" fmla="*/ 224 h 375"/>
                <a:gd name="T34" fmla="*/ 36 w 374"/>
                <a:gd name="T35" fmla="*/ 294 h 375"/>
                <a:gd name="T36" fmla="*/ 38 w 374"/>
                <a:gd name="T37" fmla="*/ 302 h 375"/>
                <a:gd name="T38" fmla="*/ 74 w 374"/>
                <a:gd name="T39" fmla="*/ 339 h 375"/>
                <a:gd name="T40" fmla="*/ 79 w 374"/>
                <a:gd name="T41" fmla="*/ 337 h 375"/>
                <a:gd name="T42" fmla="*/ 133 w 374"/>
                <a:gd name="T43" fmla="*/ 316 h 375"/>
                <a:gd name="T44" fmla="*/ 156 w 374"/>
                <a:gd name="T45" fmla="*/ 370 h 375"/>
                <a:gd name="T46" fmla="*/ 211 w 374"/>
                <a:gd name="T47" fmla="*/ 375 h 375"/>
                <a:gd name="T48" fmla="*/ 216 w 374"/>
                <a:gd name="T49" fmla="*/ 370 h 375"/>
                <a:gd name="T50" fmla="*/ 239 w 374"/>
                <a:gd name="T51" fmla="*/ 316 h 375"/>
                <a:gd name="T52" fmla="*/ 294 w 374"/>
                <a:gd name="T53" fmla="*/ 337 h 375"/>
                <a:gd name="T54" fmla="*/ 300 w 374"/>
                <a:gd name="T55" fmla="*/ 339 h 375"/>
                <a:gd name="T56" fmla="*/ 336 w 374"/>
                <a:gd name="T57" fmla="*/ 302 h 375"/>
                <a:gd name="T58" fmla="*/ 308 w 374"/>
                <a:gd name="T59" fmla="*/ 257 h 375"/>
                <a:gd name="T60" fmla="*/ 321 w 374"/>
                <a:gd name="T61" fmla="*/ 224 h 375"/>
                <a:gd name="T62" fmla="*/ 372 w 374"/>
                <a:gd name="T63" fmla="*/ 215 h 375"/>
                <a:gd name="T64" fmla="*/ 374 w 374"/>
                <a:gd name="T65" fmla="*/ 163 h 375"/>
                <a:gd name="T66" fmla="*/ 368 w 374"/>
                <a:gd name="T67" fmla="*/ 157 h 375"/>
                <a:gd name="T68" fmla="*/ 179 w 374"/>
                <a:gd name="T69" fmla="*/ 266 h 375"/>
                <a:gd name="T70" fmla="*/ 142 w 374"/>
                <a:gd name="T71" fmla="*/ 254 h 375"/>
                <a:gd name="T72" fmla="*/ 113 w 374"/>
                <a:gd name="T73" fmla="*/ 219 h 375"/>
                <a:gd name="T74" fmla="*/ 108 w 374"/>
                <a:gd name="T75" fmla="*/ 187 h 375"/>
                <a:gd name="T76" fmla="*/ 109 w 374"/>
                <a:gd name="T77" fmla="*/ 171 h 375"/>
                <a:gd name="T78" fmla="*/ 130 w 374"/>
                <a:gd name="T79" fmla="*/ 132 h 375"/>
                <a:gd name="T80" fmla="*/ 171 w 374"/>
                <a:gd name="T81" fmla="*/ 109 h 375"/>
                <a:gd name="T82" fmla="*/ 187 w 374"/>
                <a:gd name="T83" fmla="*/ 108 h 375"/>
                <a:gd name="T84" fmla="*/ 218 w 374"/>
                <a:gd name="T85" fmla="*/ 114 h 375"/>
                <a:gd name="T86" fmla="*/ 253 w 374"/>
                <a:gd name="T87" fmla="*/ 142 h 375"/>
                <a:gd name="T88" fmla="*/ 266 w 374"/>
                <a:gd name="T89" fmla="*/ 179 h 375"/>
                <a:gd name="T90" fmla="*/ 266 w 374"/>
                <a:gd name="T91" fmla="*/ 196 h 375"/>
                <a:gd name="T92" fmla="*/ 253 w 374"/>
                <a:gd name="T93" fmla="*/ 233 h 375"/>
                <a:gd name="T94" fmla="*/ 218 w 374"/>
                <a:gd name="T95" fmla="*/ 261 h 375"/>
                <a:gd name="T96" fmla="*/ 187 w 374"/>
                <a:gd name="T97" fmla="*/ 267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74" h="375">
                  <a:moveTo>
                    <a:pt x="368" y="157"/>
                  </a:moveTo>
                  <a:lnTo>
                    <a:pt x="321" y="151"/>
                  </a:lnTo>
                  <a:lnTo>
                    <a:pt x="321" y="151"/>
                  </a:lnTo>
                  <a:lnTo>
                    <a:pt x="314" y="134"/>
                  </a:lnTo>
                  <a:lnTo>
                    <a:pt x="308" y="118"/>
                  </a:lnTo>
                  <a:lnTo>
                    <a:pt x="336" y="81"/>
                  </a:lnTo>
                  <a:lnTo>
                    <a:pt x="336" y="81"/>
                  </a:lnTo>
                  <a:lnTo>
                    <a:pt x="337" y="77"/>
                  </a:lnTo>
                  <a:lnTo>
                    <a:pt x="336" y="73"/>
                  </a:lnTo>
                  <a:lnTo>
                    <a:pt x="302" y="38"/>
                  </a:lnTo>
                  <a:lnTo>
                    <a:pt x="302" y="38"/>
                  </a:lnTo>
                  <a:lnTo>
                    <a:pt x="298" y="36"/>
                  </a:lnTo>
                  <a:lnTo>
                    <a:pt x="294" y="38"/>
                  </a:lnTo>
                  <a:lnTo>
                    <a:pt x="255" y="67"/>
                  </a:lnTo>
                  <a:lnTo>
                    <a:pt x="255" y="67"/>
                  </a:lnTo>
                  <a:lnTo>
                    <a:pt x="239" y="59"/>
                  </a:lnTo>
                  <a:lnTo>
                    <a:pt x="223" y="54"/>
                  </a:lnTo>
                  <a:lnTo>
                    <a:pt x="216" y="5"/>
                  </a:lnTo>
                  <a:lnTo>
                    <a:pt x="216" y="5"/>
                  </a:lnTo>
                  <a:lnTo>
                    <a:pt x="215" y="1"/>
                  </a:lnTo>
                  <a:lnTo>
                    <a:pt x="211" y="0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59" y="1"/>
                  </a:lnTo>
                  <a:lnTo>
                    <a:pt x="156" y="5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33" y="59"/>
                  </a:lnTo>
                  <a:lnTo>
                    <a:pt x="118" y="67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5" y="36"/>
                  </a:lnTo>
                  <a:lnTo>
                    <a:pt x="71" y="38"/>
                  </a:lnTo>
                  <a:lnTo>
                    <a:pt x="38" y="73"/>
                  </a:lnTo>
                  <a:lnTo>
                    <a:pt x="38" y="73"/>
                  </a:lnTo>
                  <a:lnTo>
                    <a:pt x="35" y="77"/>
                  </a:lnTo>
                  <a:lnTo>
                    <a:pt x="36" y="81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58" y="134"/>
                  </a:lnTo>
                  <a:lnTo>
                    <a:pt x="52" y="151"/>
                  </a:lnTo>
                  <a:lnTo>
                    <a:pt x="5" y="157"/>
                  </a:lnTo>
                  <a:lnTo>
                    <a:pt x="5" y="157"/>
                  </a:lnTo>
                  <a:lnTo>
                    <a:pt x="1" y="160"/>
                  </a:lnTo>
                  <a:lnTo>
                    <a:pt x="0" y="163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1" y="215"/>
                  </a:lnTo>
                  <a:lnTo>
                    <a:pt x="5" y="218"/>
                  </a:lnTo>
                  <a:lnTo>
                    <a:pt x="52" y="224"/>
                  </a:lnTo>
                  <a:lnTo>
                    <a:pt x="52" y="224"/>
                  </a:lnTo>
                  <a:lnTo>
                    <a:pt x="58" y="241"/>
                  </a:lnTo>
                  <a:lnTo>
                    <a:pt x="66" y="257"/>
                  </a:lnTo>
                  <a:lnTo>
                    <a:pt x="36" y="294"/>
                  </a:lnTo>
                  <a:lnTo>
                    <a:pt x="36" y="294"/>
                  </a:lnTo>
                  <a:lnTo>
                    <a:pt x="35" y="298"/>
                  </a:lnTo>
                  <a:lnTo>
                    <a:pt x="38" y="302"/>
                  </a:lnTo>
                  <a:lnTo>
                    <a:pt x="71" y="337"/>
                  </a:lnTo>
                  <a:lnTo>
                    <a:pt x="71" y="337"/>
                  </a:lnTo>
                  <a:lnTo>
                    <a:pt x="74" y="339"/>
                  </a:lnTo>
                  <a:lnTo>
                    <a:pt x="75" y="339"/>
                  </a:lnTo>
                  <a:lnTo>
                    <a:pt x="75" y="339"/>
                  </a:lnTo>
                  <a:lnTo>
                    <a:pt x="79" y="337"/>
                  </a:lnTo>
                  <a:lnTo>
                    <a:pt x="118" y="308"/>
                  </a:lnTo>
                  <a:lnTo>
                    <a:pt x="118" y="308"/>
                  </a:lnTo>
                  <a:lnTo>
                    <a:pt x="133" y="316"/>
                  </a:lnTo>
                  <a:lnTo>
                    <a:pt x="151" y="321"/>
                  </a:lnTo>
                  <a:lnTo>
                    <a:pt x="156" y="370"/>
                  </a:lnTo>
                  <a:lnTo>
                    <a:pt x="156" y="370"/>
                  </a:lnTo>
                  <a:lnTo>
                    <a:pt x="159" y="374"/>
                  </a:lnTo>
                  <a:lnTo>
                    <a:pt x="163" y="375"/>
                  </a:lnTo>
                  <a:lnTo>
                    <a:pt x="211" y="375"/>
                  </a:lnTo>
                  <a:lnTo>
                    <a:pt x="211" y="375"/>
                  </a:lnTo>
                  <a:lnTo>
                    <a:pt x="215" y="374"/>
                  </a:lnTo>
                  <a:lnTo>
                    <a:pt x="216" y="370"/>
                  </a:lnTo>
                  <a:lnTo>
                    <a:pt x="223" y="321"/>
                  </a:lnTo>
                  <a:lnTo>
                    <a:pt x="223" y="321"/>
                  </a:lnTo>
                  <a:lnTo>
                    <a:pt x="239" y="316"/>
                  </a:lnTo>
                  <a:lnTo>
                    <a:pt x="255" y="308"/>
                  </a:lnTo>
                  <a:lnTo>
                    <a:pt x="294" y="337"/>
                  </a:lnTo>
                  <a:lnTo>
                    <a:pt x="294" y="337"/>
                  </a:lnTo>
                  <a:lnTo>
                    <a:pt x="297" y="339"/>
                  </a:lnTo>
                  <a:lnTo>
                    <a:pt x="297" y="339"/>
                  </a:lnTo>
                  <a:lnTo>
                    <a:pt x="300" y="339"/>
                  </a:lnTo>
                  <a:lnTo>
                    <a:pt x="302" y="337"/>
                  </a:lnTo>
                  <a:lnTo>
                    <a:pt x="336" y="302"/>
                  </a:lnTo>
                  <a:lnTo>
                    <a:pt x="336" y="302"/>
                  </a:lnTo>
                  <a:lnTo>
                    <a:pt x="337" y="298"/>
                  </a:lnTo>
                  <a:lnTo>
                    <a:pt x="336" y="294"/>
                  </a:lnTo>
                  <a:lnTo>
                    <a:pt x="308" y="257"/>
                  </a:lnTo>
                  <a:lnTo>
                    <a:pt x="308" y="257"/>
                  </a:lnTo>
                  <a:lnTo>
                    <a:pt x="314" y="241"/>
                  </a:lnTo>
                  <a:lnTo>
                    <a:pt x="321" y="224"/>
                  </a:lnTo>
                  <a:lnTo>
                    <a:pt x="368" y="218"/>
                  </a:lnTo>
                  <a:lnTo>
                    <a:pt x="368" y="218"/>
                  </a:lnTo>
                  <a:lnTo>
                    <a:pt x="372" y="215"/>
                  </a:lnTo>
                  <a:lnTo>
                    <a:pt x="374" y="211"/>
                  </a:lnTo>
                  <a:lnTo>
                    <a:pt x="374" y="163"/>
                  </a:lnTo>
                  <a:lnTo>
                    <a:pt x="374" y="163"/>
                  </a:lnTo>
                  <a:lnTo>
                    <a:pt x="372" y="160"/>
                  </a:lnTo>
                  <a:lnTo>
                    <a:pt x="368" y="157"/>
                  </a:lnTo>
                  <a:lnTo>
                    <a:pt x="368" y="157"/>
                  </a:lnTo>
                  <a:close/>
                  <a:moveTo>
                    <a:pt x="187" y="267"/>
                  </a:moveTo>
                  <a:lnTo>
                    <a:pt x="187" y="267"/>
                  </a:lnTo>
                  <a:lnTo>
                    <a:pt x="179" y="266"/>
                  </a:lnTo>
                  <a:lnTo>
                    <a:pt x="171" y="266"/>
                  </a:lnTo>
                  <a:lnTo>
                    <a:pt x="156" y="261"/>
                  </a:lnTo>
                  <a:lnTo>
                    <a:pt x="142" y="254"/>
                  </a:lnTo>
                  <a:lnTo>
                    <a:pt x="130" y="243"/>
                  </a:lnTo>
                  <a:lnTo>
                    <a:pt x="121" y="233"/>
                  </a:lnTo>
                  <a:lnTo>
                    <a:pt x="113" y="219"/>
                  </a:lnTo>
                  <a:lnTo>
                    <a:pt x="109" y="203"/>
                  </a:lnTo>
                  <a:lnTo>
                    <a:pt x="108" y="196"/>
                  </a:lnTo>
                  <a:lnTo>
                    <a:pt x="108" y="187"/>
                  </a:lnTo>
                  <a:lnTo>
                    <a:pt x="108" y="187"/>
                  </a:lnTo>
                  <a:lnTo>
                    <a:pt x="108" y="179"/>
                  </a:lnTo>
                  <a:lnTo>
                    <a:pt x="109" y="171"/>
                  </a:lnTo>
                  <a:lnTo>
                    <a:pt x="113" y="156"/>
                  </a:lnTo>
                  <a:lnTo>
                    <a:pt x="121" y="142"/>
                  </a:lnTo>
                  <a:lnTo>
                    <a:pt x="130" y="132"/>
                  </a:lnTo>
                  <a:lnTo>
                    <a:pt x="142" y="121"/>
                  </a:lnTo>
                  <a:lnTo>
                    <a:pt x="156" y="114"/>
                  </a:lnTo>
                  <a:lnTo>
                    <a:pt x="171" y="109"/>
                  </a:lnTo>
                  <a:lnTo>
                    <a:pt x="179" y="108"/>
                  </a:lnTo>
                  <a:lnTo>
                    <a:pt x="187" y="108"/>
                  </a:lnTo>
                  <a:lnTo>
                    <a:pt x="187" y="108"/>
                  </a:lnTo>
                  <a:lnTo>
                    <a:pt x="195" y="108"/>
                  </a:lnTo>
                  <a:lnTo>
                    <a:pt x="203" y="109"/>
                  </a:lnTo>
                  <a:lnTo>
                    <a:pt x="218" y="114"/>
                  </a:lnTo>
                  <a:lnTo>
                    <a:pt x="231" y="121"/>
                  </a:lnTo>
                  <a:lnTo>
                    <a:pt x="243" y="132"/>
                  </a:lnTo>
                  <a:lnTo>
                    <a:pt x="253" y="142"/>
                  </a:lnTo>
                  <a:lnTo>
                    <a:pt x="259" y="156"/>
                  </a:lnTo>
                  <a:lnTo>
                    <a:pt x="265" y="171"/>
                  </a:lnTo>
                  <a:lnTo>
                    <a:pt x="266" y="179"/>
                  </a:lnTo>
                  <a:lnTo>
                    <a:pt x="266" y="187"/>
                  </a:lnTo>
                  <a:lnTo>
                    <a:pt x="266" y="187"/>
                  </a:lnTo>
                  <a:lnTo>
                    <a:pt x="266" y="196"/>
                  </a:lnTo>
                  <a:lnTo>
                    <a:pt x="265" y="203"/>
                  </a:lnTo>
                  <a:lnTo>
                    <a:pt x="259" y="219"/>
                  </a:lnTo>
                  <a:lnTo>
                    <a:pt x="253" y="233"/>
                  </a:lnTo>
                  <a:lnTo>
                    <a:pt x="243" y="243"/>
                  </a:lnTo>
                  <a:lnTo>
                    <a:pt x="231" y="254"/>
                  </a:lnTo>
                  <a:lnTo>
                    <a:pt x="218" y="261"/>
                  </a:lnTo>
                  <a:lnTo>
                    <a:pt x="203" y="266"/>
                  </a:lnTo>
                  <a:lnTo>
                    <a:pt x="195" y="266"/>
                  </a:lnTo>
                  <a:lnTo>
                    <a:pt x="187" y="267"/>
                  </a:lnTo>
                  <a:lnTo>
                    <a:pt x="187" y="26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4" name="Rectangle 179">
            <a:extLst>
              <a:ext uri="{FF2B5EF4-FFF2-40B4-BE49-F238E27FC236}">
                <a16:creationId xmlns:a16="http://schemas.microsoft.com/office/drawing/2014/main" id="{DC3C32D5-C54C-41DC-AFD2-98ECACD38357}"/>
              </a:ext>
            </a:extLst>
          </p:cNvPr>
          <p:cNvSpPr/>
          <p:nvPr/>
        </p:nvSpPr>
        <p:spPr>
          <a:xfrm>
            <a:off x="1199585" y="2306079"/>
            <a:ext cx="169704" cy="2541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35" name="Rectangle 223">
            <a:extLst>
              <a:ext uri="{FF2B5EF4-FFF2-40B4-BE49-F238E27FC236}">
                <a16:creationId xmlns:a16="http://schemas.microsoft.com/office/drawing/2014/main" id="{F0E5C4C2-347D-2BA1-3E21-2C1370195A37}"/>
              </a:ext>
            </a:extLst>
          </p:cNvPr>
          <p:cNvSpPr/>
          <p:nvPr/>
        </p:nvSpPr>
        <p:spPr>
          <a:xfrm>
            <a:off x="1616859" y="1971227"/>
            <a:ext cx="169704" cy="182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36" name="Rectangle 390">
            <a:extLst>
              <a:ext uri="{FF2B5EF4-FFF2-40B4-BE49-F238E27FC236}">
                <a16:creationId xmlns:a16="http://schemas.microsoft.com/office/drawing/2014/main" id="{3F2F6E22-477A-635B-E167-BEE6F7CE968A}"/>
              </a:ext>
            </a:extLst>
          </p:cNvPr>
          <p:cNvSpPr/>
          <p:nvPr/>
        </p:nvSpPr>
        <p:spPr>
          <a:xfrm>
            <a:off x="1546538" y="2093197"/>
            <a:ext cx="1255465" cy="4373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dirty="0">
              <a:solidFill>
                <a:schemeClr val="tx1"/>
              </a:solidFill>
            </a:endParaRPr>
          </a:p>
        </p:txBody>
      </p:sp>
      <p:sp>
        <p:nvSpPr>
          <p:cNvPr id="37" name="Rectangle 390">
            <a:extLst>
              <a:ext uri="{FF2B5EF4-FFF2-40B4-BE49-F238E27FC236}">
                <a16:creationId xmlns:a16="http://schemas.microsoft.com/office/drawing/2014/main" id="{368D8F52-E478-73E2-A35A-302FF17C0FB9}"/>
              </a:ext>
            </a:extLst>
          </p:cNvPr>
          <p:cNvSpPr/>
          <p:nvPr/>
        </p:nvSpPr>
        <p:spPr>
          <a:xfrm>
            <a:off x="1660838" y="2026141"/>
            <a:ext cx="1255465" cy="4373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dirty="0">
              <a:solidFill>
                <a:schemeClr val="tx1"/>
              </a:solidFill>
            </a:endParaRPr>
          </a:p>
        </p:txBody>
      </p:sp>
      <p:sp>
        <p:nvSpPr>
          <p:cNvPr id="39" name="Rectangle 390">
            <a:extLst>
              <a:ext uri="{FF2B5EF4-FFF2-40B4-BE49-F238E27FC236}">
                <a16:creationId xmlns:a16="http://schemas.microsoft.com/office/drawing/2014/main" id="{73276D5F-3FB9-1C91-0C8D-EFCBE85F7A51}"/>
              </a:ext>
            </a:extLst>
          </p:cNvPr>
          <p:cNvSpPr/>
          <p:nvPr/>
        </p:nvSpPr>
        <p:spPr>
          <a:xfrm>
            <a:off x="1361747" y="2173126"/>
            <a:ext cx="1329162" cy="43736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800" b="1" dirty="0">
                <a:solidFill>
                  <a:schemeClr val="tx1"/>
                </a:solidFill>
              </a:rPr>
              <a:t>App </a:t>
            </a:r>
            <a:r>
              <a:rPr lang="hu-HU" sz="800" b="1" dirty="0" err="1">
                <a:solidFill>
                  <a:schemeClr val="tx1"/>
                </a:solidFill>
              </a:rPr>
              <a:t>Stores</a:t>
            </a:r>
            <a:r>
              <a:rPr lang="hu-HU" sz="800" b="1" dirty="0">
                <a:solidFill>
                  <a:schemeClr val="tx1"/>
                </a:solidFill>
              </a:rPr>
              <a:t> (Apple, Google)</a:t>
            </a:r>
            <a:endParaRPr lang="en-US" sz="800" b="1" dirty="0">
              <a:solidFill>
                <a:schemeClr val="tx1"/>
              </a:solidFill>
            </a:endParaRPr>
          </a:p>
        </p:txBody>
      </p:sp>
      <p:sp>
        <p:nvSpPr>
          <p:cNvPr id="51" name="Rectangle 179">
            <a:extLst>
              <a:ext uri="{FF2B5EF4-FFF2-40B4-BE49-F238E27FC236}">
                <a16:creationId xmlns:a16="http://schemas.microsoft.com/office/drawing/2014/main" id="{869A9B7F-A602-086F-D3A7-D7EA809B1979}"/>
              </a:ext>
            </a:extLst>
          </p:cNvPr>
          <p:cNvSpPr/>
          <p:nvPr/>
        </p:nvSpPr>
        <p:spPr>
          <a:xfrm>
            <a:off x="2166886" y="3429000"/>
            <a:ext cx="169704" cy="2541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55" name="Rectangle 223">
            <a:extLst>
              <a:ext uri="{FF2B5EF4-FFF2-40B4-BE49-F238E27FC236}">
                <a16:creationId xmlns:a16="http://schemas.microsoft.com/office/drawing/2014/main" id="{7D386F21-D2F7-97F6-18E9-80125F09D5D2}"/>
              </a:ext>
            </a:extLst>
          </p:cNvPr>
          <p:cNvSpPr/>
          <p:nvPr/>
        </p:nvSpPr>
        <p:spPr>
          <a:xfrm>
            <a:off x="2584160" y="3094148"/>
            <a:ext cx="169704" cy="182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56" name="Rectangle 390">
            <a:extLst>
              <a:ext uri="{FF2B5EF4-FFF2-40B4-BE49-F238E27FC236}">
                <a16:creationId xmlns:a16="http://schemas.microsoft.com/office/drawing/2014/main" id="{27E85E15-13FA-F456-411C-57A4C779553D}"/>
              </a:ext>
            </a:extLst>
          </p:cNvPr>
          <p:cNvSpPr/>
          <p:nvPr/>
        </p:nvSpPr>
        <p:spPr>
          <a:xfrm>
            <a:off x="2513839" y="3216118"/>
            <a:ext cx="1255465" cy="4373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dirty="0">
              <a:solidFill>
                <a:schemeClr val="tx1"/>
              </a:solidFill>
            </a:endParaRPr>
          </a:p>
        </p:txBody>
      </p:sp>
      <p:sp>
        <p:nvSpPr>
          <p:cNvPr id="61" name="Rectangle 390">
            <a:extLst>
              <a:ext uri="{FF2B5EF4-FFF2-40B4-BE49-F238E27FC236}">
                <a16:creationId xmlns:a16="http://schemas.microsoft.com/office/drawing/2014/main" id="{01907A6B-1A53-3509-696E-3D523E0266A3}"/>
              </a:ext>
            </a:extLst>
          </p:cNvPr>
          <p:cNvSpPr/>
          <p:nvPr/>
        </p:nvSpPr>
        <p:spPr>
          <a:xfrm>
            <a:off x="2628139" y="3149062"/>
            <a:ext cx="1255465" cy="4373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dirty="0">
              <a:solidFill>
                <a:schemeClr val="tx1"/>
              </a:solidFill>
            </a:endParaRPr>
          </a:p>
        </p:txBody>
      </p:sp>
      <p:sp>
        <p:nvSpPr>
          <p:cNvPr id="63" name="Rectangle 390">
            <a:extLst>
              <a:ext uri="{FF2B5EF4-FFF2-40B4-BE49-F238E27FC236}">
                <a16:creationId xmlns:a16="http://schemas.microsoft.com/office/drawing/2014/main" id="{52313DF7-8FCF-9037-5EA0-5AE6E9FBD626}"/>
              </a:ext>
            </a:extLst>
          </p:cNvPr>
          <p:cNvSpPr/>
          <p:nvPr/>
        </p:nvSpPr>
        <p:spPr>
          <a:xfrm>
            <a:off x="2329048" y="3296047"/>
            <a:ext cx="1329162" cy="437362"/>
          </a:xfrm>
          <a:prstGeom prst="rect">
            <a:avLst/>
          </a:prstGeom>
          <a:solidFill>
            <a:srgbClr val="00A3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800" b="1" dirty="0">
                <a:solidFill>
                  <a:schemeClr val="tx1"/>
                </a:solidFill>
              </a:rPr>
              <a:t>!</a:t>
            </a:r>
            <a:r>
              <a:rPr lang="hu-HU" sz="800" b="1" dirty="0" err="1">
                <a:solidFill>
                  <a:schemeClr val="tx1"/>
                </a:solidFill>
              </a:rPr>
              <a:t>loadMe</a:t>
            </a:r>
            <a:endParaRPr lang="hu-HU" sz="800" b="1" dirty="0">
              <a:solidFill>
                <a:schemeClr val="tx1"/>
              </a:solidFill>
            </a:endParaRPr>
          </a:p>
          <a:p>
            <a:pPr algn="ctr"/>
            <a:r>
              <a:rPr lang="hu-HU" sz="800" b="1" dirty="0" err="1">
                <a:solidFill>
                  <a:schemeClr val="tx1"/>
                </a:solidFill>
              </a:rPr>
              <a:t>Cusomer</a:t>
            </a:r>
            <a:r>
              <a:rPr lang="hu-HU" sz="800" b="1" dirty="0">
                <a:solidFill>
                  <a:schemeClr val="tx1"/>
                </a:solidFill>
              </a:rPr>
              <a:t> Mobile </a:t>
            </a:r>
            <a:r>
              <a:rPr lang="hu-HU" sz="800" b="1" dirty="0" err="1">
                <a:solidFill>
                  <a:schemeClr val="tx1"/>
                </a:solidFill>
              </a:rPr>
              <a:t>Apps</a:t>
            </a:r>
            <a:endParaRPr lang="en-US" sz="800" b="1" dirty="0">
              <a:solidFill>
                <a:schemeClr val="tx1"/>
              </a:solidFill>
            </a:endParaRP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90D7C685-4BAF-566F-D59F-A2EF79715522}"/>
              </a:ext>
            </a:extLst>
          </p:cNvPr>
          <p:cNvCxnSpPr>
            <a:stCxn id="39" idx="2"/>
            <a:endCxn id="63" idx="0"/>
          </p:cNvCxnSpPr>
          <p:nvPr/>
        </p:nvCxnSpPr>
        <p:spPr>
          <a:xfrm>
            <a:off x="2026328" y="2610488"/>
            <a:ext cx="967301" cy="6855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40C8E52C-1D64-01D8-A0F6-7F861087E9AE}"/>
              </a:ext>
            </a:extLst>
          </p:cNvPr>
          <p:cNvCxnSpPr>
            <a:stCxn id="63" idx="2"/>
            <a:endCxn id="42" idx="1"/>
          </p:cNvCxnSpPr>
          <p:nvPr/>
        </p:nvCxnSpPr>
        <p:spPr>
          <a:xfrm>
            <a:off x="2993629" y="3733409"/>
            <a:ext cx="2794243" cy="462168"/>
          </a:xfrm>
          <a:prstGeom prst="straightConnector1">
            <a:avLst/>
          </a:prstGeom>
          <a:ln w="19050">
            <a:solidFill>
              <a:schemeClr val="tx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D179EE28-B5A5-5A76-8EDD-5BA695CF2C0C}"/>
              </a:ext>
            </a:extLst>
          </p:cNvPr>
          <p:cNvCxnSpPr>
            <a:cxnSpLocks/>
            <a:endCxn id="89" idx="1"/>
          </p:cNvCxnSpPr>
          <p:nvPr/>
        </p:nvCxnSpPr>
        <p:spPr>
          <a:xfrm>
            <a:off x="6803962" y="4224419"/>
            <a:ext cx="1099778" cy="365666"/>
          </a:xfrm>
          <a:prstGeom prst="straightConnector1">
            <a:avLst/>
          </a:prstGeom>
          <a:ln w="19050">
            <a:solidFill>
              <a:schemeClr val="tx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5917DBCA-1DA8-0101-EC22-3D8B9E7CEBCC}"/>
              </a:ext>
            </a:extLst>
          </p:cNvPr>
          <p:cNvCxnSpPr>
            <a:cxnSpLocks/>
            <a:endCxn id="28" idx="2"/>
          </p:cNvCxnSpPr>
          <p:nvPr/>
        </p:nvCxnSpPr>
        <p:spPr>
          <a:xfrm flipV="1">
            <a:off x="8568321" y="3718256"/>
            <a:ext cx="0" cy="636387"/>
          </a:xfrm>
          <a:prstGeom prst="straightConnector1">
            <a:avLst/>
          </a:prstGeom>
          <a:ln w="19050">
            <a:solidFill>
              <a:schemeClr val="tx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07DB9C0B-2617-196D-F62C-7DB16E527729}"/>
              </a:ext>
            </a:extLst>
          </p:cNvPr>
          <p:cNvCxnSpPr>
            <a:cxnSpLocks/>
            <a:stCxn id="80" idx="0"/>
            <a:endCxn id="89" idx="2"/>
          </p:cNvCxnSpPr>
          <p:nvPr/>
        </p:nvCxnSpPr>
        <p:spPr>
          <a:xfrm flipH="1" flipV="1">
            <a:off x="8568321" y="4808766"/>
            <a:ext cx="5977" cy="519328"/>
          </a:xfrm>
          <a:prstGeom prst="straightConnector1">
            <a:avLst/>
          </a:prstGeom>
          <a:ln w="19050">
            <a:solidFill>
              <a:schemeClr val="tx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01394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3B6BCA5-5EFF-7CCF-D41B-2DD7177CF0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3534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3B6BCA5-5EFF-7CCF-D41B-2DD7177CF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6317024"/>
              </p:ext>
            </p:extLst>
          </p:nvPr>
        </p:nvGraphicFramePr>
        <p:xfrm>
          <a:off x="501650" y="853716"/>
          <a:ext cx="11188700" cy="4572000"/>
        </p:xfrm>
        <a:graphic>
          <a:graphicData uri="http://schemas.openxmlformats.org/drawingml/2006/table">
            <a:tbl>
              <a:tblPr/>
              <a:tblGrid>
                <a:gridCol w="30465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65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377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579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4944"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u="none" strike="noStrike" cap="none" normalizeH="0" baseline="0" dirty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</a:t>
                      </a:r>
                      <a:r>
                        <a:rPr kumimoji="0" lang="hu-HU" sz="1600" b="0" u="none" strike="noStrike" cap="none" normalizeH="0" baseline="0" dirty="0" err="1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éma</a:t>
                      </a:r>
                      <a:endParaRPr kumimoji="0" lang="en-US" sz="1600" b="0" i="0" u="none" strike="noStrike" cap="none" normalizeH="0" baseline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8580" marR="68580" marT="68580" marB="6858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65000"/>
                        <a:buFont typeface="Wingdings"/>
                        <a:buNone/>
                        <a:tabLst/>
                      </a:pPr>
                      <a:r>
                        <a:rPr kumimoji="0" lang="hu-HU" sz="1600" b="0" u="none" strike="noStrike" kern="1200" cap="none" normalizeH="0" baseline="0" dirty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artalom</a:t>
                      </a:r>
                      <a:endParaRPr kumimoji="0" lang="en-US" sz="1600" b="0" i="0" u="none" strike="noStrike" kern="1200" cap="none" normalizeH="0" baseline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65000"/>
                        <a:buFont typeface="Wingdings"/>
                        <a:buNone/>
                        <a:tabLst/>
                      </a:pPr>
                      <a:r>
                        <a:rPr kumimoji="0" lang="hu-HU" sz="1600" b="0" u="none" strike="noStrike" kern="1200" cap="none" normalizeH="0" baseline="0" dirty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lőadó</a:t>
                      </a:r>
                      <a:endParaRPr kumimoji="0" lang="en-US" sz="1600" b="0" i="0" u="none" strike="noStrike" kern="1200" cap="none" normalizeH="0" baseline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65000"/>
                        <a:buFont typeface="Wingdings"/>
                        <a:buNone/>
                        <a:tabLst/>
                      </a:pPr>
                      <a:r>
                        <a:rPr kumimoji="0" lang="hu-HU" sz="1600" b="0" u="none" strike="noStrike" kern="1200" cap="none" normalizeH="0" baseline="0" dirty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dőtartam</a:t>
                      </a:r>
                      <a:endParaRPr kumimoji="0" lang="en-US" sz="1600" b="0" i="0" u="none" strike="noStrike" kern="1200" cap="none" normalizeH="0" baseline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4944"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hu-H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melegítés és bemutatkozás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hu-H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65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hu-HU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6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hu-HU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</a:t>
                      </a:r>
                      <a:r>
                        <a:rPr kumimoji="0" lang="en-US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:</a:t>
                      </a:r>
                      <a:r>
                        <a:rPr kumimoji="0" lang="hu-HU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4944"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hu-H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nterprise </a:t>
                      </a:r>
                      <a:r>
                        <a:rPr kumimoji="0" lang="hu-HU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rchitecture</a:t>
                      </a:r>
                      <a:r>
                        <a:rPr kumimoji="0" lang="hu-H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I.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hu-HU" sz="16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lmélet</a:t>
                      </a:r>
                      <a:endParaRPr kumimoji="0" lang="en-US" sz="160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65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hu-HU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amás Török</a:t>
                      </a: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6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hu-HU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</a:t>
                      </a:r>
                      <a:r>
                        <a:rPr kumimoji="0" lang="en-US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:</a:t>
                      </a:r>
                      <a:r>
                        <a:rPr kumimoji="0" lang="hu-HU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0</a:t>
                      </a: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4944"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hu-HU" sz="16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zünet – 15 perc</a:t>
                      </a:r>
                      <a:endParaRPr kumimoji="0" lang="en-US" sz="16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6F5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14300" marR="0" lvl="1" indent="-1143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65000"/>
                        <a:buFont typeface="Wingdings"/>
                        <a:buNone/>
                        <a:tabLst/>
                        <a:defRPr/>
                      </a:pPr>
                      <a:endParaRPr kumimoji="0" lang="en-US" sz="13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65000"/>
                        <a:buFont typeface="Wingdings"/>
                        <a:buNone/>
                        <a:tabLst/>
                        <a:defRPr/>
                      </a:pPr>
                      <a:endParaRPr kumimoji="0" lang="en-US" sz="13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1202002"/>
                  </a:ext>
                </a:extLst>
              </a:tr>
              <a:tr h="374944"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hu-H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nterprise </a:t>
                      </a:r>
                      <a:r>
                        <a:rPr kumimoji="0" lang="hu-HU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rchitecture</a:t>
                      </a:r>
                      <a:r>
                        <a:rPr kumimoji="0" lang="hu-H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II.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/>
                        <a:buNone/>
                        <a:tabLst/>
                        <a:defRPr/>
                      </a:pPr>
                      <a:r>
                        <a:rPr kumimoji="0" lang="hu-H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yakorla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6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hu-HU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amás Török</a:t>
                      </a: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6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hu-HU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</a:t>
                      </a:r>
                      <a:r>
                        <a:rPr kumimoji="0" lang="en-US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:</a:t>
                      </a:r>
                      <a:r>
                        <a:rPr kumimoji="0" lang="hu-HU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5</a:t>
                      </a: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32382458"/>
                  </a:ext>
                </a:extLst>
              </a:tr>
              <a:tr h="374944"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hu-H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bédszünet – 45 perc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4944">
                <a:tc>
                  <a:txBody>
                    <a:bodyPr/>
                    <a:lstStyle/>
                    <a:p>
                      <a:pPr marL="0" marR="0" lvl="0" indent="0" algn="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hu-H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A vizsga</a:t>
                      </a: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6BC2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/>
                        <a:buNone/>
                        <a:tabLst/>
                        <a:defRPr/>
                      </a:pPr>
                      <a:r>
                        <a:rPr kumimoji="0" lang="hu-H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sz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6BC2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65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hu-HU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örök Tamás</a:t>
                      </a: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6BC2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6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hu-HU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0</a:t>
                      </a:r>
                      <a:r>
                        <a:rPr kumimoji="0" lang="en-US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:</a:t>
                      </a:r>
                      <a:r>
                        <a:rPr kumimoji="0" lang="hu-HU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0</a:t>
                      </a: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6BC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2615628"/>
                  </a:ext>
                </a:extLst>
              </a:tr>
              <a:tr h="374944"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hu-H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ystem </a:t>
                      </a:r>
                      <a:r>
                        <a:rPr kumimoji="0" lang="hu-HU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tegration</a:t>
                      </a:r>
                      <a:r>
                        <a:rPr kumimoji="0" lang="hu-H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I.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hu-HU" sz="16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lmélet</a:t>
                      </a:r>
                      <a:endParaRPr kumimoji="0" lang="en-US" sz="160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65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hu-HU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örök Tamás</a:t>
                      </a: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6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hu-HU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1</a:t>
                      </a:r>
                      <a:r>
                        <a:rPr kumimoji="0" lang="en-US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:</a:t>
                      </a:r>
                      <a:r>
                        <a:rPr kumimoji="0" lang="hu-HU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  <a:r>
                        <a:rPr kumimoji="0" lang="en-US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4944"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hu-HU" sz="16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zünet – 15 perc</a:t>
                      </a:r>
                      <a:endParaRPr kumimoji="0" lang="en-US" sz="16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6F5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hu-H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Szünet</a:t>
                      </a: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hu-H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Szünet</a:t>
                      </a: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hu-HU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Szünet</a:t>
                      </a: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77890010"/>
                  </a:ext>
                </a:extLst>
              </a:tr>
              <a:tr h="374944"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hu-H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ystem </a:t>
                      </a:r>
                      <a:r>
                        <a:rPr kumimoji="0" lang="hu-HU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tegration</a:t>
                      </a:r>
                      <a:r>
                        <a:rPr kumimoji="0" lang="hu-H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II.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/>
                        <a:buNone/>
                        <a:tabLst/>
                        <a:defRPr/>
                      </a:pPr>
                      <a:r>
                        <a:rPr kumimoji="0" lang="hu-H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yakorla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65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hu-HU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örök Tamás</a:t>
                      </a: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6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hu-HU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0</a:t>
                      </a:r>
                      <a:r>
                        <a:rPr kumimoji="0" lang="en-US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:</a:t>
                      </a:r>
                      <a:r>
                        <a:rPr kumimoji="0" lang="hu-HU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5</a:t>
                      </a: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7970484"/>
                  </a:ext>
                </a:extLst>
              </a:tr>
              <a:tr h="374944"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hu-H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zünet – 15 perc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4944">
                <a:tc>
                  <a:txBody>
                    <a:bodyPr/>
                    <a:lstStyle/>
                    <a:p>
                      <a:pPr marL="0" marR="0" lvl="0" indent="0" algn="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hu-H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I vizsga</a:t>
                      </a: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6BC2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/>
                        <a:buNone/>
                        <a:tabLst/>
                        <a:defRPr/>
                      </a:pPr>
                      <a:r>
                        <a:rPr kumimoji="0" lang="hu-H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sz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6BC2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65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hu-HU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örök Tamás</a:t>
                      </a: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6BC2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6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hu-HU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0</a:t>
                      </a:r>
                      <a:r>
                        <a:rPr kumimoji="0" lang="en-US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:</a:t>
                      </a:r>
                      <a:r>
                        <a:rPr kumimoji="0" lang="hu-HU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0</a:t>
                      </a: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6BC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9367594"/>
                  </a:ext>
                </a:extLst>
              </a:tr>
            </a:tbl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7BBC8CC-2D24-EA37-113C-7A268B42B5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hu-HU" dirty="0"/>
              <a:t>Agenda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A9AA86C-BFB8-3F80-60C9-EDF6B6EC7D9A}"/>
              </a:ext>
            </a:extLst>
          </p:cNvPr>
          <p:cNvSpPr/>
          <p:nvPr/>
        </p:nvSpPr>
        <p:spPr bwMode="gray">
          <a:xfrm>
            <a:off x="501650" y="3537152"/>
            <a:ext cx="11188700" cy="1895935"/>
          </a:xfrm>
          <a:prstGeom prst="rect">
            <a:avLst/>
          </a:prstGeom>
          <a:solidFill>
            <a:schemeClr val="accent3">
              <a:alpha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4232701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0C89F07-F979-4C2F-70FE-7FBB9C140D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0C89F07-F979-4C2F-70FE-7FBB9C140D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2AE3635-A411-6F61-5930-7B9108048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hu-HU" dirty="0"/>
              <a:t>Megoldás II.</a:t>
            </a:r>
            <a:endParaRPr lang="en-US" b="1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F6319D7-130B-0C95-5DDE-EE9E36AD41CF}"/>
              </a:ext>
            </a:extLst>
          </p:cNvPr>
          <p:cNvSpPr txBox="1">
            <a:spLocks/>
          </p:cNvSpPr>
          <p:nvPr/>
        </p:nvSpPr>
        <p:spPr>
          <a:xfrm>
            <a:off x="497681" y="651601"/>
            <a:ext cx="11201400" cy="334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dirty="0"/>
              <a:t>Integrációs architektúra  – tervezési feladat: A végállapot rendszerkapcsolata</a:t>
            </a:r>
            <a:endParaRPr lang="en-US" dirty="0"/>
          </a:p>
        </p:txBody>
      </p:sp>
      <p:sp>
        <p:nvSpPr>
          <p:cNvPr id="100" name="Cloud 172">
            <a:extLst>
              <a:ext uri="{FF2B5EF4-FFF2-40B4-BE49-F238E27FC236}">
                <a16:creationId xmlns:a16="http://schemas.microsoft.com/office/drawing/2014/main" id="{47697681-114B-0603-A6A4-AF6F1CF75E54}"/>
              </a:ext>
            </a:extLst>
          </p:cNvPr>
          <p:cNvSpPr/>
          <p:nvPr/>
        </p:nvSpPr>
        <p:spPr>
          <a:xfrm>
            <a:off x="622126" y="1006367"/>
            <a:ext cx="4712540" cy="3828440"/>
          </a:xfrm>
          <a:prstGeom prst="cloud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1" name="Rounded Rectangle 169">
            <a:extLst>
              <a:ext uri="{FF2B5EF4-FFF2-40B4-BE49-F238E27FC236}">
                <a16:creationId xmlns:a16="http://schemas.microsoft.com/office/drawing/2014/main" id="{A755FACA-F74D-113B-DF5A-6F619198B2FD}"/>
              </a:ext>
            </a:extLst>
          </p:cNvPr>
          <p:cNvSpPr/>
          <p:nvPr/>
        </p:nvSpPr>
        <p:spPr>
          <a:xfrm>
            <a:off x="5627263" y="2410053"/>
            <a:ext cx="5753363" cy="3364103"/>
          </a:xfrm>
          <a:prstGeom prst="roundRect">
            <a:avLst>
              <a:gd name="adj" fmla="val 10984"/>
            </a:avLst>
          </a:prstGeom>
          <a:solidFill>
            <a:srgbClr val="00B050">
              <a:alpha val="10000"/>
            </a:srgbClr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object 4">
            <a:extLst>
              <a:ext uri="{FF2B5EF4-FFF2-40B4-BE49-F238E27FC236}">
                <a16:creationId xmlns:a16="http://schemas.microsoft.com/office/drawing/2014/main" id="{82B4EBE4-2F4E-28B0-EEA5-9AB2CEEE37A8}"/>
              </a:ext>
            </a:extLst>
          </p:cNvPr>
          <p:cNvSpPr txBox="1"/>
          <p:nvPr/>
        </p:nvSpPr>
        <p:spPr>
          <a:xfrm>
            <a:off x="8790776" y="5529367"/>
            <a:ext cx="240718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lvl="2" algn="ctr">
              <a:spcAft>
                <a:spcPts val="300"/>
              </a:spcAft>
              <a:buClr>
                <a:schemeClr val="tx1"/>
              </a:buClr>
              <a:buSzPct val="100000"/>
            </a:pPr>
            <a:r>
              <a:rPr lang="hu-HU" sz="1200" b="1" i="1" dirty="0">
                <a:solidFill>
                  <a:srgbClr val="000000"/>
                </a:solidFill>
              </a:rPr>
              <a:t>On-Premise </a:t>
            </a:r>
            <a:r>
              <a:rPr lang="en-US" sz="1200" b="1" i="1" dirty="0">
                <a:solidFill>
                  <a:srgbClr val="000000"/>
                </a:solidFill>
              </a:rPr>
              <a:t>Internal Network</a:t>
            </a:r>
            <a:r>
              <a:rPr lang="hu-HU" sz="1200" b="1" i="1" dirty="0">
                <a:solidFill>
                  <a:srgbClr val="000000"/>
                </a:solidFill>
              </a:rPr>
              <a:t> </a:t>
            </a:r>
            <a:r>
              <a:rPr lang="hu-HU" sz="1200" b="1" i="1" dirty="0" err="1">
                <a:solidFill>
                  <a:srgbClr val="000000"/>
                </a:solidFill>
              </a:rPr>
              <a:t>Zone</a:t>
            </a:r>
            <a:endParaRPr lang="en-US" sz="1200" b="1" i="1" dirty="0">
              <a:solidFill>
                <a:srgbClr val="000000"/>
              </a:solidFill>
            </a:endParaRPr>
          </a:p>
        </p:txBody>
      </p:sp>
      <p:sp>
        <p:nvSpPr>
          <p:cNvPr id="103" name="Rectangle 192">
            <a:extLst>
              <a:ext uri="{FF2B5EF4-FFF2-40B4-BE49-F238E27FC236}">
                <a16:creationId xmlns:a16="http://schemas.microsoft.com/office/drawing/2014/main" id="{BD9261DE-E3E7-FF3D-A92D-A8CD1064F4BB}"/>
              </a:ext>
            </a:extLst>
          </p:cNvPr>
          <p:cNvSpPr/>
          <p:nvPr/>
        </p:nvSpPr>
        <p:spPr>
          <a:xfrm>
            <a:off x="3509026" y="1220702"/>
            <a:ext cx="1432550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50" b="1" dirty="0" err="1"/>
              <a:t>Publi</a:t>
            </a:r>
            <a:r>
              <a:rPr lang="hu-HU" sz="950" b="1" dirty="0"/>
              <a:t>c </a:t>
            </a:r>
            <a:r>
              <a:rPr lang="en-US" sz="950" b="1" dirty="0"/>
              <a:t>Internet</a:t>
            </a:r>
            <a:r>
              <a:rPr lang="hu-HU" sz="950" b="1" dirty="0"/>
              <a:t> /</a:t>
            </a:r>
            <a:br>
              <a:rPr lang="hu-HU" sz="950" b="1" dirty="0"/>
            </a:br>
            <a:r>
              <a:rPr lang="hu-HU" sz="950" b="1" dirty="0"/>
              <a:t> </a:t>
            </a:r>
            <a:r>
              <a:rPr lang="hu-HU" sz="950" b="1" dirty="0" err="1"/>
              <a:t>External</a:t>
            </a:r>
            <a:r>
              <a:rPr lang="hu-HU" sz="950" b="1" dirty="0"/>
              <a:t> </a:t>
            </a:r>
            <a:r>
              <a:rPr lang="hu-HU" sz="950" b="1" dirty="0" err="1"/>
              <a:t>Zone</a:t>
            </a:r>
            <a:endParaRPr lang="en-US" sz="950" b="1" dirty="0"/>
          </a:p>
        </p:txBody>
      </p:sp>
      <p:sp>
        <p:nvSpPr>
          <p:cNvPr id="104" name="Rounded Rectangle 169">
            <a:extLst>
              <a:ext uri="{FF2B5EF4-FFF2-40B4-BE49-F238E27FC236}">
                <a16:creationId xmlns:a16="http://schemas.microsoft.com/office/drawing/2014/main" id="{BC65C8E9-3FB8-AE75-AA6B-012B2D1A3B95}"/>
              </a:ext>
            </a:extLst>
          </p:cNvPr>
          <p:cNvSpPr/>
          <p:nvPr/>
        </p:nvSpPr>
        <p:spPr>
          <a:xfrm>
            <a:off x="5803726" y="2578046"/>
            <a:ext cx="5378079" cy="943151"/>
          </a:xfrm>
          <a:prstGeom prst="roundRect">
            <a:avLst>
              <a:gd name="adj" fmla="val 10984"/>
            </a:avLst>
          </a:prstGeom>
          <a:solidFill>
            <a:srgbClr val="00B050">
              <a:alpha val="10000"/>
            </a:srgbClr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r"/>
            <a:r>
              <a:rPr lang="hu-HU" sz="1200" dirty="0">
                <a:solidFill>
                  <a:schemeClr val="tx1"/>
                </a:solidFill>
              </a:rPr>
              <a:t>Front-End </a:t>
            </a:r>
            <a:r>
              <a:rPr lang="hu-HU" sz="1200" dirty="0" err="1">
                <a:solidFill>
                  <a:schemeClr val="tx1"/>
                </a:solidFill>
              </a:rPr>
              <a:t>Zon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5" name="Rectangle 390">
            <a:extLst>
              <a:ext uri="{FF2B5EF4-FFF2-40B4-BE49-F238E27FC236}">
                <a16:creationId xmlns:a16="http://schemas.microsoft.com/office/drawing/2014/main" id="{A1673B81-8529-8E81-C17D-D6177AE6F579}"/>
              </a:ext>
            </a:extLst>
          </p:cNvPr>
          <p:cNvSpPr/>
          <p:nvPr/>
        </p:nvSpPr>
        <p:spPr>
          <a:xfrm>
            <a:off x="8101057" y="2787607"/>
            <a:ext cx="1255465" cy="4373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dirty="0">
              <a:solidFill>
                <a:schemeClr val="tx1"/>
              </a:solidFill>
            </a:endParaRPr>
          </a:p>
        </p:txBody>
      </p:sp>
      <p:sp>
        <p:nvSpPr>
          <p:cNvPr id="106" name="Rectangle 390">
            <a:extLst>
              <a:ext uri="{FF2B5EF4-FFF2-40B4-BE49-F238E27FC236}">
                <a16:creationId xmlns:a16="http://schemas.microsoft.com/office/drawing/2014/main" id="{01418EA1-76D0-9580-B4FD-8F616FE060DD}"/>
              </a:ext>
            </a:extLst>
          </p:cNvPr>
          <p:cNvSpPr/>
          <p:nvPr/>
        </p:nvSpPr>
        <p:spPr>
          <a:xfrm>
            <a:off x="8215357" y="2720551"/>
            <a:ext cx="1255465" cy="4373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dirty="0">
              <a:solidFill>
                <a:schemeClr val="tx1"/>
              </a:solidFill>
            </a:endParaRPr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0EEB1C78-C9DC-4CAC-04AE-D24C6A8F6CD4}"/>
              </a:ext>
            </a:extLst>
          </p:cNvPr>
          <p:cNvGrpSpPr/>
          <p:nvPr/>
        </p:nvGrpSpPr>
        <p:grpSpPr>
          <a:xfrm>
            <a:off x="7916266" y="2867536"/>
            <a:ext cx="1329162" cy="437362"/>
            <a:chOff x="2987070" y="5501830"/>
            <a:chExt cx="1255465" cy="437362"/>
          </a:xfrm>
          <a:solidFill>
            <a:srgbClr val="EAF3FA"/>
          </a:solidFill>
        </p:grpSpPr>
        <p:sp>
          <p:nvSpPr>
            <p:cNvPr id="108" name="Rectangle 390">
              <a:extLst>
                <a:ext uri="{FF2B5EF4-FFF2-40B4-BE49-F238E27FC236}">
                  <a16:creationId xmlns:a16="http://schemas.microsoft.com/office/drawing/2014/main" id="{57E3D7E4-7394-8204-5573-9585D274DC22}"/>
                </a:ext>
              </a:extLst>
            </p:cNvPr>
            <p:cNvSpPr/>
            <p:nvPr/>
          </p:nvSpPr>
          <p:spPr>
            <a:xfrm>
              <a:off x="2987070" y="5501830"/>
              <a:ext cx="1255465" cy="437362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hu-HU" sz="800" b="1" dirty="0">
                  <a:solidFill>
                    <a:schemeClr val="tx1"/>
                  </a:solidFill>
                </a:rPr>
                <a:t>!</a:t>
              </a:r>
              <a:r>
                <a:rPr lang="hu-HU" sz="800" b="1" dirty="0" err="1">
                  <a:solidFill>
                    <a:schemeClr val="tx1"/>
                  </a:solidFill>
                </a:rPr>
                <a:t>loadMe</a:t>
              </a:r>
              <a:r>
                <a:rPr lang="hu-HU" sz="800" b="1" dirty="0">
                  <a:solidFill>
                    <a:schemeClr val="tx1"/>
                  </a:solidFill>
                </a:rPr>
                <a:t> Front-End </a:t>
              </a:r>
            </a:p>
            <a:p>
              <a:pPr algn="r"/>
              <a:r>
                <a:rPr lang="en-US" sz="800" b="1" dirty="0">
                  <a:solidFill>
                    <a:schemeClr val="tx1"/>
                  </a:solidFill>
                </a:rPr>
                <a:t>App</a:t>
              </a:r>
              <a:r>
                <a:rPr lang="hu-HU" sz="800" b="1" dirty="0" err="1">
                  <a:solidFill>
                    <a:schemeClr val="tx1"/>
                  </a:solidFill>
                </a:rPr>
                <a:t>lications</a:t>
              </a:r>
              <a:r>
                <a:rPr lang="hu-HU" sz="800" b="1" dirty="0">
                  <a:solidFill>
                    <a:schemeClr val="tx1"/>
                  </a:solidFill>
                </a:rPr>
                <a:t> / </a:t>
              </a:r>
              <a:r>
                <a:rPr lang="hu-HU" sz="800" b="1" dirty="0" err="1">
                  <a:solidFill>
                    <a:schemeClr val="tx1"/>
                  </a:solidFill>
                </a:rPr>
                <a:t>DBs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109" name="Freeform 216">
              <a:extLst>
                <a:ext uri="{FF2B5EF4-FFF2-40B4-BE49-F238E27FC236}">
                  <a16:creationId xmlns:a16="http://schemas.microsoft.com/office/drawing/2014/main" id="{E5B207F2-BFD6-927A-836D-2BD0A51AFE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9516" y="5585180"/>
              <a:ext cx="255551" cy="255086"/>
            </a:xfrm>
            <a:custGeom>
              <a:avLst/>
              <a:gdLst>
                <a:gd name="T0" fmla="*/ 321 w 374"/>
                <a:gd name="T1" fmla="*/ 151 h 375"/>
                <a:gd name="T2" fmla="*/ 336 w 374"/>
                <a:gd name="T3" fmla="*/ 81 h 375"/>
                <a:gd name="T4" fmla="*/ 336 w 374"/>
                <a:gd name="T5" fmla="*/ 73 h 375"/>
                <a:gd name="T6" fmla="*/ 298 w 374"/>
                <a:gd name="T7" fmla="*/ 36 h 375"/>
                <a:gd name="T8" fmla="*/ 255 w 374"/>
                <a:gd name="T9" fmla="*/ 67 h 375"/>
                <a:gd name="T10" fmla="*/ 216 w 374"/>
                <a:gd name="T11" fmla="*/ 5 h 375"/>
                <a:gd name="T12" fmla="*/ 211 w 374"/>
                <a:gd name="T13" fmla="*/ 0 h 375"/>
                <a:gd name="T14" fmla="*/ 159 w 374"/>
                <a:gd name="T15" fmla="*/ 1 h 375"/>
                <a:gd name="T16" fmla="*/ 151 w 374"/>
                <a:gd name="T17" fmla="*/ 54 h 375"/>
                <a:gd name="T18" fmla="*/ 79 w 374"/>
                <a:gd name="T19" fmla="*/ 38 h 375"/>
                <a:gd name="T20" fmla="*/ 71 w 374"/>
                <a:gd name="T21" fmla="*/ 38 h 375"/>
                <a:gd name="T22" fmla="*/ 35 w 374"/>
                <a:gd name="T23" fmla="*/ 77 h 375"/>
                <a:gd name="T24" fmla="*/ 66 w 374"/>
                <a:gd name="T25" fmla="*/ 118 h 375"/>
                <a:gd name="T26" fmla="*/ 5 w 374"/>
                <a:gd name="T27" fmla="*/ 157 h 375"/>
                <a:gd name="T28" fmla="*/ 0 w 374"/>
                <a:gd name="T29" fmla="*/ 163 h 375"/>
                <a:gd name="T30" fmla="*/ 1 w 374"/>
                <a:gd name="T31" fmla="*/ 215 h 375"/>
                <a:gd name="T32" fmla="*/ 52 w 374"/>
                <a:gd name="T33" fmla="*/ 224 h 375"/>
                <a:gd name="T34" fmla="*/ 36 w 374"/>
                <a:gd name="T35" fmla="*/ 294 h 375"/>
                <a:gd name="T36" fmla="*/ 38 w 374"/>
                <a:gd name="T37" fmla="*/ 302 h 375"/>
                <a:gd name="T38" fmla="*/ 74 w 374"/>
                <a:gd name="T39" fmla="*/ 339 h 375"/>
                <a:gd name="T40" fmla="*/ 79 w 374"/>
                <a:gd name="T41" fmla="*/ 337 h 375"/>
                <a:gd name="T42" fmla="*/ 133 w 374"/>
                <a:gd name="T43" fmla="*/ 316 h 375"/>
                <a:gd name="T44" fmla="*/ 156 w 374"/>
                <a:gd name="T45" fmla="*/ 370 h 375"/>
                <a:gd name="T46" fmla="*/ 211 w 374"/>
                <a:gd name="T47" fmla="*/ 375 h 375"/>
                <a:gd name="T48" fmla="*/ 216 w 374"/>
                <a:gd name="T49" fmla="*/ 370 h 375"/>
                <a:gd name="T50" fmla="*/ 239 w 374"/>
                <a:gd name="T51" fmla="*/ 316 h 375"/>
                <a:gd name="T52" fmla="*/ 294 w 374"/>
                <a:gd name="T53" fmla="*/ 337 h 375"/>
                <a:gd name="T54" fmla="*/ 300 w 374"/>
                <a:gd name="T55" fmla="*/ 339 h 375"/>
                <a:gd name="T56" fmla="*/ 336 w 374"/>
                <a:gd name="T57" fmla="*/ 302 h 375"/>
                <a:gd name="T58" fmla="*/ 308 w 374"/>
                <a:gd name="T59" fmla="*/ 257 h 375"/>
                <a:gd name="T60" fmla="*/ 321 w 374"/>
                <a:gd name="T61" fmla="*/ 224 h 375"/>
                <a:gd name="T62" fmla="*/ 372 w 374"/>
                <a:gd name="T63" fmla="*/ 215 h 375"/>
                <a:gd name="T64" fmla="*/ 374 w 374"/>
                <a:gd name="T65" fmla="*/ 163 h 375"/>
                <a:gd name="T66" fmla="*/ 368 w 374"/>
                <a:gd name="T67" fmla="*/ 157 h 375"/>
                <a:gd name="T68" fmla="*/ 179 w 374"/>
                <a:gd name="T69" fmla="*/ 266 h 375"/>
                <a:gd name="T70" fmla="*/ 142 w 374"/>
                <a:gd name="T71" fmla="*/ 254 h 375"/>
                <a:gd name="T72" fmla="*/ 113 w 374"/>
                <a:gd name="T73" fmla="*/ 219 h 375"/>
                <a:gd name="T74" fmla="*/ 108 w 374"/>
                <a:gd name="T75" fmla="*/ 187 h 375"/>
                <a:gd name="T76" fmla="*/ 109 w 374"/>
                <a:gd name="T77" fmla="*/ 171 h 375"/>
                <a:gd name="T78" fmla="*/ 130 w 374"/>
                <a:gd name="T79" fmla="*/ 132 h 375"/>
                <a:gd name="T80" fmla="*/ 171 w 374"/>
                <a:gd name="T81" fmla="*/ 109 h 375"/>
                <a:gd name="T82" fmla="*/ 187 w 374"/>
                <a:gd name="T83" fmla="*/ 108 h 375"/>
                <a:gd name="T84" fmla="*/ 218 w 374"/>
                <a:gd name="T85" fmla="*/ 114 h 375"/>
                <a:gd name="T86" fmla="*/ 253 w 374"/>
                <a:gd name="T87" fmla="*/ 142 h 375"/>
                <a:gd name="T88" fmla="*/ 266 w 374"/>
                <a:gd name="T89" fmla="*/ 179 h 375"/>
                <a:gd name="T90" fmla="*/ 266 w 374"/>
                <a:gd name="T91" fmla="*/ 196 h 375"/>
                <a:gd name="T92" fmla="*/ 253 w 374"/>
                <a:gd name="T93" fmla="*/ 233 h 375"/>
                <a:gd name="T94" fmla="*/ 218 w 374"/>
                <a:gd name="T95" fmla="*/ 261 h 375"/>
                <a:gd name="T96" fmla="*/ 187 w 374"/>
                <a:gd name="T97" fmla="*/ 267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74" h="375">
                  <a:moveTo>
                    <a:pt x="368" y="157"/>
                  </a:moveTo>
                  <a:lnTo>
                    <a:pt x="321" y="151"/>
                  </a:lnTo>
                  <a:lnTo>
                    <a:pt x="321" y="151"/>
                  </a:lnTo>
                  <a:lnTo>
                    <a:pt x="314" y="134"/>
                  </a:lnTo>
                  <a:lnTo>
                    <a:pt x="308" y="118"/>
                  </a:lnTo>
                  <a:lnTo>
                    <a:pt x="336" y="81"/>
                  </a:lnTo>
                  <a:lnTo>
                    <a:pt x="336" y="81"/>
                  </a:lnTo>
                  <a:lnTo>
                    <a:pt x="337" y="77"/>
                  </a:lnTo>
                  <a:lnTo>
                    <a:pt x="336" y="73"/>
                  </a:lnTo>
                  <a:lnTo>
                    <a:pt x="302" y="38"/>
                  </a:lnTo>
                  <a:lnTo>
                    <a:pt x="302" y="38"/>
                  </a:lnTo>
                  <a:lnTo>
                    <a:pt x="298" y="36"/>
                  </a:lnTo>
                  <a:lnTo>
                    <a:pt x="294" y="38"/>
                  </a:lnTo>
                  <a:lnTo>
                    <a:pt x="255" y="67"/>
                  </a:lnTo>
                  <a:lnTo>
                    <a:pt x="255" y="67"/>
                  </a:lnTo>
                  <a:lnTo>
                    <a:pt x="239" y="59"/>
                  </a:lnTo>
                  <a:lnTo>
                    <a:pt x="223" y="54"/>
                  </a:lnTo>
                  <a:lnTo>
                    <a:pt x="216" y="5"/>
                  </a:lnTo>
                  <a:lnTo>
                    <a:pt x="216" y="5"/>
                  </a:lnTo>
                  <a:lnTo>
                    <a:pt x="215" y="1"/>
                  </a:lnTo>
                  <a:lnTo>
                    <a:pt x="211" y="0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59" y="1"/>
                  </a:lnTo>
                  <a:lnTo>
                    <a:pt x="156" y="5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33" y="59"/>
                  </a:lnTo>
                  <a:lnTo>
                    <a:pt x="118" y="67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5" y="36"/>
                  </a:lnTo>
                  <a:lnTo>
                    <a:pt x="71" y="38"/>
                  </a:lnTo>
                  <a:lnTo>
                    <a:pt x="38" y="73"/>
                  </a:lnTo>
                  <a:lnTo>
                    <a:pt x="38" y="73"/>
                  </a:lnTo>
                  <a:lnTo>
                    <a:pt x="35" y="77"/>
                  </a:lnTo>
                  <a:lnTo>
                    <a:pt x="36" y="81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58" y="134"/>
                  </a:lnTo>
                  <a:lnTo>
                    <a:pt x="52" y="151"/>
                  </a:lnTo>
                  <a:lnTo>
                    <a:pt x="5" y="157"/>
                  </a:lnTo>
                  <a:lnTo>
                    <a:pt x="5" y="157"/>
                  </a:lnTo>
                  <a:lnTo>
                    <a:pt x="1" y="160"/>
                  </a:lnTo>
                  <a:lnTo>
                    <a:pt x="0" y="163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1" y="215"/>
                  </a:lnTo>
                  <a:lnTo>
                    <a:pt x="5" y="218"/>
                  </a:lnTo>
                  <a:lnTo>
                    <a:pt x="52" y="224"/>
                  </a:lnTo>
                  <a:lnTo>
                    <a:pt x="52" y="224"/>
                  </a:lnTo>
                  <a:lnTo>
                    <a:pt x="58" y="241"/>
                  </a:lnTo>
                  <a:lnTo>
                    <a:pt x="66" y="257"/>
                  </a:lnTo>
                  <a:lnTo>
                    <a:pt x="36" y="294"/>
                  </a:lnTo>
                  <a:lnTo>
                    <a:pt x="36" y="294"/>
                  </a:lnTo>
                  <a:lnTo>
                    <a:pt x="35" y="298"/>
                  </a:lnTo>
                  <a:lnTo>
                    <a:pt x="38" y="302"/>
                  </a:lnTo>
                  <a:lnTo>
                    <a:pt x="71" y="337"/>
                  </a:lnTo>
                  <a:lnTo>
                    <a:pt x="71" y="337"/>
                  </a:lnTo>
                  <a:lnTo>
                    <a:pt x="74" y="339"/>
                  </a:lnTo>
                  <a:lnTo>
                    <a:pt x="75" y="339"/>
                  </a:lnTo>
                  <a:lnTo>
                    <a:pt x="75" y="339"/>
                  </a:lnTo>
                  <a:lnTo>
                    <a:pt x="79" y="337"/>
                  </a:lnTo>
                  <a:lnTo>
                    <a:pt x="118" y="308"/>
                  </a:lnTo>
                  <a:lnTo>
                    <a:pt x="118" y="308"/>
                  </a:lnTo>
                  <a:lnTo>
                    <a:pt x="133" y="316"/>
                  </a:lnTo>
                  <a:lnTo>
                    <a:pt x="151" y="321"/>
                  </a:lnTo>
                  <a:lnTo>
                    <a:pt x="156" y="370"/>
                  </a:lnTo>
                  <a:lnTo>
                    <a:pt x="156" y="370"/>
                  </a:lnTo>
                  <a:lnTo>
                    <a:pt x="159" y="374"/>
                  </a:lnTo>
                  <a:lnTo>
                    <a:pt x="163" y="375"/>
                  </a:lnTo>
                  <a:lnTo>
                    <a:pt x="211" y="375"/>
                  </a:lnTo>
                  <a:lnTo>
                    <a:pt x="211" y="375"/>
                  </a:lnTo>
                  <a:lnTo>
                    <a:pt x="215" y="374"/>
                  </a:lnTo>
                  <a:lnTo>
                    <a:pt x="216" y="370"/>
                  </a:lnTo>
                  <a:lnTo>
                    <a:pt x="223" y="321"/>
                  </a:lnTo>
                  <a:lnTo>
                    <a:pt x="223" y="321"/>
                  </a:lnTo>
                  <a:lnTo>
                    <a:pt x="239" y="316"/>
                  </a:lnTo>
                  <a:lnTo>
                    <a:pt x="255" y="308"/>
                  </a:lnTo>
                  <a:lnTo>
                    <a:pt x="294" y="337"/>
                  </a:lnTo>
                  <a:lnTo>
                    <a:pt x="294" y="337"/>
                  </a:lnTo>
                  <a:lnTo>
                    <a:pt x="297" y="339"/>
                  </a:lnTo>
                  <a:lnTo>
                    <a:pt x="297" y="339"/>
                  </a:lnTo>
                  <a:lnTo>
                    <a:pt x="300" y="339"/>
                  </a:lnTo>
                  <a:lnTo>
                    <a:pt x="302" y="337"/>
                  </a:lnTo>
                  <a:lnTo>
                    <a:pt x="336" y="302"/>
                  </a:lnTo>
                  <a:lnTo>
                    <a:pt x="336" y="302"/>
                  </a:lnTo>
                  <a:lnTo>
                    <a:pt x="337" y="298"/>
                  </a:lnTo>
                  <a:lnTo>
                    <a:pt x="336" y="294"/>
                  </a:lnTo>
                  <a:lnTo>
                    <a:pt x="308" y="257"/>
                  </a:lnTo>
                  <a:lnTo>
                    <a:pt x="308" y="257"/>
                  </a:lnTo>
                  <a:lnTo>
                    <a:pt x="314" y="241"/>
                  </a:lnTo>
                  <a:lnTo>
                    <a:pt x="321" y="224"/>
                  </a:lnTo>
                  <a:lnTo>
                    <a:pt x="368" y="218"/>
                  </a:lnTo>
                  <a:lnTo>
                    <a:pt x="368" y="218"/>
                  </a:lnTo>
                  <a:lnTo>
                    <a:pt x="372" y="215"/>
                  </a:lnTo>
                  <a:lnTo>
                    <a:pt x="374" y="211"/>
                  </a:lnTo>
                  <a:lnTo>
                    <a:pt x="374" y="163"/>
                  </a:lnTo>
                  <a:lnTo>
                    <a:pt x="374" y="163"/>
                  </a:lnTo>
                  <a:lnTo>
                    <a:pt x="372" y="160"/>
                  </a:lnTo>
                  <a:lnTo>
                    <a:pt x="368" y="157"/>
                  </a:lnTo>
                  <a:lnTo>
                    <a:pt x="368" y="157"/>
                  </a:lnTo>
                  <a:close/>
                  <a:moveTo>
                    <a:pt x="187" y="267"/>
                  </a:moveTo>
                  <a:lnTo>
                    <a:pt x="187" y="267"/>
                  </a:lnTo>
                  <a:lnTo>
                    <a:pt x="179" y="266"/>
                  </a:lnTo>
                  <a:lnTo>
                    <a:pt x="171" y="266"/>
                  </a:lnTo>
                  <a:lnTo>
                    <a:pt x="156" y="261"/>
                  </a:lnTo>
                  <a:lnTo>
                    <a:pt x="142" y="254"/>
                  </a:lnTo>
                  <a:lnTo>
                    <a:pt x="130" y="243"/>
                  </a:lnTo>
                  <a:lnTo>
                    <a:pt x="121" y="233"/>
                  </a:lnTo>
                  <a:lnTo>
                    <a:pt x="113" y="219"/>
                  </a:lnTo>
                  <a:lnTo>
                    <a:pt x="109" y="203"/>
                  </a:lnTo>
                  <a:lnTo>
                    <a:pt x="108" y="196"/>
                  </a:lnTo>
                  <a:lnTo>
                    <a:pt x="108" y="187"/>
                  </a:lnTo>
                  <a:lnTo>
                    <a:pt x="108" y="187"/>
                  </a:lnTo>
                  <a:lnTo>
                    <a:pt x="108" y="179"/>
                  </a:lnTo>
                  <a:lnTo>
                    <a:pt x="109" y="171"/>
                  </a:lnTo>
                  <a:lnTo>
                    <a:pt x="113" y="156"/>
                  </a:lnTo>
                  <a:lnTo>
                    <a:pt x="121" y="142"/>
                  </a:lnTo>
                  <a:lnTo>
                    <a:pt x="130" y="132"/>
                  </a:lnTo>
                  <a:lnTo>
                    <a:pt x="142" y="121"/>
                  </a:lnTo>
                  <a:lnTo>
                    <a:pt x="156" y="114"/>
                  </a:lnTo>
                  <a:lnTo>
                    <a:pt x="171" y="109"/>
                  </a:lnTo>
                  <a:lnTo>
                    <a:pt x="179" y="108"/>
                  </a:lnTo>
                  <a:lnTo>
                    <a:pt x="187" y="108"/>
                  </a:lnTo>
                  <a:lnTo>
                    <a:pt x="187" y="108"/>
                  </a:lnTo>
                  <a:lnTo>
                    <a:pt x="195" y="108"/>
                  </a:lnTo>
                  <a:lnTo>
                    <a:pt x="203" y="109"/>
                  </a:lnTo>
                  <a:lnTo>
                    <a:pt x="218" y="114"/>
                  </a:lnTo>
                  <a:lnTo>
                    <a:pt x="231" y="121"/>
                  </a:lnTo>
                  <a:lnTo>
                    <a:pt x="243" y="132"/>
                  </a:lnTo>
                  <a:lnTo>
                    <a:pt x="253" y="142"/>
                  </a:lnTo>
                  <a:lnTo>
                    <a:pt x="259" y="156"/>
                  </a:lnTo>
                  <a:lnTo>
                    <a:pt x="265" y="171"/>
                  </a:lnTo>
                  <a:lnTo>
                    <a:pt x="266" y="179"/>
                  </a:lnTo>
                  <a:lnTo>
                    <a:pt x="266" y="187"/>
                  </a:lnTo>
                  <a:lnTo>
                    <a:pt x="266" y="187"/>
                  </a:lnTo>
                  <a:lnTo>
                    <a:pt x="266" y="196"/>
                  </a:lnTo>
                  <a:lnTo>
                    <a:pt x="265" y="203"/>
                  </a:lnTo>
                  <a:lnTo>
                    <a:pt x="259" y="219"/>
                  </a:lnTo>
                  <a:lnTo>
                    <a:pt x="253" y="233"/>
                  </a:lnTo>
                  <a:lnTo>
                    <a:pt x="243" y="243"/>
                  </a:lnTo>
                  <a:lnTo>
                    <a:pt x="231" y="254"/>
                  </a:lnTo>
                  <a:lnTo>
                    <a:pt x="218" y="261"/>
                  </a:lnTo>
                  <a:lnTo>
                    <a:pt x="203" y="266"/>
                  </a:lnTo>
                  <a:lnTo>
                    <a:pt x="195" y="266"/>
                  </a:lnTo>
                  <a:lnTo>
                    <a:pt x="187" y="267"/>
                  </a:lnTo>
                  <a:lnTo>
                    <a:pt x="187" y="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0" name="Freeform 216">
            <a:extLst>
              <a:ext uri="{FF2B5EF4-FFF2-40B4-BE49-F238E27FC236}">
                <a16:creationId xmlns:a16="http://schemas.microsoft.com/office/drawing/2014/main" id="{3B1A165A-8663-EFEB-F864-90E1F7EF3410}"/>
              </a:ext>
            </a:extLst>
          </p:cNvPr>
          <p:cNvSpPr>
            <a:spLocks noEditPoints="1"/>
          </p:cNvSpPr>
          <p:nvPr/>
        </p:nvSpPr>
        <p:spPr bwMode="auto">
          <a:xfrm>
            <a:off x="7995531" y="2976080"/>
            <a:ext cx="241314" cy="220274"/>
          </a:xfrm>
          <a:custGeom>
            <a:avLst/>
            <a:gdLst>
              <a:gd name="T0" fmla="*/ 321 w 374"/>
              <a:gd name="T1" fmla="*/ 151 h 375"/>
              <a:gd name="T2" fmla="*/ 336 w 374"/>
              <a:gd name="T3" fmla="*/ 81 h 375"/>
              <a:gd name="T4" fmla="*/ 336 w 374"/>
              <a:gd name="T5" fmla="*/ 73 h 375"/>
              <a:gd name="T6" fmla="*/ 298 w 374"/>
              <a:gd name="T7" fmla="*/ 36 h 375"/>
              <a:gd name="T8" fmla="*/ 255 w 374"/>
              <a:gd name="T9" fmla="*/ 67 h 375"/>
              <a:gd name="T10" fmla="*/ 216 w 374"/>
              <a:gd name="T11" fmla="*/ 5 h 375"/>
              <a:gd name="T12" fmla="*/ 211 w 374"/>
              <a:gd name="T13" fmla="*/ 0 h 375"/>
              <a:gd name="T14" fmla="*/ 159 w 374"/>
              <a:gd name="T15" fmla="*/ 1 h 375"/>
              <a:gd name="T16" fmla="*/ 151 w 374"/>
              <a:gd name="T17" fmla="*/ 54 h 375"/>
              <a:gd name="T18" fmla="*/ 79 w 374"/>
              <a:gd name="T19" fmla="*/ 38 h 375"/>
              <a:gd name="T20" fmla="*/ 71 w 374"/>
              <a:gd name="T21" fmla="*/ 38 h 375"/>
              <a:gd name="T22" fmla="*/ 35 w 374"/>
              <a:gd name="T23" fmla="*/ 77 h 375"/>
              <a:gd name="T24" fmla="*/ 66 w 374"/>
              <a:gd name="T25" fmla="*/ 118 h 375"/>
              <a:gd name="T26" fmla="*/ 5 w 374"/>
              <a:gd name="T27" fmla="*/ 157 h 375"/>
              <a:gd name="T28" fmla="*/ 0 w 374"/>
              <a:gd name="T29" fmla="*/ 163 h 375"/>
              <a:gd name="T30" fmla="*/ 1 w 374"/>
              <a:gd name="T31" fmla="*/ 215 h 375"/>
              <a:gd name="T32" fmla="*/ 52 w 374"/>
              <a:gd name="T33" fmla="*/ 224 h 375"/>
              <a:gd name="T34" fmla="*/ 36 w 374"/>
              <a:gd name="T35" fmla="*/ 294 h 375"/>
              <a:gd name="T36" fmla="*/ 38 w 374"/>
              <a:gd name="T37" fmla="*/ 302 h 375"/>
              <a:gd name="T38" fmla="*/ 74 w 374"/>
              <a:gd name="T39" fmla="*/ 339 h 375"/>
              <a:gd name="T40" fmla="*/ 79 w 374"/>
              <a:gd name="T41" fmla="*/ 337 h 375"/>
              <a:gd name="T42" fmla="*/ 133 w 374"/>
              <a:gd name="T43" fmla="*/ 316 h 375"/>
              <a:gd name="T44" fmla="*/ 156 w 374"/>
              <a:gd name="T45" fmla="*/ 370 h 375"/>
              <a:gd name="T46" fmla="*/ 211 w 374"/>
              <a:gd name="T47" fmla="*/ 375 h 375"/>
              <a:gd name="T48" fmla="*/ 216 w 374"/>
              <a:gd name="T49" fmla="*/ 370 h 375"/>
              <a:gd name="T50" fmla="*/ 239 w 374"/>
              <a:gd name="T51" fmla="*/ 316 h 375"/>
              <a:gd name="T52" fmla="*/ 294 w 374"/>
              <a:gd name="T53" fmla="*/ 337 h 375"/>
              <a:gd name="T54" fmla="*/ 300 w 374"/>
              <a:gd name="T55" fmla="*/ 339 h 375"/>
              <a:gd name="T56" fmla="*/ 336 w 374"/>
              <a:gd name="T57" fmla="*/ 302 h 375"/>
              <a:gd name="T58" fmla="*/ 308 w 374"/>
              <a:gd name="T59" fmla="*/ 257 h 375"/>
              <a:gd name="T60" fmla="*/ 321 w 374"/>
              <a:gd name="T61" fmla="*/ 224 h 375"/>
              <a:gd name="T62" fmla="*/ 372 w 374"/>
              <a:gd name="T63" fmla="*/ 215 h 375"/>
              <a:gd name="T64" fmla="*/ 374 w 374"/>
              <a:gd name="T65" fmla="*/ 163 h 375"/>
              <a:gd name="T66" fmla="*/ 368 w 374"/>
              <a:gd name="T67" fmla="*/ 157 h 375"/>
              <a:gd name="T68" fmla="*/ 179 w 374"/>
              <a:gd name="T69" fmla="*/ 266 h 375"/>
              <a:gd name="T70" fmla="*/ 142 w 374"/>
              <a:gd name="T71" fmla="*/ 254 h 375"/>
              <a:gd name="T72" fmla="*/ 113 w 374"/>
              <a:gd name="T73" fmla="*/ 219 h 375"/>
              <a:gd name="T74" fmla="*/ 108 w 374"/>
              <a:gd name="T75" fmla="*/ 187 h 375"/>
              <a:gd name="T76" fmla="*/ 109 w 374"/>
              <a:gd name="T77" fmla="*/ 171 h 375"/>
              <a:gd name="T78" fmla="*/ 130 w 374"/>
              <a:gd name="T79" fmla="*/ 132 h 375"/>
              <a:gd name="T80" fmla="*/ 171 w 374"/>
              <a:gd name="T81" fmla="*/ 109 h 375"/>
              <a:gd name="T82" fmla="*/ 187 w 374"/>
              <a:gd name="T83" fmla="*/ 108 h 375"/>
              <a:gd name="T84" fmla="*/ 218 w 374"/>
              <a:gd name="T85" fmla="*/ 114 h 375"/>
              <a:gd name="T86" fmla="*/ 253 w 374"/>
              <a:gd name="T87" fmla="*/ 142 h 375"/>
              <a:gd name="T88" fmla="*/ 266 w 374"/>
              <a:gd name="T89" fmla="*/ 179 h 375"/>
              <a:gd name="T90" fmla="*/ 266 w 374"/>
              <a:gd name="T91" fmla="*/ 196 h 375"/>
              <a:gd name="T92" fmla="*/ 253 w 374"/>
              <a:gd name="T93" fmla="*/ 233 h 375"/>
              <a:gd name="T94" fmla="*/ 218 w 374"/>
              <a:gd name="T95" fmla="*/ 261 h 375"/>
              <a:gd name="T96" fmla="*/ 187 w 374"/>
              <a:gd name="T97" fmla="*/ 267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74" h="375">
                <a:moveTo>
                  <a:pt x="368" y="157"/>
                </a:moveTo>
                <a:lnTo>
                  <a:pt x="321" y="151"/>
                </a:lnTo>
                <a:lnTo>
                  <a:pt x="321" y="151"/>
                </a:lnTo>
                <a:lnTo>
                  <a:pt x="314" y="134"/>
                </a:lnTo>
                <a:lnTo>
                  <a:pt x="308" y="118"/>
                </a:lnTo>
                <a:lnTo>
                  <a:pt x="336" y="81"/>
                </a:lnTo>
                <a:lnTo>
                  <a:pt x="336" y="81"/>
                </a:lnTo>
                <a:lnTo>
                  <a:pt x="337" y="77"/>
                </a:lnTo>
                <a:lnTo>
                  <a:pt x="336" y="73"/>
                </a:lnTo>
                <a:lnTo>
                  <a:pt x="302" y="38"/>
                </a:lnTo>
                <a:lnTo>
                  <a:pt x="302" y="38"/>
                </a:lnTo>
                <a:lnTo>
                  <a:pt x="298" y="36"/>
                </a:lnTo>
                <a:lnTo>
                  <a:pt x="294" y="38"/>
                </a:lnTo>
                <a:lnTo>
                  <a:pt x="255" y="67"/>
                </a:lnTo>
                <a:lnTo>
                  <a:pt x="255" y="67"/>
                </a:lnTo>
                <a:lnTo>
                  <a:pt x="239" y="59"/>
                </a:lnTo>
                <a:lnTo>
                  <a:pt x="223" y="54"/>
                </a:lnTo>
                <a:lnTo>
                  <a:pt x="216" y="5"/>
                </a:lnTo>
                <a:lnTo>
                  <a:pt x="216" y="5"/>
                </a:lnTo>
                <a:lnTo>
                  <a:pt x="215" y="1"/>
                </a:lnTo>
                <a:lnTo>
                  <a:pt x="211" y="0"/>
                </a:lnTo>
                <a:lnTo>
                  <a:pt x="163" y="0"/>
                </a:lnTo>
                <a:lnTo>
                  <a:pt x="163" y="0"/>
                </a:lnTo>
                <a:lnTo>
                  <a:pt x="159" y="1"/>
                </a:lnTo>
                <a:lnTo>
                  <a:pt x="156" y="5"/>
                </a:lnTo>
                <a:lnTo>
                  <a:pt x="151" y="54"/>
                </a:lnTo>
                <a:lnTo>
                  <a:pt x="151" y="54"/>
                </a:lnTo>
                <a:lnTo>
                  <a:pt x="133" y="59"/>
                </a:lnTo>
                <a:lnTo>
                  <a:pt x="118" y="67"/>
                </a:lnTo>
                <a:lnTo>
                  <a:pt x="79" y="38"/>
                </a:lnTo>
                <a:lnTo>
                  <a:pt x="79" y="38"/>
                </a:lnTo>
                <a:lnTo>
                  <a:pt x="75" y="36"/>
                </a:lnTo>
                <a:lnTo>
                  <a:pt x="71" y="38"/>
                </a:lnTo>
                <a:lnTo>
                  <a:pt x="38" y="73"/>
                </a:lnTo>
                <a:lnTo>
                  <a:pt x="38" y="73"/>
                </a:lnTo>
                <a:lnTo>
                  <a:pt x="35" y="77"/>
                </a:lnTo>
                <a:lnTo>
                  <a:pt x="36" y="81"/>
                </a:lnTo>
                <a:lnTo>
                  <a:pt x="66" y="118"/>
                </a:lnTo>
                <a:lnTo>
                  <a:pt x="66" y="118"/>
                </a:lnTo>
                <a:lnTo>
                  <a:pt x="58" y="134"/>
                </a:lnTo>
                <a:lnTo>
                  <a:pt x="52" y="151"/>
                </a:lnTo>
                <a:lnTo>
                  <a:pt x="5" y="157"/>
                </a:lnTo>
                <a:lnTo>
                  <a:pt x="5" y="157"/>
                </a:lnTo>
                <a:lnTo>
                  <a:pt x="1" y="160"/>
                </a:lnTo>
                <a:lnTo>
                  <a:pt x="0" y="163"/>
                </a:lnTo>
                <a:lnTo>
                  <a:pt x="0" y="211"/>
                </a:lnTo>
                <a:lnTo>
                  <a:pt x="0" y="211"/>
                </a:lnTo>
                <a:lnTo>
                  <a:pt x="1" y="215"/>
                </a:lnTo>
                <a:lnTo>
                  <a:pt x="5" y="218"/>
                </a:lnTo>
                <a:lnTo>
                  <a:pt x="52" y="224"/>
                </a:lnTo>
                <a:lnTo>
                  <a:pt x="52" y="224"/>
                </a:lnTo>
                <a:lnTo>
                  <a:pt x="58" y="241"/>
                </a:lnTo>
                <a:lnTo>
                  <a:pt x="66" y="257"/>
                </a:lnTo>
                <a:lnTo>
                  <a:pt x="36" y="294"/>
                </a:lnTo>
                <a:lnTo>
                  <a:pt x="36" y="294"/>
                </a:lnTo>
                <a:lnTo>
                  <a:pt x="35" y="298"/>
                </a:lnTo>
                <a:lnTo>
                  <a:pt x="38" y="302"/>
                </a:lnTo>
                <a:lnTo>
                  <a:pt x="71" y="337"/>
                </a:lnTo>
                <a:lnTo>
                  <a:pt x="71" y="337"/>
                </a:lnTo>
                <a:lnTo>
                  <a:pt x="74" y="339"/>
                </a:lnTo>
                <a:lnTo>
                  <a:pt x="75" y="339"/>
                </a:lnTo>
                <a:lnTo>
                  <a:pt x="75" y="339"/>
                </a:lnTo>
                <a:lnTo>
                  <a:pt x="79" y="337"/>
                </a:lnTo>
                <a:lnTo>
                  <a:pt x="118" y="308"/>
                </a:lnTo>
                <a:lnTo>
                  <a:pt x="118" y="308"/>
                </a:lnTo>
                <a:lnTo>
                  <a:pt x="133" y="316"/>
                </a:lnTo>
                <a:lnTo>
                  <a:pt x="151" y="321"/>
                </a:lnTo>
                <a:lnTo>
                  <a:pt x="156" y="370"/>
                </a:lnTo>
                <a:lnTo>
                  <a:pt x="156" y="370"/>
                </a:lnTo>
                <a:lnTo>
                  <a:pt x="159" y="374"/>
                </a:lnTo>
                <a:lnTo>
                  <a:pt x="163" y="375"/>
                </a:lnTo>
                <a:lnTo>
                  <a:pt x="211" y="375"/>
                </a:lnTo>
                <a:lnTo>
                  <a:pt x="211" y="375"/>
                </a:lnTo>
                <a:lnTo>
                  <a:pt x="215" y="374"/>
                </a:lnTo>
                <a:lnTo>
                  <a:pt x="216" y="370"/>
                </a:lnTo>
                <a:lnTo>
                  <a:pt x="223" y="321"/>
                </a:lnTo>
                <a:lnTo>
                  <a:pt x="223" y="321"/>
                </a:lnTo>
                <a:lnTo>
                  <a:pt x="239" y="316"/>
                </a:lnTo>
                <a:lnTo>
                  <a:pt x="255" y="308"/>
                </a:lnTo>
                <a:lnTo>
                  <a:pt x="294" y="337"/>
                </a:lnTo>
                <a:lnTo>
                  <a:pt x="294" y="337"/>
                </a:lnTo>
                <a:lnTo>
                  <a:pt x="297" y="339"/>
                </a:lnTo>
                <a:lnTo>
                  <a:pt x="297" y="339"/>
                </a:lnTo>
                <a:lnTo>
                  <a:pt x="300" y="339"/>
                </a:lnTo>
                <a:lnTo>
                  <a:pt x="302" y="337"/>
                </a:lnTo>
                <a:lnTo>
                  <a:pt x="336" y="302"/>
                </a:lnTo>
                <a:lnTo>
                  <a:pt x="336" y="302"/>
                </a:lnTo>
                <a:lnTo>
                  <a:pt x="337" y="298"/>
                </a:lnTo>
                <a:lnTo>
                  <a:pt x="336" y="294"/>
                </a:lnTo>
                <a:lnTo>
                  <a:pt x="308" y="257"/>
                </a:lnTo>
                <a:lnTo>
                  <a:pt x="308" y="257"/>
                </a:lnTo>
                <a:lnTo>
                  <a:pt x="314" y="241"/>
                </a:lnTo>
                <a:lnTo>
                  <a:pt x="321" y="224"/>
                </a:lnTo>
                <a:lnTo>
                  <a:pt x="368" y="218"/>
                </a:lnTo>
                <a:lnTo>
                  <a:pt x="368" y="218"/>
                </a:lnTo>
                <a:lnTo>
                  <a:pt x="372" y="215"/>
                </a:lnTo>
                <a:lnTo>
                  <a:pt x="374" y="211"/>
                </a:lnTo>
                <a:lnTo>
                  <a:pt x="374" y="163"/>
                </a:lnTo>
                <a:lnTo>
                  <a:pt x="374" y="163"/>
                </a:lnTo>
                <a:lnTo>
                  <a:pt x="372" y="160"/>
                </a:lnTo>
                <a:lnTo>
                  <a:pt x="368" y="157"/>
                </a:lnTo>
                <a:lnTo>
                  <a:pt x="368" y="157"/>
                </a:lnTo>
                <a:close/>
                <a:moveTo>
                  <a:pt x="187" y="267"/>
                </a:moveTo>
                <a:lnTo>
                  <a:pt x="187" y="267"/>
                </a:lnTo>
                <a:lnTo>
                  <a:pt x="179" y="266"/>
                </a:lnTo>
                <a:lnTo>
                  <a:pt x="171" y="266"/>
                </a:lnTo>
                <a:lnTo>
                  <a:pt x="156" y="261"/>
                </a:lnTo>
                <a:lnTo>
                  <a:pt x="142" y="254"/>
                </a:lnTo>
                <a:lnTo>
                  <a:pt x="130" y="243"/>
                </a:lnTo>
                <a:lnTo>
                  <a:pt x="121" y="233"/>
                </a:lnTo>
                <a:lnTo>
                  <a:pt x="113" y="219"/>
                </a:lnTo>
                <a:lnTo>
                  <a:pt x="109" y="203"/>
                </a:lnTo>
                <a:lnTo>
                  <a:pt x="108" y="196"/>
                </a:lnTo>
                <a:lnTo>
                  <a:pt x="108" y="187"/>
                </a:lnTo>
                <a:lnTo>
                  <a:pt x="108" y="187"/>
                </a:lnTo>
                <a:lnTo>
                  <a:pt x="108" y="179"/>
                </a:lnTo>
                <a:lnTo>
                  <a:pt x="109" y="171"/>
                </a:lnTo>
                <a:lnTo>
                  <a:pt x="113" y="156"/>
                </a:lnTo>
                <a:lnTo>
                  <a:pt x="121" y="142"/>
                </a:lnTo>
                <a:lnTo>
                  <a:pt x="130" y="132"/>
                </a:lnTo>
                <a:lnTo>
                  <a:pt x="142" y="121"/>
                </a:lnTo>
                <a:lnTo>
                  <a:pt x="156" y="114"/>
                </a:lnTo>
                <a:lnTo>
                  <a:pt x="171" y="109"/>
                </a:lnTo>
                <a:lnTo>
                  <a:pt x="179" y="108"/>
                </a:lnTo>
                <a:lnTo>
                  <a:pt x="187" y="108"/>
                </a:lnTo>
                <a:lnTo>
                  <a:pt x="187" y="108"/>
                </a:lnTo>
                <a:lnTo>
                  <a:pt x="195" y="108"/>
                </a:lnTo>
                <a:lnTo>
                  <a:pt x="203" y="109"/>
                </a:lnTo>
                <a:lnTo>
                  <a:pt x="218" y="114"/>
                </a:lnTo>
                <a:lnTo>
                  <a:pt x="231" y="121"/>
                </a:lnTo>
                <a:lnTo>
                  <a:pt x="243" y="132"/>
                </a:lnTo>
                <a:lnTo>
                  <a:pt x="253" y="142"/>
                </a:lnTo>
                <a:lnTo>
                  <a:pt x="259" y="156"/>
                </a:lnTo>
                <a:lnTo>
                  <a:pt x="265" y="171"/>
                </a:lnTo>
                <a:lnTo>
                  <a:pt x="266" y="179"/>
                </a:lnTo>
                <a:lnTo>
                  <a:pt x="266" y="187"/>
                </a:lnTo>
                <a:lnTo>
                  <a:pt x="266" y="187"/>
                </a:lnTo>
                <a:lnTo>
                  <a:pt x="266" y="196"/>
                </a:lnTo>
                <a:lnTo>
                  <a:pt x="265" y="203"/>
                </a:lnTo>
                <a:lnTo>
                  <a:pt x="259" y="219"/>
                </a:lnTo>
                <a:lnTo>
                  <a:pt x="253" y="233"/>
                </a:lnTo>
                <a:lnTo>
                  <a:pt x="243" y="243"/>
                </a:lnTo>
                <a:lnTo>
                  <a:pt x="231" y="254"/>
                </a:lnTo>
                <a:lnTo>
                  <a:pt x="218" y="261"/>
                </a:lnTo>
                <a:lnTo>
                  <a:pt x="203" y="266"/>
                </a:lnTo>
                <a:lnTo>
                  <a:pt x="195" y="266"/>
                </a:lnTo>
                <a:lnTo>
                  <a:pt x="187" y="267"/>
                </a:lnTo>
                <a:lnTo>
                  <a:pt x="187" y="267"/>
                </a:lnTo>
                <a:close/>
              </a:path>
            </a:pathLst>
          </a:custGeom>
          <a:solidFill>
            <a:schemeClr val="tx1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1" name="Rounded Rectangle 169">
            <a:extLst>
              <a:ext uri="{FF2B5EF4-FFF2-40B4-BE49-F238E27FC236}">
                <a16:creationId xmlns:a16="http://schemas.microsoft.com/office/drawing/2014/main" id="{DF584BA2-3A53-E644-1364-983609865D83}"/>
              </a:ext>
            </a:extLst>
          </p:cNvPr>
          <p:cNvSpPr/>
          <p:nvPr/>
        </p:nvSpPr>
        <p:spPr>
          <a:xfrm>
            <a:off x="5814904" y="3620123"/>
            <a:ext cx="5378079" cy="915451"/>
          </a:xfrm>
          <a:prstGeom prst="roundRect">
            <a:avLst>
              <a:gd name="adj" fmla="val 10984"/>
            </a:avLst>
          </a:prstGeom>
          <a:solidFill>
            <a:srgbClr val="FFCD00">
              <a:alpha val="10000"/>
            </a:srgbClr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r"/>
            <a:r>
              <a:rPr lang="hu-HU" sz="1200" dirty="0">
                <a:solidFill>
                  <a:schemeClr val="tx1"/>
                </a:solidFill>
              </a:rPr>
              <a:t>Middleware </a:t>
            </a:r>
            <a:r>
              <a:rPr lang="hu-HU" sz="1200" dirty="0" err="1">
                <a:solidFill>
                  <a:schemeClr val="tx1"/>
                </a:solidFill>
              </a:rPr>
              <a:t>Zon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12" name="Rectangle 390">
            <a:extLst>
              <a:ext uri="{FF2B5EF4-FFF2-40B4-BE49-F238E27FC236}">
                <a16:creationId xmlns:a16="http://schemas.microsoft.com/office/drawing/2014/main" id="{EFA3FB32-A73C-1042-0CA4-9EE98CB46B4B}"/>
              </a:ext>
            </a:extLst>
          </p:cNvPr>
          <p:cNvSpPr/>
          <p:nvPr/>
        </p:nvSpPr>
        <p:spPr>
          <a:xfrm>
            <a:off x="8101057" y="3878117"/>
            <a:ext cx="1255465" cy="4373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dirty="0">
              <a:solidFill>
                <a:schemeClr val="tx1"/>
              </a:solidFill>
            </a:endParaRPr>
          </a:p>
        </p:txBody>
      </p:sp>
      <p:sp>
        <p:nvSpPr>
          <p:cNvPr id="113" name="Rectangle 390">
            <a:extLst>
              <a:ext uri="{FF2B5EF4-FFF2-40B4-BE49-F238E27FC236}">
                <a16:creationId xmlns:a16="http://schemas.microsoft.com/office/drawing/2014/main" id="{F76E694A-916C-C94B-DEC1-D4D5FE9CBF45}"/>
              </a:ext>
            </a:extLst>
          </p:cNvPr>
          <p:cNvSpPr/>
          <p:nvPr/>
        </p:nvSpPr>
        <p:spPr>
          <a:xfrm>
            <a:off x="8215357" y="3811061"/>
            <a:ext cx="1255465" cy="4373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dirty="0">
              <a:solidFill>
                <a:schemeClr val="tx1"/>
              </a:solidFill>
            </a:endParaRPr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96BBDF05-1F78-9A74-1C7F-3A5DEDE0E7AE}"/>
              </a:ext>
            </a:extLst>
          </p:cNvPr>
          <p:cNvGrpSpPr/>
          <p:nvPr/>
        </p:nvGrpSpPr>
        <p:grpSpPr>
          <a:xfrm>
            <a:off x="7916266" y="3958046"/>
            <a:ext cx="1329162" cy="437362"/>
            <a:chOff x="2987070" y="5501830"/>
            <a:chExt cx="1255465" cy="437362"/>
          </a:xfrm>
          <a:solidFill>
            <a:srgbClr val="FFCD00"/>
          </a:solidFill>
        </p:grpSpPr>
        <p:sp>
          <p:nvSpPr>
            <p:cNvPr id="115" name="Rectangle 390">
              <a:extLst>
                <a:ext uri="{FF2B5EF4-FFF2-40B4-BE49-F238E27FC236}">
                  <a16:creationId xmlns:a16="http://schemas.microsoft.com/office/drawing/2014/main" id="{BE7791D9-EDD6-B707-D053-5A3B637AC8B0}"/>
                </a:ext>
              </a:extLst>
            </p:cNvPr>
            <p:cNvSpPr/>
            <p:nvPr/>
          </p:nvSpPr>
          <p:spPr>
            <a:xfrm>
              <a:off x="2987070" y="5501830"/>
              <a:ext cx="1255465" cy="437362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hu-HU" sz="800" b="1" dirty="0">
                  <a:solidFill>
                    <a:schemeClr val="tx1"/>
                  </a:solidFill>
                </a:rPr>
                <a:t>WSO2 API Platform</a:t>
              </a:r>
            </a:p>
            <a:p>
              <a:pPr algn="r"/>
              <a:r>
                <a:rPr lang="hu-HU" sz="800" b="1" dirty="0">
                  <a:solidFill>
                    <a:schemeClr val="tx1"/>
                  </a:solidFill>
                </a:rPr>
                <a:t>Kafka File-</a:t>
              </a:r>
              <a:r>
                <a:rPr lang="hu-HU" sz="800" b="1" dirty="0" err="1">
                  <a:solidFill>
                    <a:schemeClr val="tx1"/>
                  </a:solidFill>
                </a:rPr>
                <a:t>based</a:t>
              </a:r>
              <a:r>
                <a:rPr lang="hu-HU" sz="800" b="1" dirty="0">
                  <a:solidFill>
                    <a:schemeClr val="tx1"/>
                  </a:solidFill>
                </a:rPr>
                <a:t> </a:t>
              </a:r>
            </a:p>
            <a:p>
              <a:pPr algn="r"/>
              <a:r>
                <a:rPr lang="en-US" sz="800" b="1" dirty="0">
                  <a:solidFill>
                    <a:schemeClr val="tx1"/>
                  </a:solidFill>
                </a:rPr>
                <a:t>App</a:t>
              </a:r>
              <a:r>
                <a:rPr lang="hu-HU" sz="800" b="1" dirty="0" err="1">
                  <a:solidFill>
                    <a:schemeClr val="tx1"/>
                  </a:solidFill>
                </a:rPr>
                <a:t>lications</a:t>
              </a:r>
              <a:r>
                <a:rPr lang="hu-HU" sz="800" b="1" dirty="0">
                  <a:solidFill>
                    <a:schemeClr val="tx1"/>
                  </a:solidFill>
                </a:rPr>
                <a:t> / </a:t>
              </a:r>
              <a:r>
                <a:rPr lang="hu-HU" sz="800" b="1" dirty="0" err="1">
                  <a:solidFill>
                    <a:schemeClr val="tx1"/>
                  </a:solidFill>
                </a:rPr>
                <a:t>DBs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116" name="Freeform 216">
              <a:extLst>
                <a:ext uri="{FF2B5EF4-FFF2-40B4-BE49-F238E27FC236}">
                  <a16:creationId xmlns:a16="http://schemas.microsoft.com/office/drawing/2014/main" id="{7D6400E9-2169-73F8-37D2-6611972977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9516" y="5585180"/>
              <a:ext cx="255551" cy="255086"/>
            </a:xfrm>
            <a:custGeom>
              <a:avLst/>
              <a:gdLst>
                <a:gd name="T0" fmla="*/ 321 w 374"/>
                <a:gd name="T1" fmla="*/ 151 h 375"/>
                <a:gd name="T2" fmla="*/ 336 w 374"/>
                <a:gd name="T3" fmla="*/ 81 h 375"/>
                <a:gd name="T4" fmla="*/ 336 w 374"/>
                <a:gd name="T5" fmla="*/ 73 h 375"/>
                <a:gd name="T6" fmla="*/ 298 w 374"/>
                <a:gd name="T7" fmla="*/ 36 h 375"/>
                <a:gd name="T8" fmla="*/ 255 w 374"/>
                <a:gd name="T9" fmla="*/ 67 h 375"/>
                <a:gd name="T10" fmla="*/ 216 w 374"/>
                <a:gd name="T11" fmla="*/ 5 h 375"/>
                <a:gd name="T12" fmla="*/ 211 w 374"/>
                <a:gd name="T13" fmla="*/ 0 h 375"/>
                <a:gd name="T14" fmla="*/ 159 w 374"/>
                <a:gd name="T15" fmla="*/ 1 h 375"/>
                <a:gd name="T16" fmla="*/ 151 w 374"/>
                <a:gd name="T17" fmla="*/ 54 h 375"/>
                <a:gd name="T18" fmla="*/ 79 w 374"/>
                <a:gd name="T19" fmla="*/ 38 h 375"/>
                <a:gd name="T20" fmla="*/ 71 w 374"/>
                <a:gd name="T21" fmla="*/ 38 h 375"/>
                <a:gd name="T22" fmla="*/ 35 w 374"/>
                <a:gd name="T23" fmla="*/ 77 h 375"/>
                <a:gd name="T24" fmla="*/ 66 w 374"/>
                <a:gd name="T25" fmla="*/ 118 h 375"/>
                <a:gd name="T26" fmla="*/ 5 w 374"/>
                <a:gd name="T27" fmla="*/ 157 h 375"/>
                <a:gd name="T28" fmla="*/ 0 w 374"/>
                <a:gd name="T29" fmla="*/ 163 h 375"/>
                <a:gd name="T30" fmla="*/ 1 w 374"/>
                <a:gd name="T31" fmla="*/ 215 h 375"/>
                <a:gd name="T32" fmla="*/ 52 w 374"/>
                <a:gd name="T33" fmla="*/ 224 h 375"/>
                <a:gd name="T34" fmla="*/ 36 w 374"/>
                <a:gd name="T35" fmla="*/ 294 h 375"/>
                <a:gd name="T36" fmla="*/ 38 w 374"/>
                <a:gd name="T37" fmla="*/ 302 h 375"/>
                <a:gd name="T38" fmla="*/ 74 w 374"/>
                <a:gd name="T39" fmla="*/ 339 h 375"/>
                <a:gd name="T40" fmla="*/ 79 w 374"/>
                <a:gd name="T41" fmla="*/ 337 h 375"/>
                <a:gd name="T42" fmla="*/ 133 w 374"/>
                <a:gd name="T43" fmla="*/ 316 h 375"/>
                <a:gd name="T44" fmla="*/ 156 w 374"/>
                <a:gd name="T45" fmla="*/ 370 h 375"/>
                <a:gd name="T46" fmla="*/ 211 w 374"/>
                <a:gd name="T47" fmla="*/ 375 h 375"/>
                <a:gd name="T48" fmla="*/ 216 w 374"/>
                <a:gd name="T49" fmla="*/ 370 h 375"/>
                <a:gd name="T50" fmla="*/ 239 w 374"/>
                <a:gd name="T51" fmla="*/ 316 h 375"/>
                <a:gd name="T52" fmla="*/ 294 w 374"/>
                <a:gd name="T53" fmla="*/ 337 h 375"/>
                <a:gd name="T54" fmla="*/ 300 w 374"/>
                <a:gd name="T55" fmla="*/ 339 h 375"/>
                <a:gd name="T56" fmla="*/ 336 w 374"/>
                <a:gd name="T57" fmla="*/ 302 h 375"/>
                <a:gd name="T58" fmla="*/ 308 w 374"/>
                <a:gd name="T59" fmla="*/ 257 h 375"/>
                <a:gd name="T60" fmla="*/ 321 w 374"/>
                <a:gd name="T61" fmla="*/ 224 h 375"/>
                <a:gd name="T62" fmla="*/ 372 w 374"/>
                <a:gd name="T63" fmla="*/ 215 h 375"/>
                <a:gd name="T64" fmla="*/ 374 w 374"/>
                <a:gd name="T65" fmla="*/ 163 h 375"/>
                <a:gd name="T66" fmla="*/ 368 w 374"/>
                <a:gd name="T67" fmla="*/ 157 h 375"/>
                <a:gd name="T68" fmla="*/ 179 w 374"/>
                <a:gd name="T69" fmla="*/ 266 h 375"/>
                <a:gd name="T70" fmla="*/ 142 w 374"/>
                <a:gd name="T71" fmla="*/ 254 h 375"/>
                <a:gd name="T72" fmla="*/ 113 w 374"/>
                <a:gd name="T73" fmla="*/ 219 h 375"/>
                <a:gd name="T74" fmla="*/ 108 w 374"/>
                <a:gd name="T75" fmla="*/ 187 h 375"/>
                <a:gd name="T76" fmla="*/ 109 w 374"/>
                <a:gd name="T77" fmla="*/ 171 h 375"/>
                <a:gd name="T78" fmla="*/ 130 w 374"/>
                <a:gd name="T79" fmla="*/ 132 h 375"/>
                <a:gd name="T80" fmla="*/ 171 w 374"/>
                <a:gd name="T81" fmla="*/ 109 h 375"/>
                <a:gd name="T82" fmla="*/ 187 w 374"/>
                <a:gd name="T83" fmla="*/ 108 h 375"/>
                <a:gd name="T84" fmla="*/ 218 w 374"/>
                <a:gd name="T85" fmla="*/ 114 h 375"/>
                <a:gd name="T86" fmla="*/ 253 w 374"/>
                <a:gd name="T87" fmla="*/ 142 h 375"/>
                <a:gd name="T88" fmla="*/ 266 w 374"/>
                <a:gd name="T89" fmla="*/ 179 h 375"/>
                <a:gd name="T90" fmla="*/ 266 w 374"/>
                <a:gd name="T91" fmla="*/ 196 h 375"/>
                <a:gd name="T92" fmla="*/ 253 w 374"/>
                <a:gd name="T93" fmla="*/ 233 h 375"/>
                <a:gd name="T94" fmla="*/ 218 w 374"/>
                <a:gd name="T95" fmla="*/ 261 h 375"/>
                <a:gd name="T96" fmla="*/ 187 w 374"/>
                <a:gd name="T97" fmla="*/ 267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74" h="375">
                  <a:moveTo>
                    <a:pt x="368" y="157"/>
                  </a:moveTo>
                  <a:lnTo>
                    <a:pt x="321" y="151"/>
                  </a:lnTo>
                  <a:lnTo>
                    <a:pt x="321" y="151"/>
                  </a:lnTo>
                  <a:lnTo>
                    <a:pt x="314" y="134"/>
                  </a:lnTo>
                  <a:lnTo>
                    <a:pt x="308" y="118"/>
                  </a:lnTo>
                  <a:lnTo>
                    <a:pt x="336" y="81"/>
                  </a:lnTo>
                  <a:lnTo>
                    <a:pt x="336" y="81"/>
                  </a:lnTo>
                  <a:lnTo>
                    <a:pt x="337" y="77"/>
                  </a:lnTo>
                  <a:lnTo>
                    <a:pt x="336" y="73"/>
                  </a:lnTo>
                  <a:lnTo>
                    <a:pt x="302" y="38"/>
                  </a:lnTo>
                  <a:lnTo>
                    <a:pt x="302" y="38"/>
                  </a:lnTo>
                  <a:lnTo>
                    <a:pt x="298" y="36"/>
                  </a:lnTo>
                  <a:lnTo>
                    <a:pt x="294" y="38"/>
                  </a:lnTo>
                  <a:lnTo>
                    <a:pt x="255" y="67"/>
                  </a:lnTo>
                  <a:lnTo>
                    <a:pt x="255" y="67"/>
                  </a:lnTo>
                  <a:lnTo>
                    <a:pt x="239" y="59"/>
                  </a:lnTo>
                  <a:lnTo>
                    <a:pt x="223" y="54"/>
                  </a:lnTo>
                  <a:lnTo>
                    <a:pt x="216" y="5"/>
                  </a:lnTo>
                  <a:lnTo>
                    <a:pt x="216" y="5"/>
                  </a:lnTo>
                  <a:lnTo>
                    <a:pt x="215" y="1"/>
                  </a:lnTo>
                  <a:lnTo>
                    <a:pt x="211" y="0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59" y="1"/>
                  </a:lnTo>
                  <a:lnTo>
                    <a:pt x="156" y="5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33" y="59"/>
                  </a:lnTo>
                  <a:lnTo>
                    <a:pt x="118" y="67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5" y="36"/>
                  </a:lnTo>
                  <a:lnTo>
                    <a:pt x="71" y="38"/>
                  </a:lnTo>
                  <a:lnTo>
                    <a:pt x="38" y="73"/>
                  </a:lnTo>
                  <a:lnTo>
                    <a:pt x="38" y="73"/>
                  </a:lnTo>
                  <a:lnTo>
                    <a:pt x="35" y="77"/>
                  </a:lnTo>
                  <a:lnTo>
                    <a:pt x="36" y="81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58" y="134"/>
                  </a:lnTo>
                  <a:lnTo>
                    <a:pt x="52" y="151"/>
                  </a:lnTo>
                  <a:lnTo>
                    <a:pt x="5" y="157"/>
                  </a:lnTo>
                  <a:lnTo>
                    <a:pt x="5" y="157"/>
                  </a:lnTo>
                  <a:lnTo>
                    <a:pt x="1" y="160"/>
                  </a:lnTo>
                  <a:lnTo>
                    <a:pt x="0" y="163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1" y="215"/>
                  </a:lnTo>
                  <a:lnTo>
                    <a:pt x="5" y="218"/>
                  </a:lnTo>
                  <a:lnTo>
                    <a:pt x="52" y="224"/>
                  </a:lnTo>
                  <a:lnTo>
                    <a:pt x="52" y="224"/>
                  </a:lnTo>
                  <a:lnTo>
                    <a:pt x="58" y="241"/>
                  </a:lnTo>
                  <a:lnTo>
                    <a:pt x="66" y="257"/>
                  </a:lnTo>
                  <a:lnTo>
                    <a:pt x="36" y="294"/>
                  </a:lnTo>
                  <a:lnTo>
                    <a:pt x="36" y="294"/>
                  </a:lnTo>
                  <a:lnTo>
                    <a:pt x="35" y="298"/>
                  </a:lnTo>
                  <a:lnTo>
                    <a:pt x="38" y="302"/>
                  </a:lnTo>
                  <a:lnTo>
                    <a:pt x="71" y="337"/>
                  </a:lnTo>
                  <a:lnTo>
                    <a:pt x="71" y="337"/>
                  </a:lnTo>
                  <a:lnTo>
                    <a:pt x="74" y="339"/>
                  </a:lnTo>
                  <a:lnTo>
                    <a:pt x="75" y="339"/>
                  </a:lnTo>
                  <a:lnTo>
                    <a:pt x="75" y="339"/>
                  </a:lnTo>
                  <a:lnTo>
                    <a:pt x="79" y="337"/>
                  </a:lnTo>
                  <a:lnTo>
                    <a:pt x="118" y="308"/>
                  </a:lnTo>
                  <a:lnTo>
                    <a:pt x="118" y="308"/>
                  </a:lnTo>
                  <a:lnTo>
                    <a:pt x="133" y="316"/>
                  </a:lnTo>
                  <a:lnTo>
                    <a:pt x="151" y="321"/>
                  </a:lnTo>
                  <a:lnTo>
                    <a:pt x="156" y="370"/>
                  </a:lnTo>
                  <a:lnTo>
                    <a:pt x="156" y="370"/>
                  </a:lnTo>
                  <a:lnTo>
                    <a:pt x="159" y="374"/>
                  </a:lnTo>
                  <a:lnTo>
                    <a:pt x="163" y="375"/>
                  </a:lnTo>
                  <a:lnTo>
                    <a:pt x="211" y="375"/>
                  </a:lnTo>
                  <a:lnTo>
                    <a:pt x="211" y="375"/>
                  </a:lnTo>
                  <a:lnTo>
                    <a:pt x="215" y="374"/>
                  </a:lnTo>
                  <a:lnTo>
                    <a:pt x="216" y="370"/>
                  </a:lnTo>
                  <a:lnTo>
                    <a:pt x="223" y="321"/>
                  </a:lnTo>
                  <a:lnTo>
                    <a:pt x="223" y="321"/>
                  </a:lnTo>
                  <a:lnTo>
                    <a:pt x="239" y="316"/>
                  </a:lnTo>
                  <a:lnTo>
                    <a:pt x="255" y="308"/>
                  </a:lnTo>
                  <a:lnTo>
                    <a:pt x="294" y="337"/>
                  </a:lnTo>
                  <a:lnTo>
                    <a:pt x="294" y="337"/>
                  </a:lnTo>
                  <a:lnTo>
                    <a:pt x="297" y="339"/>
                  </a:lnTo>
                  <a:lnTo>
                    <a:pt x="297" y="339"/>
                  </a:lnTo>
                  <a:lnTo>
                    <a:pt x="300" y="339"/>
                  </a:lnTo>
                  <a:lnTo>
                    <a:pt x="302" y="337"/>
                  </a:lnTo>
                  <a:lnTo>
                    <a:pt x="336" y="302"/>
                  </a:lnTo>
                  <a:lnTo>
                    <a:pt x="336" y="302"/>
                  </a:lnTo>
                  <a:lnTo>
                    <a:pt x="337" y="298"/>
                  </a:lnTo>
                  <a:lnTo>
                    <a:pt x="336" y="294"/>
                  </a:lnTo>
                  <a:lnTo>
                    <a:pt x="308" y="257"/>
                  </a:lnTo>
                  <a:lnTo>
                    <a:pt x="308" y="257"/>
                  </a:lnTo>
                  <a:lnTo>
                    <a:pt x="314" y="241"/>
                  </a:lnTo>
                  <a:lnTo>
                    <a:pt x="321" y="224"/>
                  </a:lnTo>
                  <a:lnTo>
                    <a:pt x="368" y="218"/>
                  </a:lnTo>
                  <a:lnTo>
                    <a:pt x="368" y="218"/>
                  </a:lnTo>
                  <a:lnTo>
                    <a:pt x="372" y="215"/>
                  </a:lnTo>
                  <a:lnTo>
                    <a:pt x="374" y="211"/>
                  </a:lnTo>
                  <a:lnTo>
                    <a:pt x="374" y="163"/>
                  </a:lnTo>
                  <a:lnTo>
                    <a:pt x="374" y="163"/>
                  </a:lnTo>
                  <a:lnTo>
                    <a:pt x="372" y="160"/>
                  </a:lnTo>
                  <a:lnTo>
                    <a:pt x="368" y="157"/>
                  </a:lnTo>
                  <a:lnTo>
                    <a:pt x="368" y="157"/>
                  </a:lnTo>
                  <a:close/>
                  <a:moveTo>
                    <a:pt x="187" y="267"/>
                  </a:moveTo>
                  <a:lnTo>
                    <a:pt x="187" y="267"/>
                  </a:lnTo>
                  <a:lnTo>
                    <a:pt x="179" y="266"/>
                  </a:lnTo>
                  <a:lnTo>
                    <a:pt x="171" y="266"/>
                  </a:lnTo>
                  <a:lnTo>
                    <a:pt x="156" y="261"/>
                  </a:lnTo>
                  <a:lnTo>
                    <a:pt x="142" y="254"/>
                  </a:lnTo>
                  <a:lnTo>
                    <a:pt x="130" y="243"/>
                  </a:lnTo>
                  <a:lnTo>
                    <a:pt x="121" y="233"/>
                  </a:lnTo>
                  <a:lnTo>
                    <a:pt x="113" y="219"/>
                  </a:lnTo>
                  <a:lnTo>
                    <a:pt x="109" y="203"/>
                  </a:lnTo>
                  <a:lnTo>
                    <a:pt x="108" y="196"/>
                  </a:lnTo>
                  <a:lnTo>
                    <a:pt x="108" y="187"/>
                  </a:lnTo>
                  <a:lnTo>
                    <a:pt x="108" y="187"/>
                  </a:lnTo>
                  <a:lnTo>
                    <a:pt x="108" y="179"/>
                  </a:lnTo>
                  <a:lnTo>
                    <a:pt x="109" y="171"/>
                  </a:lnTo>
                  <a:lnTo>
                    <a:pt x="113" y="156"/>
                  </a:lnTo>
                  <a:lnTo>
                    <a:pt x="121" y="142"/>
                  </a:lnTo>
                  <a:lnTo>
                    <a:pt x="130" y="132"/>
                  </a:lnTo>
                  <a:lnTo>
                    <a:pt x="142" y="121"/>
                  </a:lnTo>
                  <a:lnTo>
                    <a:pt x="156" y="114"/>
                  </a:lnTo>
                  <a:lnTo>
                    <a:pt x="171" y="109"/>
                  </a:lnTo>
                  <a:lnTo>
                    <a:pt x="179" y="108"/>
                  </a:lnTo>
                  <a:lnTo>
                    <a:pt x="187" y="108"/>
                  </a:lnTo>
                  <a:lnTo>
                    <a:pt x="187" y="108"/>
                  </a:lnTo>
                  <a:lnTo>
                    <a:pt x="195" y="108"/>
                  </a:lnTo>
                  <a:lnTo>
                    <a:pt x="203" y="109"/>
                  </a:lnTo>
                  <a:lnTo>
                    <a:pt x="218" y="114"/>
                  </a:lnTo>
                  <a:lnTo>
                    <a:pt x="231" y="121"/>
                  </a:lnTo>
                  <a:lnTo>
                    <a:pt x="243" y="132"/>
                  </a:lnTo>
                  <a:lnTo>
                    <a:pt x="253" y="142"/>
                  </a:lnTo>
                  <a:lnTo>
                    <a:pt x="259" y="156"/>
                  </a:lnTo>
                  <a:lnTo>
                    <a:pt x="265" y="171"/>
                  </a:lnTo>
                  <a:lnTo>
                    <a:pt x="266" y="179"/>
                  </a:lnTo>
                  <a:lnTo>
                    <a:pt x="266" y="187"/>
                  </a:lnTo>
                  <a:lnTo>
                    <a:pt x="266" y="187"/>
                  </a:lnTo>
                  <a:lnTo>
                    <a:pt x="266" y="196"/>
                  </a:lnTo>
                  <a:lnTo>
                    <a:pt x="265" y="203"/>
                  </a:lnTo>
                  <a:lnTo>
                    <a:pt x="259" y="219"/>
                  </a:lnTo>
                  <a:lnTo>
                    <a:pt x="253" y="233"/>
                  </a:lnTo>
                  <a:lnTo>
                    <a:pt x="243" y="243"/>
                  </a:lnTo>
                  <a:lnTo>
                    <a:pt x="231" y="254"/>
                  </a:lnTo>
                  <a:lnTo>
                    <a:pt x="218" y="261"/>
                  </a:lnTo>
                  <a:lnTo>
                    <a:pt x="203" y="266"/>
                  </a:lnTo>
                  <a:lnTo>
                    <a:pt x="195" y="266"/>
                  </a:lnTo>
                  <a:lnTo>
                    <a:pt x="187" y="267"/>
                  </a:lnTo>
                  <a:lnTo>
                    <a:pt x="187" y="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7" name="Freeform 216">
            <a:extLst>
              <a:ext uri="{FF2B5EF4-FFF2-40B4-BE49-F238E27FC236}">
                <a16:creationId xmlns:a16="http://schemas.microsoft.com/office/drawing/2014/main" id="{459F8E02-EEE4-E77B-61B4-D03386443BC8}"/>
              </a:ext>
            </a:extLst>
          </p:cNvPr>
          <p:cNvSpPr>
            <a:spLocks noEditPoints="1"/>
          </p:cNvSpPr>
          <p:nvPr/>
        </p:nvSpPr>
        <p:spPr bwMode="auto">
          <a:xfrm>
            <a:off x="7995531" y="4066590"/>
            <a:ext cx="241314" cy="220274"/>
          </a:xfrm>
          <a:custGeom>
            <a:avLst/>
            <a:gdLst>
              <a:gd name="T0" fmla="*/ 321 w 374"/>
              <a:gd name="T1" fmla="*/ 151 h 375"/>
              <a:gd name="T2" fmla="*/ 336 w 374"/>
              <a:gd name="T3" fmla="*/ 81 h 375"/>
              <a:gd name="T4" fmla="*/ 336 w 374"/>
              <a:gd name="T5" fmla="*/ 73 h 375"/>
              <a:gd name="T6" fmla="*/ 298 w 374"/>
              <a:gd name="T7" fmla="*/ 36 h 375"/>
              <a:gd name="T8" fmla="*/ 255 w 374"/>
              <a:gd name="T9" fmla="*/ 67 h 375"/>
              <a:gd name="T10" fmla="*/ 216 w 374"/>
              <a:gd name="T11" fmla="*/ 5 h 375"/>
              <a:gd name="T12" fmla="*/ 211 w 374"/>
              <a:gd name="T13" fmla="*/ 0 h 375"/>
              <a:gd name="T14" fmla="*/ 159 w 374"/>
              <a:gd name="T15" fmla="*/ 1 h 375"/>
              <a:gd name="T16" fmla="*/ 151 w 374"/>
              <a:gd name="T17" fmla="*/ 54 h 375"/>
              <a:gd name="T18" fmla="*/ 79 w 374"/>
              <a:gd name="T19" fmla="*/ 38 h 375"/>
              <a:gd name="T20" fmla="*/ 71 w 374"/>
              <a:gd name="T21" fmla="*/ 38 h 375"/>
              <a:gd name="T22" fmla="*/ 35 w 374"/>
              <a:gd name="T23" fmla="*/ 77 h 375"/>
              <a:gd name="T24" fmla="*/ 66 w 374"/>
              <a:gd name="T25" fmla="*/ 118 h 375"/>
              <a:gd name="T26" fmla="*/ 5 w 374"/>
              <a:gd name="T27" fmla="*/ 157 h 375"/>
              <a:gd name="T28" fmla="*/ 0 w 374"/>
              <a:gd name="T29" fmla="*/ 163 h 375"/>
              <a:gd name="T30" fmla="*/ 1 w 374"/>
              <a:gd name="T31" fmla="*/ 215 h 375"/>
              <a:gd name="T32" fmla="*/ 52 w 374"/>
              <a:gd name="T33" fmla="*/ 224 h 375"/>
              <a:gd name="T34" fmla="*/ 36 w 374"/>
              <a:gd name="T35" fmla="*/ 294 h 375"/>
              <a:gd name="T36" fmla="*/ 38 w 374"/>
              <a:gd name="T37" fmla="*/ 302 h 375"/>
              <a:gd name="T38" fmla="*/ 74 w 374"/>
              <a:gd name="T39" fmla="*/ 339 h 375"/>
              <a:gd name="T40" fmla="*/ 79 w 374"/>
              <a:gd name="T41" fmla="*/ 337 h 375"/>
              <a:gd name="T42" fmla="*/ 133 w 374"/>
              <a:gd name="T43" fmla="*/ 316 h 375"/>
              <a:gd name="T44" fmla="*/ 156 w 374"/>
              <a:gd name="T45" fmla="*/ 370 h 375"/>
              <a:gd name="T46" fmla="*/ 211 w 374"/>
              <a:gd name="T47" fmla="*/ 375 h 375"/>
              <a:gd name="T48" fmla="*/ 216 w 374"/>
              <a:gd name="T49" fmla="*/ 370 h 375"/>
              <a:gd name="T50" fmla="*/ 239 w 374"/>
              <a:gd name="T51" fmla="*/ 316 h 375"/>
              <a:gd name="T52" fmla="*/ 294 w 374"/>
              <a:gd name="T53" fmla="*/ 337 h 375"/>
              <a:gd name="T54" fmla="*/ 300 w 374"/>
              <a:gd name="T55" fmla="*/ 339 h 375"/>
              <a:gd name="T56" fmla="*/ 336 w 374"/>
              <a:gd name="T57" fmla="*/ 302 h 375"/>
              <a:gd name="T58" fmla="*/ 308 w 374"/>
              <a:gd name="T59" fmla="*/ 257 h 375"/>
              <a:gd name="T60" fmla="*/ 321 w 374"/>
              <a:gd name="T61" fmla="*/ 224 h 375"/>
              <a:gd name="T62" fmla="*/ 372 w 374"/>
              <a:gd name="T63" fmla="*/ 215 h 375"/>
              <a:gd name="T64" fmla="*/ 374 w 374"/>
              <a:gd name="T65" fmla="*/ 163 h 375"/>
              <a:gd name="T66" fmla="*/ 368 w 374"/>
              <a:gd name="T67" fmla="*/ 157 h 375"/>
              <a:gd name="T68" fmla="*/ 179 w 374"/>
              <a:gd name="T69" fmla="*/ 266 h 375"/>
              <a:gd name="T70" fmla="*/ 142 w 374"/>
              <a:gd name="T71" fmla="*/ 254 h 375"/>
              <a:gd name="T72" fmla="*/ 113 w 374"/>
              <a:gd name="T73" fmla="*/ 219 h 375"/>
              <a:gd name="T74" fmla="*/ 108 w 374"/>
              <a:gd name="T75" fmla="*/ 187 h 375"/>
              <a:gd name="T76" fmla="*/ 109 w 374"/>
              <a:gd name="T77" fmla="*/ 171 h 375"/>
              <a:gd name="T78" fmla="*/ 130 w 374"/>
              <a:gd name="T79" fmla="*/ 132 h 375"/>
              <a:gd name="T80" fmla="*/ 171 w 374"/>
              <a:gd name="T81" fmla="*/ 109 h 375"/>
              <a:gd name="T82" fmla="*/ 187 w 374"/>
              <a:gd name="T83" fmla="*/ 108 h 375"/>
              <a:gd name="T84" fmla="*/ 218 w 374"/>
              <a:gd name="T85" fmla="*/ 114 h 375"/>
              <a:gd name="T86" fmla="*/ 253 w 374"/>
              <a:gd name="T87" fmla="*/ 142 h 375"/>
              <a:gd name="T88" fmla="*/ 266 w 374"/>
              <a:gd name="T89" fmla="*/ 179 h 375"/>
              <a:gd name="T90" fmla="*/ 266 w 374"/>
              <a:gd name="T91" fmla="*/ 196 h 375"/>
              <a:gd name="T92" fmla="*/ 253 w 374"/>
              <a:gd name="T93" fmla="*/ 233 h 375"/>
              <a:gd name="T94" fmla="*/ 218 w 374"/>
              <a:gd name="T95" fmla="*/ 261 h 375"/>
              <a:gd name="T96" fmla="*/ 187 w 374"/>
              <a:gd name="T97" fmla="*/ 267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74" h="375">
                <a:moveTo>
                  <a:pt x="368" y="157"/>
                </a:moveTo>
                <a:lnTo>
                  <a:pt x="321" y="151"/>
                </a:lnTo>
                <a:lnTo>
                  <a:pt x="321" y="151"/>
                </a:lnTo>
                <a:lnTo>
                  <a:pt x="314" y="134"/>
                </a:lnTo>
                <a:lnTo>
                  <a:pt x="308" y="118"/>
                </a:lnTo>
                <a:lnTo>
                  <a:pt x="336" y="81"/>
                </a:lnTo>
                <a:lnTo>
                  <a:pt x="336" y="81"/>
                </a:lnTo>
                <a:lnTo>
                  <a:pt x="337" y="77"/>
                </a:lnTo>
                <a:lnTo>
                  <a:pt x="336" y="73"/>
                </a:lnTo>
                <a:lnTo>
                  <a:pt x="302" y="38"/>
                </a:lnTo>
                <a:lnTo>
                  <a:pt x="302" y="38"/>
                </a:lnTo>
                <a:lnTo>
                  <a:pt x="298" y="36"/>
                </a:lnTo>
                <a:lnTo>
                  <a:pt x="294" y="38"/>
                </a:lnTo>
                <a:lnTo>
                  <a:pt x="255" y="67"/>
                </a:lnTo>
                <a:lnTo>
                  <a:pt x="255" y="67"/>
                </a:lnTo>
                <a:lnTo>
                  <a:pt x="239" y="59"/>
                </a:lnTo>
                <a:lnTo>
                  <a:pt x="223" y="54"/>
                </a:lnTo>
                <a:lnTo>
                  <a:pt x="216" y="5"/>
                </a:lnTo>
                <a:lnTo>
                  <a:pt x="216" y="5"/>
                </a:lnTo>
                <a:lnTo>
                  <a:pt x="215" y="1"/>
                </a:lnTo>
                <a:lnTo>
                  <a:pt x="211" y="0"/>
                </a:lnTo>
                <a:lnTo>
                  <a:pt x="163" y="0"/>
                </a:lnTo>
                <a:lnTo>
                  <a:pt x="163" y="0"/>
                </a:lnTo>
                <a:lnTo>
                  <a:pt x="159" y="1"/>
                </a:lnTo>
                <a:lnTo>
                  <a:pt x="156" y="5"/>
                </a:lnTo>
                <a:lnTo>
                  <a:pt x="151" y="54"/>
                </a:lnTo>
                <a:lnTo>
                  <a:pt x="151" y="54"/>
                </a:lnTo>
                <a:lnTo>
                  <a:pt x="133" y="59"/>
                </a:lnTo>
                <a:lnTo>
                  <a:pt x="118" y="67"/>
                </a:lnTo>
                <a:lnTo>
                  <a:pt x="79" y="38"/>
                </a:lnTo>
                <a:lnTo>
                  <a:pt x="79" y="38"/>
                </a:lnTo>
                <a:lnTo>
                  <a:pt x="75" y="36"/>
                </a:lnTo>
                <a:lnTo>
                  <a:pt x="71" y="38"/>
                </a:lnTo>
                <a:lnTo>
                  <a:pt x="38" y="73"/>
                </a:lnTo>
                <a:lnTo>
                  <a:pt x="38" y="73"/>
                </a:lnTo>
                <a:lnTo>
                  <a:pt x="35" y="77"/>
                </a:lnTo>
                <a:lnTo>
                  <a:pt x="36" y="81"/>
                </a:lnTo>
                <a:lnTo>
                  <a:pt x="66" y="118"/>
                </a:lnTo>
                <a:lnTo>
                  <a:pt x="66" y="118"/>
                </a:lnTo>
                <a:lnTo>
                  <a:pt x="58" y="134"/>
                </a:lnTo>
                <a:lnTo>
                  <a:pt x="52" y="151"/>
                </a:lnTo>
                <a:lnTo>
                  <a:pt x="5" y="157"/>
                </a:lnTo>
                <a:lnTo>
                  <a:pt x="5" y="157"/>
                </a:lnTo>
                <a:lnTo>
                  <a:pt x="1" y="160"/>
                </a:lnTo>
                <a:lnTo>
                  <a:pt x="0" y="163"/>
                </a:lnTo>
                <a:lnTo>
                  <a:pt x="0" y="211"/>
                </a:lnTo>
                <a:lnTo>
                  <a:pt x="0" y="211"/>
                </a:lnTo>
                <a:lnTo>
                  <a:pt x="1" y="215"/>
                </a:lnTo>
                <a:lnTo>
                  <a:pt x="5" y="218"/>
                </a:lnTo>
                <a:lnTo>
                  <a:pt x="52" y="224"/>
                </a:lnTo>
                <a:lnTo>
                  <a:pt x="52" y="224"/>
                </a:lnTo>
                <a:lnTo>
                  <a:pt x="58" y="241"/>
                </a:lnTo>
                <a:lnTo>
                  <a:pt x="66" y="257"/>
                </a:lnTo>
                <a:lnTo>
                  <a:pt x="36" y="294"/>
                </a:lnTo>
                <a:lnTo>
                  <a:pt x="36" y="294"/>
                </a:lnTo>
                <a:lnTo>
                  <a:pt x="35" y="298"/>
                </a:lnTo>
                <a:lnTo>
                  <a:pt x="38" y="302"/>
                </a:lnTo>
                <a:lnTo>
                  <a:pt x="71" y="337"/>
                </a:lnTo>
                <a:lnTo>
                  <a:pt x="71" y="337"/>
                </a:lnTo>
                <a:lnTo>
                  <a:pt x="74" y="339"/>
                </a:lnTo>
                <a:lnTo>
                  <a:pt x="75" y="339"/>
                </a:lnTo>
                <a:lnTo>
                  <a:pt x="75" y="339"/>
                </a:lnTo>
                <a:lnTo>
                  <a:pt x="79" y="337"/>
                </a:lnTo>
                <a:lnTo>
                  <a:pt x="118" y="308"/>
                </a:lnTo>
                <a:lnTo>
                  <a:pt x="118" y="308"/>
                </a:lnTo>
                <a:lnTo>
                  <a:pt x="133" y="316"/>
                </a:lnTo>
                <a:lnTo>
                  <a:pt x="151" y="321"/>
                </a:lnTo>
                <a:lnTo>
                  <a:pt x="156" y="370"/>
                </a:lnTo>
                <a:lnTo>
                  <a:pt x="156" y="370"/>
                </a:lnTo>
                <a:lnTo>
                  <a:pt x="159" y="374"/>
                </a:lnTo>
                <a:lnTo>
                  <a:pt x="163" y="375"/>
                </a:lnTo>
                <a:lnTo>
                  <a:pt x="211" y="375"/>
                </a:lnTo>
                <a:lnTo>
                  <a:pt x="211" y="375"/>
                </a:lnTo>
                <a:lnTo>
                  <a:pt x="215" y="374"/>
                </a:lnTo>
                <a:lnTo>
                  <a:pt x="216" y="370"/>
                </a:lnTo>
                <a:lnTo>
                  <a:pt x="223" y="321"/>
                </a:lnTo>
                <a:lnTo>
                  <a:pt x="223" y="321"/>
                </a:lnTo>
                <a:lnTo>
                  <a:pt x="239" y="316"/>
                </a:lnTo>
                <a:lnTo>
                  <a:pt x="255" y="308"/>
                </a:lnTo>
                <a:lnTo>
                  <a:pt x="294" y="337"/>
                </a:lnTo>
                <a:lnTo>
                  <a:pt x="294" y="337"/>
                </a:lnTo>
                <a:lnTo>
                  <a:pt x="297" y="339"/>
                </a:lnTo>
                <a:lnTo>
                  <a:pt x="297" y="339"/>
                </a:lnTo>
                <a:lnTo>
                  <a:pt x="300" y="339"/>
                </a:lnTo>
                <a:lnTo>
                  <a:pt x="302" y="337"/>
                </a:lnTo>
                <a:lnTo>
                  <a:pt x="336" y="302"/>
                </a:lnTo>
                <a:lnTo>
                  <a:pt x="336" y="302"/>
                </a:lnTo>
                <a:lnTo>
                  <a:pt x="337" y="298"/>
                </a:lnTo>
                <a:lnTo>
                  <a:pt x="336" y="294"/>
                </a:lnTo>
                <a:lnTo>
                  <a:pt x="308" y="257"/>
                </a:lnTo>
                <a:lnTo>
                  <a:pt x="308" y="257"/>
                </a:lnTo>
                <a:lnTo>
                  <a:pt x="314" y="241"/>
                </a:lnTo>
                <a:lnTo>
                  <a:pt x="321" y="224"/>
                </a:lnTo>
                <a:lnTo>
                  <a:pt x="368" y="218"/>
                </a:lnTo>
                <a:lnTo>
                  <a:pt x="368" y="218"/>
                </a:lnTo>
                <a:lnTo>
                  <a:pt x="372" y="215"/>
                </a:lnTo>
                <a:lnTo>
                  <a:pt x="374" y="211"/>
                </a:lnTo>
                <a:lnTo>
                  <a:pt x="374" y="163"/>
                </a:lnTo>
                <a:lnTo>
                  <a:pt x="374" y="163"/>
                </a:lnTo>
                <a:lnTo>
                  <a:pt x="372" y="160"/>
                </a:lnTo>
                <a:lnTo>
                  <a:pt x="368" y="157"/>
                </a:lnTo>
                <a:lnTo>
                  <a:pt x="368" y="157"/>
                </a:lnTo>
                <a:close/>
                <a:moveTo>
                  <a:pt x="187" y="267"/>
                </a:moveTo>
                <a:lnTo>
                  <a:pt x="187" y="267"/>
                </a:lnTo>
                <a:lnTo>
                  <a:pt x="179" y="266"/>
                </a:lnTo>
                <a:lnTo>
                  <a:pt x="171" y="266"/>
                </a:lnTo>
                <a:lnTo>
                  <a:pt x="156" y="261"/>
                </a:lnTo>
                <a:lnTo>
                  <a:pt x="142" y="254"/>
                </a:lnTo>
                <a:lnTo>
                  <a:pt x="130" y="243"/>
                </a:lnTo>
                <a:lnTo>
                  <a:pt x="121" y="233"/>
                </a:lnTo>
                <a:lnTo>
                  <a:pt x="113" y="219"/>
                </a:lnTo>
                <a:lnTo>
                  <a:pt x="109" y="203"/>
                </a:lnTo>
                <a:lnTo>
                  <a:pt x="108" y="196"/>
                </a:lnTo>
                <a:lnTo>
                  <a:pt x="108" y="187"/>
                </a:lnTo>
                <a:lnTo>
                  <a:pt x="108" y="187"/>
                </a:lnTo>
                <a:lnTo>
                  <a:pt x="108" y="179"/>
                </a:lnTo>
                <a:lnTo>
                  <a:pt x="109" y="171"/>
                </a:lnTo>
                <a:lnTo>
                  <a:pt x="113" y="156"/>
                </a:lnTo>
                <a:lnTo>
                  <a:pt x="121" y="142"/>
                </a:lnTo>
                <a:lnTo>
                  <a:pt x="130" y="132"/>
                </a:lnTo>
                <a:lnTo>
                  <a:pt x="142" y="121"/>
                </a:lnTo>
                <a:lnTo>
                  <a:pt x="156" y="114"/>
                </a:lnTo>
                <a:lnTo>
                  <a:pt x="171" y="109"/>
                </a:lnTo>
                <a:lnTo>
                  <a:pt x="179" y="108"/>
                </a:lnTo>
                <a:lnTo>
                  <a:pt x="187" y="108"/>
                </a:lnTo>
                <a:lnTo>
                  <a:pt x="187" y="108"/>
                </a:lnTo>
                <a:lnTo>
                  <a:pt x="195" y="108"/>
                </a:lnTo>
                <a:lnTo>
                  <a:pt x="203" y="109"/>
                </a:lnTo>
                <a:lnTo>
                  <a:pt x="218" y="114"/>
                </a:lnTo>
                <a:lnTo>
                  <a:pt x="231" y="121"/>
                </a:lnTo>
                <a:lnTo>
                  <a:pt x="243" y="132"/>
                </a:lnTo>
                <a:lnTo>
                  <a:pt x="253" y="142"/>
                </a:lnTo>
                <a:lnTo>
                  <a:pt x="259" y="156"/>
                </a:lnTo>
                <a:lnTo>
                  <a:pt x="265" y="171"/>
                </a:lnTo>
                <a:lnTo>
                  <a:pt x="266" y="179"/>
                </a:lnTo>
                <a:lnTo>
                  <a:pt x="266" y="187"/>
                </a:lnTo>
                <a:lnTo>
                  <a:pt x="266" y="187"/>
                </a:lnTo>
                <a:lnTo>
                  <a:pt x="266" y="196"/>
                </a:lnTo>
                <a:lnTo>
                  <a:pt x="265" y="203"/>
                </a:lnTo>
                <a:lnTo>
                  <a:pt x="259" y="219"/>
                </a:lnTo>
                <a:lnTo>
                  <a:pt x="253" y="233"/>
                </a:lnTo>
                <a:lnTo>
                  <a:pt x="243" y="243"/>
                </a:lnTo>
                <a:lnTo>
                  <a:pt x="231" y="254"/>
                </a:lnTo>
                <a:lnTo>
                  <a:pt x="218" y="261"/>
                </a:lnTo>
                <a:lnTo>
                  <a:pt x="203" y="266"/>
                </a:lnTo>
                <a:lnTo>
                  <a:pt x="195" y="266"/>
                </a:lnTo>
                <a:lnTo>
                  <a:pt x="187" y="267"/>
                </a:lnTo>
                <a:lnTo>
                  <a:pt x="187" y="267"/>
                </a:lnTo>
                <a:close/>
              </a:path>
            </a:pathLst>
          </a:cu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8" name="Rectangle 160">
            <a:extLst>
              <a:ext uri="{FF2B5EF4-FFF2-40B4-BE49-F238E27FC236}">
                <a16:creationId xmlns:a16="http://schemas.microsoft.com/office/drawing/2014/main" id="{2DABCA52-6E3D-90DA-B109-B3D8D5A2F15B}"/>
              </a:ext>
            </a:extLst>
          </p:cNvPr>
          <p:cNvSpPr/>
          <p:nvPr/>
        </p:nvSpPr>
        <p:spPr>
          <a:xfrm>
            <a:off x="5800398" y="3630668"/>
            <a:ext cx="1016090" cy="303101"/>
          </a:xfrm>
          <a:prstGeom prst="rect">
            <a:avLst/>
          </a:prstGeom>
          <a:solidFill>
            <a:srgbClr val="FFCD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800" b="1" dirty="0">
                <a:solidFill>
                  <a:schemeClr val="tx1"/>
                </a:solidFill>
              </a:rPr>
              <a:t>WSO2 API Gateway</a:t>
            </a:r>
            <a:endParaRPr lang="en-US" sz="800" b="1" dirty="0">
              <a:solidFill>
                <a:schemeClr val="tx1"/>
              </a:solidFill>
            </a:endParaRPr>
          </a:p>
        </p:txBody>
      </p:sp>
      <p:sp>
        <p:nvSpPr>
          <p:cNvPr id="119" name="Rounded Rectangle 169">
            <a:extLst>
              <a:ext uri="{FF2B5EF4-FFF2-40B4-BE49-F238E27FC236}">
                <a16:creationId xmlns:a16="http://schemas.microsoft.com/office/drawing/2014/main" id="{C88BF418-03AC-930D-5B03-6846209B7ACE}"/>
              </a:ext>
            </a:extLst>
          </p:cNvPr>
          <p:cNvSpPr/>
          <p:nvPr/>
        </p:nvSpPr>
        <p:spPr>
          <a:xfrm>
            <a:off x="5814904" y="4649443"/>
            <a:ext cx="5378079" cy="819802"/>
          </a:xfrm>
          <a:prstGeom prst="roundRect">
            <a:avLst>
              <a:gd name="adj" fmla="val 10984"/>
            </a:avLst>
          </a:prstGeom>
          <a:solidFill>
            <a:srgbClr val="00B0F0">
              <a:alpha val="10000"/>
            </a:srgbClr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r"/>
            <a:r>
              <a:rPr lang="hu-HU" sz="1200" dirty="0">
                <a:solidFill>
                  <a:schemeClr val="tx1"/>
                </a:solidFill>
              </a:rPr>
              <a:t>Back-End </a:t>
            </a:r>
            <a:r>
              <a:rPr lang="hu-HU" sz="1200" dirty="0" err="1">
                <a:solidFill>
                  <a:schemeClr val="tx1"/>
                </a:solidFill>
              </a:rPr>
              <a:t>Zon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0" name="Rectangle 390">
            <a:extLst>
              <a:ext uri="{FF2B5EF4-FFF2-40B4-BE49-F238E27FC236}">
                <a16:creationId xmlns:a16="http://schemas.microsoft.com/office/drawing/2014/main" id="{A41CBE4A-F6C3-B9A8-45B1-FE53DC3EB2C5}"/>
              </a:ext>
            </a:extLst>
          </p:cNvPr>
          <p:cNvSpPr/>
          <p:nvPr/>
        </p:nvSpPr>
        <p:spPr>
          <a:xfrm>
            <a:off x="6153112" y="4834807"/>
            <a:ext cx="1255465" cy="4373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dirty="0">
              <a:solidFill>
                <a:schemeClr val="tx1"/>
              </a:solidFill>
            </a:endParaRPr>
          </a:p>
        </p:txBody>
      </p:sp>
      <p:sp>
        <p:nvSpPr>
          <p:cNvPr id="121" name="Rectangle 390">
            <a:extLst>
              <a:ext uri="{FF2B5EF4-FFF2-40B4-BE49-F238E27FC236}">
                <a16:creationId xmlns:a16="http://schemas.microsoft.com/office/drawing/2014/main" id="{128633DB-C5E6-6F6F-B02F-66F601348C49}"/>
              </a:ext>
            </a:extLst>
          </p:cNvPr>
          <p:cNvSpPr/>
          <p:nvPr/>
        </p:nvSpPr>
        <p:spPr>
          <a:xfrm>
            <a:off x="6290272" y="4767751"/>
            <a:ext cx="1255465" cy="4373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dirty="0">
              <a:solidFill>
                <a:schemeClr val="tx1"/>
              </a:solidFill>
            </a:endParaRP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41A93147-6253-E497-3E74-A16A35B9340A}"/>
              </a:ext>
            </a:extLst>
          </p:cNvPr>
          <p:cNvGrpSpPr/>
          <p:nvPr/>
        </p:nvGrpSpPr>
        <p:grpSpPr>
          <a:xfrm>
            <a:off x="6026778" y="4914736"/>
            <a:ext cx="1255465" cy="437362"/>
            <a:chOff x="2987070" y="5501830"/>
            <a:chExt cx="1255465" cy="437362"/>
          </a:xfrm>
          <a:solidFill>
            <a:srgbClr val="6FC2B4"/>
          </a:solidFill>
        </p:grpSpPr>
        <p:sp>
          <p:nvSpPr>
            <p:cNvPr id="123" name="Rectangle 390">
              <a:extLst>
                <a:ext uri="{FF2B5EF4-FFF2-40B4-BE49-F238E27FC236}">
                  <a16:creationId xmlns:a16="http://schemas.microsoft.com/office/drawing/2014/main" id="{CAFFFC76-7DAE-2DB0-A243-DACD71CC70B5}"/>
                </a:ext>
              </a:extLst>
            </p:cNvPr>
            <p:cNvSpPr/>
            <p:nvPr/>
          </p:nvSpPr>
          <p:spPr>
            <a:xfrm>
              <a:off x="2987070" y="5501830"/>
              <a:ext cx="1255465" cy="437362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hu-HU" sz="800" b="1" dirty="0">
                  <a:solidFill>
                    <a:schemeClr val="tx1"/>
                  </a:solidFill>
                </a:rPr>
                <a:t>!</a:t>
              </a:r>
              <a:r>
                <a:rPr lang="hu-HU" sz="800" b="1" dirty="0" err="1">
                  <a:solidFill>
                    <a:schemeClr val="tx1"/>
                  </a:solidFill>
                </a:rPr>
                <a:t>loadMe</a:t>
              </a:r>
              <a:r>
                <a:rPr lang="hu-HU" sz="800" b="1" dirty="0">
                  <a:solidFill>
                    <a:schemeClr val="tx1"/>
                  </a:solidFill>
                </a:rPr>
                <a:t> CMDB</a:t>
              </a:r>
            </a:p>
            <a:p>
              <a:pPr algn="r"/>
              <a:r>
                <a:rPr lang="hu-HU" sz="800" b="1" dirty="0">
                  <a:solidFill>
                    <a:schemeClr val="tx1"/>
                  </a:solidFill>
                </a:rPr>
                <a:t>Back-End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124" name="Freeform 216">
              <a:extLst>
                <a:ext uri="{FF2B5EF4-FFF2-40B4-BE49-F238E27FC236}">
                  <a16:creationId xmlns:a16="http://schemas.microsoft.com/office/drawing/2014/main" id="{4554990C-2950-E19F-BB2D-4770C9B3D3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9516" y="5585180"/>
              <a:ext cx="255551" cy="255086"/>
            </a:xfrm>
            <a:custGeom>
              <a:avLst/>
              <a:gdLst>
                <a:gd name="T0" fmla="*/ 321 w 374"/>
                <a:gd name="T1" fmla="*/ 151 h 375"/>
                <a:gd name="T2" fmla="*/ 336 w 374"/>
                <a:gd name="T3" fmla="*/ 81 h 375"/>
                <a:gd name="T4" fmla="*/ 336 w 374"/>
                <a:gd name="T5" fmla="*/ 73 h 375"/>
                <a:gd name="T6" fmla="*/ 298 w 374"/>
                <a:gd name="T7" fmla="*/ 36 h 375"/>
                <a:gd name="T8" fmla="*/ 255 w 374"/>
                <a:gd name="T9" fmla="*/ 67 h 375"/>
                <a:gd name="T10" fmla="*/ 216 w 374"/>
                <a:gd name="T11" fmla="*/ 5 h 375"/>
                <a:gd name="T12" fmla="*/ 211 w 374"/>
                <a:gd name="T13" fmla="*/ 0 h 375"/>
                <a:gd name="T14" fmla="*/ 159 w 374"/>
                <a:gd name="T15" fmla="*/ 1 h 375"/>
                <a:gd name="T16" fmla="*/ 151 w 374"/>
                <a:gd name="T17" fmla="*/ 54 h 375"/>
                <a:gd name="T18" fmla="*/ 79 w 374"/>
                <a:gd name="T19" fmla="*/ 38 h 375"/>
                <a:gd name="T20" fmla="*/ 71 w 374"/>
                <a:gd name="T21" fmla="*/ 38 h 375"/>
                <a:gd name="T22" fmla="*/ 35 w 374"/>
                <a:gd name="T23" fmla="*/ 77 h 375"/>
                <a:gd name="T24" fmla="*/ 66 w 374"/>
                <a:gd name="T25" fmla="*/ 118 h 375"/>
                <a:gd name="T26" fmla="*/ 5 w 374"/>
                <a:gd name="T27" fmla="*/ 157 h 375"/>
                <a:gd name="T28" fmla="*/ 0 w 374"/>
                <a:gd name="T29" fmla="*/ 163 h 375"/>
                <a:gd name="T30" fmla="*/ 1 w 374"/>
                <a:gd name="T31" fmla="*/ 215 h 375"/>
                <a:gd name="T32" fmla="*/ 52 w 374"/>
                <a:gd name="T33" fmla="*/ 224 h 375"/>
                <a:gd name="T34" fmla="*/ 36 w 374"/>
                <a:gd name="T35" fmla="*/ 294 h 375"/>
                <a:gd name="T36" fmla="*/ 38 w 374"/>
                <a:gd name="T37" fmla="*/ 302 h 375"/>
                <a:gd name="T38" fmla="*/ 74 w 374"/>
                <a:gd name="T39" fmla="*/ 339 h 375"/>
                <a:gd name="T40" fmla="*/ 79 w 374"/>
                <a:gd name="T41" fmla="*/ 337 h 375"/>
                <a:gd name="T42" fmla="*/ 133 w 374"/>
                <a:gd name="T43" fmla="*/ 316 h 375"/>
                <a:gd name="T44" fmla="*/ 156 w 374"/>
                <a:gd name="T45" fmla="*/ 370 h 375"/>
                <a:gd name="T46" fmla="*/ 211 w 374"/>
                <a:gd name="T47" fmla="*/ 375 h 375"/>
                <a:gd name="T48" fmla="*/ 216 w 374"/>
                <a:gd name="T49" fmla="*/ 370 h 375"/>
                <a:gd name="T50" fmla="*/ 239 w 374"/>
                <a:gd name="T51" fmla="*/ 316 h 375"/>
                <a:gd name="T52" fmla="*/ 294 w 374"/>
                <a:gd name="T53" fmla="*/ 337 h 375"/>
                <a:gd name="T54" fmla="*/ 300 w 374"/>
                <a:gd name="T55" fmla="*/ 339 h 375"/>
                <a:gd name="T56" fmla="*/ 336 w 374"/>
                <a:gd name="T57" fmla="*/ 302 h 375"/>
                <a:gd name="T58" fmla="*/ 308 w 374"/>
                <a:gd name="T59" fmla="*/ 257 h 375"/>
                <a:gd name="T60" fmla="*/ 321 w 374"/>
                <a:gd name="T61" fmla="*/ 224 h 375"/>
                <a:gd name="T62" fmla="*/ 372 w 374"/>
                <a:gd name="T63" fmla="*/ 215 h 375"/>
                <a:gd name="T64" fmla="*/ 374 w 374"/>
                <a:gd name="T65" fmla="*/ 163 h 375"/>
                <a:gd name="T66" fmla="*/ 368 w 374"/>
                <a:gd name="T67" fmla="*/ 157 h 375"/>
                <a:gd name="T68" fmla="*/ 179 w 374"/>
                <a:gd name="T69" fmla="*/ 266 h 375"/>
                <a:gd name="T70" fmla="*/ 142 w 374"/>
                <a:gd name="T71" fmla="*/ 254 h 375"/>
                <a:gd name="T72" fmla="*/ 113 w 374"/>
                <a:gd name="T73" fmla="*/ 219 h 375"/>
                <a:gd name="T74" fmla="*/ 108 w 374"/>
                <a:gd name="T75" fmla="*/ 187 h 375"/>
                <a:gd name="T76" fmla="*/ 109 w 374"/>
                <a:gd name="T77" fmla="*/ 171 h 375"/>
                <a:gd name="T78" fmla="*/ 130 w 374"/>
                <a:gd name="T79" fmla="*/ 132 h 375"/>
                <a:gd name="T80" fmla="*/ 171 w 374"/>
                <a:gd name="T81" fmla="*/ 109 h 375"/>
                <a:gd name="T82" fmla="*/ 187 w 374"/>
                <a:gd name="T83" fmla="*/ 108 h 375"/>
                <a:gd name="T84" fmla="*/ 218 w 374"/>
                <a:gd name="T85" fmla="*/ 114 h 375"/>
                <a:gd name="T86" fmla="*/ 253 w 374"/>
                <a:gd name="T87" fmla="*/ 142 h 375"/>
                <a:gd name="T88" fmla="*/ 266 w 374"/>
                <a:gd name="T89" fmla="*/ 179 h 375"/>
                <a:gd name="T90" fmla="*/ 266 w 374"/>
                <a:gd name="T91" fmla="*/ 196 h 375"/>
                <a:gd name="T92" fmla="*/ 253 w 374"/>
                <a:gd name="T93" fmla="*/ 233 h 375"/>
                <a:gd name="T94" fmla="*/ 218 w 374"/>
                <a:gd name="T95" fmla="*/ 261 h 375"/>
                <a:gd name="T96" fmla="*/ 187 w 374"/>
                <a:gd name="T97" fmla="*/ 267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74" h="375">
                  <a:moveTo>
                    <a:pt x="368" y="157"/>
                  </a:moveTo>
                  <a:lnTo>
                    <a:pt x="321" y="151"/>
                  </a:lnTo>
                  <a:lnTo>
                    <a:pt x="321" y="151"/>
                  </a:lnTo>
                  <a:lnTo>
                    <a:pt x="314" y="134"/>
                  </a:lnTo>
                  <a:lnTo>
                    <a:pt x="308" y="118"/>
                  </a:lnTo>
                  <a:lnTo>
                    <a:pt x="336" y="81"/>
                  </a:lnTo>
                  <a:lnTo>
                    <a:pt x="336" y="81"/>
                  </a:lnTo>
                  <a:lnTo>
                    <a:pt x="337" y="77"/>
                  </a:lnTo>
                  <a:lnTo>
                    <a:pt x="336" y="73"/>
                  </a:lnTo>
                  <a:lnTo>
                    <a:pt x="302" y="38"/>
                  </a:lnTo>
                  <a:lnTo>
                    <a:pt x="302" y="38"/>
                  </a:lnTo>
                  <a:lnTo>
                    <a:pt x="298" y="36"/>
                  </a:lnTo>
                  <a:lnTo>
                    <a:pt x="294" y="38"/>
                  </a:lnTo>
                  <a:lnTo>
                    <a:pt x="255" y="67"/>
                  </a:lnTo>
                  <a:lnTo>
                    <a:pt x="255" y="67"/>
                  </a:lnTo>
                  <a:lnTo>
                    <a:pt x="239" y="59"/>
                  </a:lnTo>
                  <a:lnTo>
                    <a:pt x="223" y="54"/>
                  </a:lnTo>
                  <a:lnTo>
                    <a:pt x="216" y="5"/>
                  </a:lnTo>
                  <a:lnTo>
                    <a:pt x="216" y="5"/>
                  </a:lnTo>
                  <a:lnTo>
                    <a:pt x="215" y="1"/>
                  </a:lnTo>
                  <a:lnTo>
                    <a:pt x="211" y="0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59" y="1"/>
                  </a:lnTo>
                  <a:lnTo>
                    <a:pt x="156" y="5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33" y="59"/>
                  </a:lnTo>
                  <a:lnTo>
                    <a:pt x="118" y="67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5" y="36"/>
                  </a:lnTo>
                  <a:lnTo>
                    <a:pt x="71" y="38"/>
                  </a:lnTo>
                  <a:lnTo>
                    <a:pt x="38" y="73"/>
                  </a:lnTo>
                  <a:lnTo>
                    <a:pt x="38" y="73"/>
                  </a:lnTo>
                  <a:lnTo>
                    <a:pt x="35" y="77"/>
                  </a:lnTo>
                  <a:lnTo>
                    <a:pt x="36" y="81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58" y="134"/>
                  </a:lnTo>
                  <a:lnTo>
                    <a:pt x="52" y="151"/>
                  </a:lnTo>
                  <a:lnTo>
                    <a:pt x="5" y="157"/>
                  </a:lnTo>
                  <a:lnTo>
                    <a:pt x="5" y="157"/>
                  </a:lnTo>
                  <a:lnTo>
                    <a:pt x="1" y="160"/>
                  </a:lnTo>
                  <a:lnTo>
                    <a:pt x="0" y="163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1" y="215"/>
                  </a:lnTo>
                  <a:lnTo>
                    <a:pt x="5" y="218"/>
                  </a:lnTo>
                  <a:lnTo>
                    <a:pt x="52" y="224"/>
                  </a:lnTo>
                  <a:lnTo>
                    <a:pt x="52" y="224"/>
                  </a:lnTo>
                  <a:lnTo>
                    <a:pt x="58" y="241"/>
                  </a:lnTo>
                  <a:lnTo>
                    <a:pt x="66" y="257"/>
                  </a:lnTo>
                  <a:lnTo>
                    <a:pt x="36" y="294"/>
                  </a:lnTo>
                  <a:lnTo>
                    <a:pt x="36" y="294"/>
                  </a:lnTo>
                  <a:lnTo>
                    <a:pt x="35" y="298"/>
                  </a:lnTo>
                  <a:lnTo>
                    <a:pt x="38" y="302"/>
                  </a:lnTo>
                  <a:lnTo>
                    <a:pt x="71" y="337"/>
                  </a:lnTo>
                  <a:lnTo>
                    <a:pt x="71" y="337"/>
                  </a:lnTo>
                  <a:lnTo>
                    <a:pt x="74" y="339"/>
                  </a:lnTo>
                  <a:lnTo>
                    <a:pt x="75" y="339"/>
                  </a:lnTo>
                  <a:lnTo>
                    <a:pt x="75" y="339"/>
                  </a:lnTo>
                  <a:lnTo>
                    <a:pt x="79" y="337"/>
                  </a:lnTo>
                  <a:lnTo>
                    <a:pt x="118" y="308"/>
                  </a:lnTo>
                  <a:lnTo>
                    <a:pt x="118" y="308"/>
                  </a:lnTo>
                  <a:lnTo>
                    <a:pt x="133" y="316"/>
                  </a:lnTo>
                  <a:lnTo>
                    <a:pt x="151" y="321"/>
                  </a:lnTo>
                  <a:lnTo>
                    <a:pt x="156" y="370"/>
                  </a:lnTo>
                  <a:lnTo>
                    <a:pt x="156" y="370"/>
                  </a:lnTo>
                  <a:lnTo>
                    <a:pt x="159" y="374"/>
                  </a:lnTo>
                  <a:lnTo>
                    <a:pt x="163" y="375"/>
                  </a:lnTo>
                  <a:lnTo>
                    <a:pt x="211" y="375"/>
                  </a:lnTo>
                  <a:lnTo>
                    <a:pt x="211" y="375"/>
                  </a:lnTo>
                  <a:lnTo>
                    <a:pt x="215" y="374"/>
                  </a:lnTo>
                  <a:lnTo>
                    <a:pt x="216" y="370"/>
                  </a:lnTo>
                  <a:lnTo>
                    <a:pt x="223" y="321"/>
                  </a:lnTo>
                  <a:lnTo>
                    <a:pt x="223" y="321"/>
                  </a:lnTo>
                  <a:lnTo>
                    <a:pt x="239" y="316"/>
                  </a:lnTo>
                  <a:lnTo>
                    <a:pt x="255" y="308"/>
                  </a:lnTo>
                  <a:lnTo>
                    <a:pt x="294" y="337"/>
                  </a:lnTo>
                  <a:lnTo>
                    <a:pt x="294" y="337"/>
                  </a:lnTo>
                  <a:lnTo>
                    <a:pt x="297" y="339"/>
                  </a:lnTo>
                  <a:lnTo>
                    <a:pt x="297" y="339"/>
                  </a:lnTo>
                  <a:lnTo>
                    <a:pt x="300" y="339"/>
                  </a:lnTo>
                  <a:lnTo>
                    <a:pt x="302" y="337"/>
                  </a:lnTo>
                  <a:lnTo>
                    <a:pt x="336" y="302"/>
                  </a:lnTo>
                  <a:lnTo>
                    <a:pt x="336" y="302"/>
                  </a:lnTo>
                  <a:lnTo>
                    <a:pt x="337" y="298"/>
                  </a:lnTo>
                  <a:lnTo>
                    <a:pt x="336" y="294"/>
                  </a:lnTo>
                  <a:lnTo>
                    <a:pt x="308" y="257"/>
                  </a:lnTo>
                  <a:lnTo>
                    <a:pt x="308" y="257"/>
                  </a:lnTo>
                  <a:lnTo>
                    <a:pt x="314" y="241"/>
                  </a:lnTo>
                  <a:lnTo>
                    <a:pt x="321" y="224"/>
                  </a:lnTo>
                  <a:lnTo>
                    <a:pt x="368" y="218"/>
                  </a:lnTo>
                  <a:lnTo>
                    <a:pt x="368" y="218"/>
                  </a:lnTo>
                  <a:lnTo>
                    <a:pt x="372" y="215"/>
                  </a:lnTo>
                  <a:lnTo>
                    <a:pt x="374" y="211"/>
                  </a:lnTo>
                  <a:lnTo>
                    <a:pt x="374" y="163"/>
                  </a:lnTo>
                  <a:lnTo>
                    <a:pt x="374" y="163"/>
                  </a:lnTo>
                  <a:lnTo>
                    <a:pt x="372" y="160"/>
                  </a:lnTo>
                  <a:lnTo>
                    <a:pt x="368" y="157"/>
                  </a:lnTo>
                  <a:lnTo>
                    <a:pt x="368" y="157"/>
                  </a:lnTo>
                  <a:close/>
                  <a:moveTo>
                    <a:pt x="187" y="267"/>
                  </a:moveTo>
                  <a:lnTo>
                    <a:pt x="187" y="267"/>
                  </a:lnTo>
                  <a:lnTo>
                    <a:pt x="179" y="266"/>
                  </a:lnTo>
                  <a:lnTo>
                    <a:pt x="171" y="266"/>
                  </a:lnTo>
                  <a:lnTo>
                    <a:pt x="156" y="261"/>
                  </a:lnTo>
                  <a:lnTo>
                    <a:pt x="142" y="254"/>
                  </a:lnTo>
                  <a:lnTo>
                    <a:pt x="130" y="243"/>
                  </a:lnTo>
                  <a:lnTo>
                    <a:pt x="121" y="233"/>
                  </a:lnTo>
                  <a:lnTo>
                    <a:pt x="113" y="219"/>
                  </a:lnTo>
                  <a:lnTo>
                    <a:pt x="109" y="203"/>
                  </a:lnTo>
                  <a:lnTo>
                    <a:pt x="108" y="196"/>
                  </a:lnTo>
                  <a:lnTo>
                    <a:pt x="108" y="187"/>
                  </a:lnTo>
                  <a:lnTo>
                    <a:pt x="108" y="187"/>
                  </a:lnTo>
                  <a:lnTo>
                    <a:pt x="108" y="179"/>
                  </a:lnTo>
                  <a:lnTo>
                    <a:pt x="109" y="171"/>
                  </a:lnTo>
                  <a:lnTo>
                    <a:pt x="113" y="156"/>
                  </a:lnTo>
                  <a:lnTo>
                    <a:pt x="121" y="142"/>
                  </a:lnTo>
                  <a:lnTo>
                    <a:pt x="130" y="132"/>
                  </a:lnTo>
                  <a:lnTo>
                    <a:pt x="142" y="121"/>
                  </a:lnTo>
                  <a:lnTo>
                    <a:pt x="156" y="114"/>
                  </a:lnTo>
                  <a:lnTo>
                    <a:pt x="171" y="109"/>
                  </a:lnTo>
                  <a:lnTo>
                    <a:pt x="179" y="108"/>
                  </a:lnTo>
                  <a:lnTo>
                    <a:pt x="187" y="108"/>
                  </a:lnTo>
                  <a:lnTo>
                    <a:pt x="187" y="108"/>
                  </a:lnTo>
                  <a:lnTo>
                    <a:pt x="195" y="108"/>
                  </a:lnTo>
                  <a:lnTo>
                    <a:pt x="203" y="109"/>
                  </a:lnTo>
                  <a:lnTo>
                    <a:pt x="218" y="114"/>
                  </a:lnTo>
                  <a:lnTo>
                    <a:pt x="231" y="121"/>
                  </a:lnTo>
                  <a:lnTo>
                    <a:pt x="243" y="132"/>
                  </a:lnTo>
                  <a:lnTo>
                    <a:pt x="253" y="142"/>
                  </a:lnTo>
                  <a:lnTo>
                    <a:pt x="259" y="156"/>
                  </a:lnTo>
                  <a:lnTo>
                    <a:pt x="265" y="171"/>
                  </a:lnTo>
                  <a:lnTo>
                    <a:pt x="266" y="179"/>
                  </a:lnTo>
                  <a:lnTo>
                    <a:pt x="266" y="187"/>
                  </a:lnTo>
                  <a:lnTo>
                    <a:pt x="266" y="187"/>
                  </a:lnTo>
                  <a:lnTo>
                    <a:pt x="266" y="196"/>
                  </a:lnTo>
                  <a:lnTo>
                    <a:pt x="265" y="203"/>
                  </a:lnTo>
                  <a:lnTo>
                    <a:pt x="259" y="219"/>
                  </a:lnTo>
                  <a:lnTo>
                    <a:pt x="253" y="233"/>
                  </a:lnTo>
                  <a:lnTo>
                    <a:pt x="243" y="243"/>
                  </a:lnTo>
                  <a:lnTo>
                    <a:pt x="231" y="254"/>
                  </a:lnTo>
                  <a:lnTo>
                    <a:pt x="218" y="261"/>
                  </a:lnTo>
                  <a:lnTo>
                    <a:pt x="203" y="266"/>
                  </a:lnTo>
                  <a:lnTo>
                    <a:pt x="195" y="266"/>
                  </a:lnTo>
                  <a:lnTo>
                    <a:pt x="187" y="267"/>
                  </a:lnTo>
                  <a:lnTo>
                    <a:pt x="187" y="26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5" name="Rectangle 179">
            <a:extLst>
              <a:ext uri="{FF2B5EF4-FFF2-40B4-BE49-F238E27FC236}">
                <a16:creationId xmlns:a16="http://schemas.microsoft.com/office/drawing/2014/main" id="{F60C246F-4D95-8E34-8C4D-F4521C95A8F3}"/>
              </a:ext>
            </a:extLst>
          </p:cNvPr>
          <p:cNvSpPr/>
          <p:nvPr/>
        </p:nvSpPr>
        <p:spPr>
          <a:xfrm>
            <a:off x="1212111" y="1892721"/>
            <a:ext cx="169704" cy="2541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126" name="Rectangle 223">
            <a:extLst>
              <a:ext uri="{FF2B5EF4-FFF2-40B4-BE49-F238E27FC236}">
                <a16:creationId xmlns:a16="http://schemas.microsoft.com/office/drawing/2014/main" id="{B56CBE63-642E-E7BE-FBA2-CADFD945B873}"/>
              </a:ext>
            </a:extLst>
          </p:cNvPr>
          <p:cNvSpPr/>
          <p:nvPr/>
        </p:nvSpPr>
        <p:spPr>
          <a:xfrm>
            <a:off x="1629385" y="1557869"/>
            <a:ext cx="169704" cy="182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127" name="Rectangle 390">
            <a:extLst>
              <a:ext uri="{FF2B5EF4-FFF2-40B4-BE49-F238E27FC236}">
                <a16:creationId xmlns:a16="http://schemas.microsoft.com/office/drawing/2014/main" id="{356B9DAA-4443-E65D-ED4B-4CD61441283E}"/>
              </a:ext>
            </a:extLst>
          </p:cNvPr>
          <p:cNvSpPr/>
          <p:nvPr/>
        </p:nvSpPr>
        <p:spPr>
          <a:xfrm>
            <a:off x="1559064" y="1679839"/>
            <a:ext cx="1255465" cy="4373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dirty="0">
              <a:solidFill>
                <a:schemeClr val="tx1"/>
              </a:solidFill>
            </a:endParaRPr>
          </a:p>
        </p:txBody>
      </p:sp>
      <p:sp>
        <p:nvSpPr>
          <p:cNvPr id="128" name="Rectangle 390">
            <a:extLst>
              <a:ext uri="{FF2B5EF4-FFF2-40B4-BE49-F238E27FC236}">
                <a16:creationId xmlns:a16="http://schemas.microsoft.com/office/drawing/2014/main" id="{78E73C1E-5BE5-6CC9-74B2-F5B3EBCAC4EB}"/>
              </a:ext>
            </a:extLst>
          </p:cNvPr>
          <p:cNvSpPr/>
          <p:nvPr/>
        </p:nvSpPr>
        <p:spPr>
          <a:xfrm>
            <a:off x="1673364" y="1612783"/>
            <a:ext cx="1255465" cy="4373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dirty="0">
              <a:solidFill>
                <a:schemeClr val="tx1"/>
              </a:solidFill>
            </a:endParaRPr>
          </a:p>
        </p:txBody>
      </p:sp>
      <p:sp>
        <p:nvSpPr>
          <p:cNvPr id="129" name="Rectangle 390">
            <a:extLst>
              <a:ext uri="{FF2B5EF4-FFF2-40B4-BE49-F238E27FC236}">
                <a16:creationId xmlns:a16="http://schemas.microsoft.com/office/drawing/2014/main" id="{DB1114B4-9E15-5644-5684-1622323841B6}"/>
              </a:ext>
            </a:extLst>
          </p:cNvPr>
          <p:cNvSpPr/>
          <p:nvPr/>
        </p:nvSpPr>
        <p:spPr>
          <a:xfrm>
            <a:off x="1374273" y="1759768"/>
            <a:ext cx="1329162" cy="43736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800" b="1" dirty="0">
                <a:solidFill>
                  <a:schemeClr val="tx1"/>
                </a:solidFill>
              </a:rPr>
              <a:t>App </a:t>
            </a:r>
            <a:r>
              <a:rPr lang="hu-HU" sz="800" b="1" dirty="0" err="1">
                <a:solidFill>
                  <a:schemeClr val="tx1"/>
                </a:solidFill>
              </a:rPr>
              <a:t>Stores</a:t>
            </a:r>
            <a:r>
              <a:rPr lang="hu-HU" sz="800" b="1" dirty="0">
                <a:solidFill>
                  <a:schemeClr val="tx1"/>
                </a:solidFill>
              </a:rPr>
              <a:t> (Apple, Google)</a:t>
            </a:r>
            <a:endParaRPr lang="en-US" sz="800" b="1" dirty="0">
              <a:solidFill>
                <a:schemeClr val="tx1"/>
              </a:solidFill>
            </a:endParaRPr>
          </a:p>
        </p:txBody>
      </p:sp>
      <p:sp>
        <p:nvSpPr>
          <p:cNvPr id="130" name="Rectangle 179">
            <a:extLst>
              <a:ext uri="{FF2B5EF4-FFF2-40B4-BE49-F238E27FC236}">
                <a16:creationId xmlns:a16="http://schemas.microsoft.com/office/drawing/2014/main" id="{46C70FA1-B689-837D-D099-CE17DE725C41}"/>
              </a:ext>
            </a:extLst>
          </p:cNvPr>
          <p:cNvSpPr/>
          <p:nvPr/>
        </p:nvSpPr>
        <p:spPr>
          <a:xfrm>
            <a:off x="1216892" y="3015642"/>
            <a:ext cx="169704" cy="2541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131" name="Rectangle 223">
            <a:extLst>
              <a:ext uri="{FF2B5EF4-FFF2-40B4-BE49-F238E27FC236}">
                <a16:creationId xmlns:a16="http://schemas.microsoft.com/office/drawing/2014/main" id="{10E00F4E-5CE9-EE81-19A4-F5F1EC95A5AC}"/>
              </a:ext>
            </a:extLst>
          </p:cNvPr>
          <p:cNvSpPr/>
          <p:nvPr/>
        </p:nvSpPr>
        <p:spPr>
          <a:xfrm>
            <a:off x="1634166" y="2680790"/>
            <a:ext cx="169704" cy="182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132" name="Rectangle 390">
            <a:extLst>
              <a:ext uri="{FF2B5EF4-FFF2-40B4-BE49-F238E27FC236}">
                <a16:creationId xmlns:a16="http://schemas.microsoft.com/office/drawing/2014/main" id="{FBE95708-30ED-0D33-E03E-D2DDF3F8A1EB}"/>
              </a:ext>
            </a:extLst>
          </p:cNvPr>
          <p:cNvSpPr/>
          <p:nvPr/>
        </p:nvSpPr>
        <p:spPr>
          <a:xfrm>
            <a:off x="1563845" y="2802760"/>
            <a:ext cx="1255465" cy="4373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dirty="0">
              <a:solidFill>
                <a:schemeClr val="tx1"/>
              </a:solidFill>
            </a:endParaRPr>
          </a:p>
        </p:txBody>
      </p:sp>
      <p:sp>
        <p:nvSpPr>
          <p:cNvPr id="133" name="Rectangle 390">
            <a:extLst>
              <a:ext uri="{FF2B5EF4-FFF2-40B4-BE49-F238E27FC236}">
                <a16:creationId xmlns:a16="http://schemas.microsoft.com/office/drawing/2014/main" id="{BF5BA40D-ED00-9A08-A387-E713053F8637}"/>
              </a:ext>
            </a:extLst>
          </p:cNvPr>
          <p:cNvSpPr/>
          <p:nvPr/>
        </p:nvSpPr>
        <p:spPr>
          <a:xfrm>
            <a:off x="1678145" y="2735704"/>
            <a:ext cx="1255465" cy="4373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dirty="0">
              <a:solidFill>
                <a:schemeClr val="tx1"/>
              </a:solidFill>
            </a:endParaRPr>
          </a:p>
        </p:txBody>
      </p:sp>
      <p:sp>
        <p:nvSpPr>
          <p:cNvPr id="134" name="Rectangle 390">
            <a:extLst>
              <a:ext uri="{FF2B5EF4-FFF2-40B4-BE49-F238E27FC236}">
                <a16:creationId xmlns:a16="http://schemas.microsoft.com/office/drawing/2014/main" id="{1A8C7888-403B-9B54-2D19-DA6440A71B34}"/>
              </a:ext>
            </a:extLst>
          </p:cNvPr>
          <p:cNvSpPr/>
          <p:nvPr/>
        </p:nvSpPr>
        <p:spPr>
          <a:xfrm>
            <a:off x="1379054" y="2882689"/>
            <a:ext cx="1329162" cy="437362"/>
          </a:xfrm>
          <a:prstGeom prst="rect">
            <a:avLst/>
          </a:prstGeom>
          <a:solidFill>
            <a:srgbClr val="00A3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800" b="1" dirty="0" err="1">
                <a:solidFill>
                  <a:schemeClr val="tx1"/>
                </a:solidFill>
              </a:rPr>
              <a:t>Customer</a:t>
            </a:r>
            <a:r>
              <a:rPr lang="hu-HU" sz="800" b="1" dirty="0">
                <a:solidFill>
                  <a:schemeClr val="tx1"/>
                </a:solidFill>
              </a:rPr>
              <a:t> Mobile </a:t>
            </a:r>
            <a:r>
              <a:rPr lang="hu-HU" sz="800" b="1" dirty="0" err="1">
                <a:solidFill>
                  <a:schemeClr val="tx1"/>
                </a:solidFill>
              </a:rPr>
              <a:t>Apps</a:t>
            </a:r>
            <a:endParaRPr lang="en-US" sz="800" b="1" dirty="0">
              <a:solidFill>
                <a:schemeClr val="tx1"/>
              </a:solidFill>
            </a:endParaRPr>
          </a:p>
        </p:txBody>
      </p: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B08B47C1-5CBB-4309-975D-3EAF93D68666}"/>
              </a:ext>
            </a:extLst>
          </p:cNvPr>
          <p:cNvCxnSpPr>
            <a:stCxn id="129" idx="2"/>
            <a:endCxn id="134" idx="0"/>
          </p:cNvCxnSpPr>
          <p:nvPr/>
        </p:nvCxnSpPr>
        <p:spPr>
          <a:xfrm>
            <a:off x="2038854" y="2197130"/>
            <a:ext cx="4781" cy="685559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AA125AD0-5096-B1C1-5A54-B21F9CB379A6}"/>
              </a:ext>
            </a:extLst>
          </p:cNvPr>
          <p:cNvCxnSpPr>
            <a:stCxn id="134" idx="2"/>
            <a:endCxn id="118" idx="1"/>
          </p:cNvCxnSpPr>
          <p:nvPr/>
        </p:nvCxnSpPr>
        <p:spPr>
          <a:xfrm>
            <a:off x="2043635" y="3320051"/>
            <a:ext cx="3756763" cy="462168"/>
          </a:xfrm>
          <a:prstGeom prst="straightConnector1">
            <a:avLst/>
          </a:prstGeom>
          <a:ln w="19050">
            <a:solidFill>
              <a:schemeClr val="tx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Arrow Connector 136">
            <a:extLst>
              <a:ext uri="{FF2B5EF4-FFF2-40B4-BE49-F238E27FC236}">
                <a16:creationId xmlns:a16="http://schemas.microsoft.com/office/drawing/2014/main" id="{ED3F29F9-E708-3DA8-E503-73A5798D2A0C}"/>
              </a:ext>
            </a:extLst>
          </p:cNvPr>
          <p:cNvCxnSpPr>
            <a:cxnSpLocks/>
            <a:stCxn id="118" idx="3"/>
            <a:endCxn id="115" idx="1"/>
          </p:cNvCxnSpPr>
          <p:nvPr/>
        </p:nvCxnSpPr>
        <p:spPr>
          <a:xfrm>
            <a:off x="6816488" y="3782219"/>
            <a:ext cx="1099778" cy="394508"/>
          </a:xfrm>
          <a:prstGeom prst="straightConnector1">
            <a:avLst/>
          </a:prstGeom>
          <a:ln w="19050">
            <a:solidFill>
              <a:schemeClr val="tx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Arrow Connector 138">
            <a:extLst>
              <a:ext uri="{FF2B5EF4-FFF2-40B4-BE49-F238E27FC236}">
                <a16:creationId xmlns:a16="http://schemas.microsoft.com/office/drawing/2014/main" id="{C9DC0D21-EA1E-0930-78DC-6E543DECA8D5}"/>
              </a:ext>
            </a:extLst>
          </p:cNvPr>
          <p:cNvCxnSpPr>
            <a:cxnSpLocks/>
            <a:stCxn id="115" idx="0"/>
            <a:endCxn id="108" idx="2"/>
          </p:cNvCxnSpPr>
          <p:nvPr/>
        </p:nvCxnSpPr>
        <p:spPr>
          <a:xfrm flipV="1">
            <a:off x="8580847" y="3304898"/>
            <a:ext cx="0" cy="653148"/>
          </a:xfrm>
          <a:prstGeom prst="straightConnector1">
            <a:avLst/>
          </a:prstGeom>
          <a:ln w="19050">
            <a:solidFill>
              <a:schemeClr val="tx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Arrow Connector 139">
            <a:extLst>
              <a:ext uri="{FF2B5EF4-FFF2-40B4-BE49-F238E27FC236}">
                <a16:creationId xmlns:a16="http://schemas.microsoft.com/office/drawing/2014/main" id="{BC605C57-CE8A-4414-5FEF-D11D432895F5}"/>
              </a:ext>
            </a:extLst>
          </p:cNvPr>
          <p:cNvCxnSpPr>
            <a:cxnSpLocks/>
            <a:stCxn id="123" idx="0"/>
            <a:endCxn id="115" idx="2"/>
          </p:cNvCxnSpPr>
          <p:nvPr/>
        </p:nvCxnSpPr>
        <p:spPr>
          <a:xfrm flipV="1">
            <a:off x="6654511" y="4395408"/>
            <a:ext cx="1926336" cy="519328"/>
          </a:xfrm>
          <a:prstGeom prst="straightConnector1">
            <a:avLst/>
          </a:prstGeom>
          <a:ln w="19050">
            <a:solidFill>
              <a:schemeClr val="tx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ounded Rectangle 169">
            <a:extLst>
              <a:ext uri="{FF2B5EF4-FFF2-40B4-BE49-F238E27FC236}">
                <a16:creationId xmlns:a16="http://schemas.microsoft.com/office/drawing/2014/main" id="{AE37292C-AADC-1565-C0FF-C41CC19E3F7A}"/>
              </a:ext>
            </a:extLst>
          </p:cNvPr>
          <p:cNvSpPr/>
          <p:nvPr/>
        </p:nvSpPr>
        <p:spPr>
          <a:xfrm>
            <a:off x="5785500" y="981860"/>
            <a:ext cx="5378079" cy="943151"/>
          </a:xfrm>
          <a:prstGeom prst="roundRect">
            <a:avLst>
              <a:gd name="adj" fmla="val 10984"/>
            </a:avLst>
          </a:prstGeom>
          <a:solidFill>
            <a:srgbClr val="00B050">
              <a:alpha val="10000"/>
            </a:srgbClr>
          </a:solidFill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r"/>
            <a:r>
              <a:rPr lang="hu-HU" sz="1200" dirty="0">
                <a:solidFill>
                  <a:schemeClr val="tx1"/>
                </a:solidFill>
              </a:rPr>
              <a:t>Azure </a:t>
            </a:r>
          </a:p>
          <a:p>
            <a:pPr algn="r"/>
            <a:r>
              <a:rPr lang="hu-HU" sz="1200" dirty="0" err="1">
                <a:solidFill>
                  <a:schemeClr val="tx1"/>
                </a:solidFill>
              </a:rPr>
              <a:t>Private</a:t>
            </a:r>
            <a:r>
              <a:rPr lang="hu-HU" sz="1200" dirty="0">
                <a:solidFill>
                  <a:schemeClr val="tx1"/>
                </a:solidFill>
              </a:rPr>
              <a:t> Cloud </a:t>
            </a:r>
            <a:r>
              <a:rPr lang="hu-HU" sz="1200" dirty="0" err="1">
                <a:solidFill>
                  <a:schemeClr val="tx1"/>
                </a:solidFill>
              </a:rPr>
              <a:t>Zone</a:t>
            </a:r>
            <a:endParaRPr lang="hu-HU" sz="1200" dirty="0">
              <a:solidFill>
                <a:schemeClr val="tx1"/>
              </a:solidFill>
            </a:endParaRPr>
          </a:p>
          <a:p>
            <a:pPr algn="r"/>
            <a:r>
              <a:rPr lang="hu-HU" sz="1200" dirty="0">
                <a:solidFill>
                  <a:schemeClr val="tx1"/>
                </a:solidFill>
              </a:rPr>
              <a:t>- </a:t>
            </a:r>
            <a:r>
              <a:rPr lang="hu-HU" sz="1200" dirty="0" err="1">
                <a:solidFill>
                  <a:schemeClr val="tx1"/>
                </a:solidFill>
              </a:rPr>
              <a:t>Only</a:t>
            </a:r>
            <a:r>
              <a:rPr lang="hu-HU" sz="1200" dirty="0">
                <a:solidFill>
                  <a:schemeClr val="tx1"/>
                </a:solidFill>
              </a:rPr>
              <a:t> </a:t>
            </a:r>
            <a:r>
              <a:rPr lang="hu-HU" sz="1200" dirty="0" err="1">
                <a:solidFill>
                  <a:schemeClr val="tx1"/>
                </a:solidFill>
              </a:rPr>
              <a:t>for</a:t>
            </a:r>
            <a:r>
              <a:rPr lang="hu-HU" sz="1200" dirty="0">
                <a:solidFill>
                  <a:schemeClr val="tx1"/>
                </a:solidFill>
              </a:rPr>
              <a:t> Front-End</a:t>
            </a:r>
          </a:p>
          <a:p>
            <a:pPr algn="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42" name="Rectangle 390">
            <a:extLst>
              <a:ext uri="{FF2B5EF4-FFF2-40B4-BE49-F238E27FC236}">
                <a16:creationId xmlns:a16="http://schemas.microsoft.com/office/drawing/2014/main" id="{92B9F8FC-405D-4302-4DCF-6487217CCA16}"/>
              </a:ext>
            </a:extLst>
          </p:cNvPr>
          <p:cNvSpPr/>
          <p:nvPr/>
        </p:nvSpPr>
        <p:spPr>
          <a:xfrm>
            <a:off x="8087340" y="1356061"/>
            <a:ext cx="1255465" cy="437362"/>
          </a:xfrm>
          <a:prstGeom prst="rect">
            <a:avLst/>
          </a:prstGeom>
          <a:solidFill>
            <a:srgbClr val="B2FCD8"/>
          </a:solidFill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800" b="1" dirty="0" err="1">
                <a:solidFill>
                  <a:srgbClr val="FF0000"/>
                </a:solidFill>
              </a:rPr>
              <a:t>Heart</a:t>
            </a:r>
            <a:r>
              <a:rPr lang="hu-HU" sz="800" b="1" dirty="0">
                <a:solidFill>
                  <a:srgbClr val="FF0000"/>
                </a:solidFill>
              </a:rPr>
              <a:t>-Beat API Wall</a:t>
            </a:r>
            <a:endParaRPr lang="en-US" sz="800" b="1" dirty="0">
              <a:solidFill>
                <a:srgbClr val="FF0000"/>
              </a:solidFill>
            </a:endParaRPr>
          </a:p>
        </p:txBody>
      </p:sp>
      <p:sp>
        <p:nvSpPr>
          <p:cNvPr id="145" name="Rectangle 390">
            <a:extLst>
              <a:ext uri="{FF2B5EF4-FFF2-40B4-BE49-F238E27FC236}">
                <a16:creationId xmlns:a16="http://schemas.microsoft.com/office/drawing/2014/main" id="{333090FE-A0BE-B0F2-4953-16E7DE073121}"/>
              </a:ext>
            </a:extLst>
          </p:cNvPr>
          <p:cNvSpPr/>
          <p:nvPr/>
        </p:nvSpPr>
        <p:spPr>
          <a:xfrm>
            <a:off x="6622720" y="1364212"/>
            <a:ext cx="1329162" cy="43736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800" b="1" dirty="0" err="1">
                <a:solidFill>
                  <a:srgbClr val="FF0000"/>
                </a:solidFill>
              </a:rPr>
              <a:t>Heart</a:t>
            </a:r>
            <a:r>
              <a:rPr lang="hu-HU" sz="800" b="1" dirty="0">
                <a:solidFill>
                  <a:srgbClr val="FF0000"/>
                </a:solidFill>
              </a:rPr>
              <a:t>-Beat </a:t>
            </a:r>
            <a:r>
              <a:rPr lang="hu-HU" sz="800" b="1" dirty="0" err="1">
                <a:solidFill>
                  <a:srgbClr val="FF0000"/>
                </a:solidFill>
              </a:rPr>
              <a:t>Host</a:t>
            </a:r>
            <a:r>
              <a:rPr lang="hu-HU" sz="800" b="1" dirty="0">
                <a:solidFill>
                  <a:srgbClr val="FF0000"/>
                </a:solidFill>
              </a:rPr>
              <a:t> </a:t>
            </a:r>
          </a:p>
        </p:txBody>
      </p:sp>
      <p:cxnSp>
        <p:nvCxnSpPr>
          <p:cNvPr id="148" name="Straight Arrow Connector 147">
            <a:extLst>
              <a:ext uri="{FF2B5EF4-FFF2-40B4-BE49-F238E27FC236}">
                <a16:creationId xmlns:a16="http://schemas.microsoft.com/office/drawing/2014/main" id="{66D3C9C9-96F9-5B00-6075-E08ADC5350E1}"/>
              </a:ext>
            </a:extLst>
          </p:cNvPr>
          <p:cNvCxnSpPr>
            <a:cxnSpLocks/>
            <a:stCxn id="149" idx="3"/>
            <a:endCxn id="153" idx="1"/>
          </p:cNvCxnSpPr>
          <p:nvPr/>
        </p:nvCxnSpPr>
        <p:spPr>
          <a:xfrm flipV="1">
            <a:off x="4427323" y="1136015"/>
            <a:ext cx="1362887" cy="1965355"/>
          </a:xfrm>
          <a:prstGeom prst="straightConnector1">
            <a:avLst/>
          </a:prstGeom>
          <a:ln w="19050">
            <a:solidFill>
              <a:srgbClr val="FF0000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tangle 390">
            <a:extLst>
              <a:ext uri="{FF2B5EF4-FFF2-40B4-BE49-F238E27FC236}">
                <a16:creationId xmlns:a16="http://schemas.microsoft.com/office/drawing/2014/main" id="{6874D3A5-39E4-119F-5F5F-6983C15A498F}"/>
              </a:ext>
            </a:extLst>
          </p:cNvPr>
          <p:cNvSpPr/>
          <p:nvPr/>
        </p:nvSpPr>
        <p:spPr>
          <a:xfrm>
            <a:off x="3098161" y="2882689"/>
            <a:ext cx="1329162" cy="437362"/>
          </a:xfrm>
          <a:prstGeom prst="rect">
            <a:avLst/>
          </a:prstGeom>
          <a:solidFill>
            <a:srgbClr val="00A3E0"/>
          </a:solidFill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800" b="1" dirty="0" err="1">
                <a:solidFill>
                  <a:srgbClr val="FF0000"/>
                </a:solidFill>
              </a:rPr>
              <a:t>Heart</a:t>
            </a:r>
            <a:r>
              <a:rPr lang="hu-HU" sz="800" b="1" dirty="0">
                <a:solidFill>
                  <a:srgbClr val="FF0000"/>
                </a:solidFill>
              </a:rPr>
              <a:t>-Beat </a:t>
            </a:r>
            <a:r>
              <a:rPr lang="hu-HU" sz="800" b="1" dirty="0" err="1">
                <a:solidFill>
                  <a:srgbClr val="FF0000"/>
                </a:solidFill>
              </a:rPr>
              <a:t>Vehicle</a:t>
            </a:r>
            <a:r>
              <a:rPr lang="hu-HU" sz="800" b="1" dirty="0">
                <a:solidFill>
                  <a:srgbClr val="FF0000"/>
                </a:solidFill>
              </a:rPr>
              <a:t> </a:t>
            </a:r>
            <a:r>
              <a:rPr lang="hu-HU" sz="800" b="1" dirty="0" err="1">
                <a:solidFill>
                  <a:srgbClr val="FF0000"/>
                </a:solidFill>
              </a:rPr>
              <a:t>Console</a:t>
            </a:r>
            <a:endParaRPr lang="en-US" sz="800" b="1" dirty="0">
              <a:solidFill>
                <a:srgbClr val="FF0000"/>
              </a:solidFill>
            </a:endParaRPr>
          </a:p>
        </p:txBody>
      </p:sp>
      <p:cxnSp>
        <p:nvCxnSpPr>
          <p:cNvPr id="150" name="Straight Arrow Connector 149">
            <a:extLst>
              <a:ext uri="{FF2B5EF4-FFF2-40B4-BE49-F238E27FC236}">
                <a16:creationId xmlns:a16="http://schemas.microsoft.com/office/drawing/2014/main" id="{26CB6F5A-7C63-553F-1FEC-C23FA09F15DE}"/>
              </a:ext>
            </a:extLst>
          </p:cNvPr>
          <p:cNvCxnSpPr>
            <a:cxnSpLocks/>
            <a:stCxn id="129" idx="2"/>
            <a:endCxn id="149" idx="0"/>
          </p:cNvCxnSpPr>
          <p:nvPr/>
        </p:nvCxnSpPr>
        <p:spPr>
          <a:xfrm>
            <a:off x="2038854" y="2197130"/>
            <a:ext cx="1723888" cy="685559"/>
          </a:xfrm>
          <a:prstGeom prst="straightConnector1">
            <a:avLst/>
          </a:prstGeom>
          <a:ln>
            <a:solidFill>
              <a:srgbClr val="FF0000"/>
            </a:solidFill>
            <a:prstDash val="dash"/>
            <a:headEnd type="triangl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3" name="Rectangle 160">
            <a:extLst>
              <a:ext uri="{FF2B5EF4-FFF2-40B4-BE49-F238E27FC236}">
                <a16:creationId xmlns:a16="http://schemas.microsoft.com/office/drawing/2014/main" id="{C0518B87-2C17-39A8-B404-81EF2AFA848E}"/>
              </a:ext>
            </a:extLst>
          </p:cNvPr>
          <p:cNvSpPr/>
          <p:nvPr/>
        </p:nvSpPr>
        <p:spPr>
          <a:xfrm>
            <a:off x="5790210" y="984464"/>
            <a:ext cx="1718886" cy="303101"/>
          </a:xfrm>
          <a:prstGeom prst="rect">
            <a:avLst/>
          </a:prstGeom>
          <a:solidFill>
            <a:srgbClr val="E5F7ED"/>
          </a:solidFill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800" b="1" dirty="0">
                <a:solidFill>
                  <a:schemeClr val="tx1"/>
                </a:solidFill>
              </a:rPr>
              <a:t>Azure API Gateway &amp; Platform</a:t>
            </a:r>
            <a:endParaRPr lang="en-US" sz="800" b="1" dirty="0">
              <a:solidFill>
                <a:schemeClr val="tx1"/>
              </a:solidFill>
            </a:endParaRPr>
          </a:p>
        </p:txBody>
      </p:sp>
      <p:cxnSp>
        <p:nvCxnSpPr>
          <p:cNvPr id="157" name="Straight Arrow Connector 156">
            <a:extLst>
              <a:ext uri="{FF2B5EF4-FFF2-40B4-BE49-F238E27FC236}">
                <a16:creationId xmlns:a16="http://schemas.microsoft.com/office/drawing/2014/main" id="{5D2DCBD3-0F90-1EBA-A5B1-0D117DB2B5DE}"/>
              </a:ext>
            </a:extLst>
          </p:cNvPr>
          <p:cNvCxnSpPr>
            <a:cxnSpLocks/>
            <a:endCxn id="153" idx="1"/>
          </p:cNvCxnSpPr>
          <p:nvPr/>
        </p:nvCxnSpPr>
        <p:spPr>
          <a:xfrm flipV="1">
            <a:off x="5774086" y="1136015"/>
            <a:ext cx="16124" cy="2608465"/>
          </a:xfrm>
          <a:prstGeom prst="straightConnector1">
            <a:avLst/>
          </a:prstGeom>
          <a:ln w="19050">
            <a:solidFill>
              <a:srgbClr val="FF0000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A74DE4AD-5819-C3BA-1DE1-7828EDE3C539}"/>
              </a:ext>
            </a:extLst>
          </p:cNvPr>
          <p:cNvGrpSpPr/>
          <p:nvPr/>
        </p:nvGrpSpPr>
        <p:grpSpPr>
          <a:xfrm>
            <a:off x="7509096" y="4911616"/>
            <a:ext cx="717821" cy="437362"/>
            <a:chOff x="2987070" y="5501830"/>
            <a:chExt cx="1255465" cy="437362"/>
          </a:xfrm>
          <a:solidFill>
            <a:srgbClr val="6FC2B4"/>
          </a:solidFill>
        </p:grpSpPr>
        <p:sp>
          <p:nvSpPr>
            <p:cNvPr id="163" name="Rectangle 390">
              <a:extLst>
                <a:ext uri="{FF2B5EF4-FFF2-40B4-BE49-F238E27FC236}">
                  <a16:creationId xmlns:a16="http://schemas.microsoft.com/office/drawing/2014/main" id="{68B817D9-22C7-2F27-C85D-95F1FC739345}"/>
                </a:ext>
              </a:extLst>
            </p:cNvPr>
            <p:cNvSpPr/>
            <p:nvPr/>
          </p:nvSpPr>
          <p:spPr>
            <a:xfrm>
              <a:off x="2987070" y="5501830"/>
              <a:ext cx="1255465" cy="437362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hu-HU" sz="800" b="1" dirty="0">
                  <a:solidFill>
                    <a:schemeClr val="tx1"/>
                  </a:solidFill>
                </a:rPr>
                <a:t>!</a:t>
              </a:r>
              <a:r>
                <a:rPr lang="hu-HU" sz="800" b="1" dirty="0" err="1">
                  <a:solidFill>
                    <a:schemeClr val="tx1"/>
                  </a:solidFill>
                </a:rPr>
                <a:t>loadMe</a:t>
              </a:r>
              <a:r>
                <a:rPr lang="hu-HU" sz="800" b="1" dirty="0">
                  <a:solidFill>
                    <a:schemeClr val="tx1"/>
                  </a:solidFill>
                </a:rPr>
                <a:t> </a:t>
              </a:r>
            </a:p>
            <a:p>
              <a:pPr algn="r"/>
              <a:r>
                <a:rPr lang="hu-HU" sz="800" b="1" dirty="0">
                  <a:solidFill>
                    <a:schemeClr val="tx1"/>
                  </a:solidFill>
                </a:rPr>
                <a:t>CMS </a:t>
              </a:r>
            </a:p>
            <a:p>
              <a:pPr algn="r"/>
              <a:r>
                <a:rPr lang="hu-HU" sz="800" b="1" dirty="0">
                  <a:solidFill>
                    <a:schemeClr val="tx1"/>
                  </a:solidFill>
                </a:rPr>
                <a:t>Back-End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164" name="Freeform 216">
              <a:extLst>
                <a:ext uri="{FF2B5EF4-FFF2-40B4-BE49-F238E27FC236}">
                  <a16:creationId xmlns:a16="http://schemas.microsoft.com/office/drawing/2014/main" id="{860135BE-B06F-DF25-EB64-E2EDFA48EB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9516" y="5585180"/>
              <a:ext cx="255551" cy="255086"/>
            </a:xfrm>
            <a:custGeom>
              <a:avLst/>
              <a:gdLst>
                <a:gd name="T0" fmla="*/ 321 w 374"/>
                <a:gd name="T1" fmla="*/ 151 h 375"/>
                <a:gd name="T2" fmla="*/ 336 w 374"/>
                <a:gd name="T3" fmla="*/ 81 h 375"/>
                <a:gd name="T4" fmla="*/ 336 w 374"/>
                <a:gd name="T5" fmla="*/ 73 h 375"/>
                <a:gd name="T6" fmla="*/ 298 w 374"/>
                <a:gd name="T7" fmla="*/ 36 h 375"/>
                <a:gd name="T8" fmla="*/ 255 w 374"/>
                <a:gd name="T9" fmla="*/ 67 h 375"/>
                <a:gd name="T10" fmla="*/ 216 w 374"/>
                <a:gd name="T11" fmla="*/ 5 h 375"/>
                <a:gd name="T12" fmla="*/ 211 w 374"/>
                <a:gd name="T13" fmla="*/ 0 h 375"/>
                <a:gd name="T14" fmla="*/ 159 w 374"/>
                <a:gd name="T15" fmla="*/ 1 h 375"/>
                <a:gd name="T16" fmla="*/ 151 w 374"/>
                <a:gd name="T17" fmla="*/ 54 h 375"/>
                <a:gd name="T18" fmla="*/ 79 w 374"/>
                <a:gd name="T19" fmla="*/ 38 h 375"/>
                <a:gd name="T20" fmla="*/ 71 w 374"/>
                <a:gd name="T21" fmla="*/ 38 h 375"/>
                <a:gd name="T22" fmla="*/ 35 w 374"/>
                <a:gd name="T23" fmla="*/ 77 h 375"/>
                <a:gd name="T24" fmla="*/ 66 w 374"/>
                <a:gd name="T25" fmla="*/ 118 h 375"/>
                <a:gd name="T26" fmla="*/ 5 w 374"/>
                <a:gd name="T27" fmla="*/ 157 h 375"/>
                <a:gd name="T28" fmla="*/ 0 w 374"/>
                <a:gd name="T29" fmla="*/ 163 h 375"/>
                <a:gd name="T30" fmla="*/ 1 w 374"/>
                <a:gd name="T31" fmla="*/ 215 h 375"/>
                <a:gd name="T32" fmla="*/ 52 w 374"/>
                <a:gd name="T33" fmla="*/ 224 h 375"/>
                <a:gd name="T34" fmla="*/ 36 w 374"/>
                <a:gd name="T35" fmla="*/ 294 h 375"/>
                <a:gd name="T36" fmla="*/ 38 w 374"/>
                <a:gd name="T37" fmla="*/ 302 h 375"/>
                <a:gd name="T38" fmla="*/ 74 w 374"/>
                <a:gd name="T39" fmla="*/ 339 h 375"/>
                <a:gd name="T40" fmla="*/ 79 w 374"/>
                <a:gd name="T41" fmla="*/ 337 h 375"/>
                <a:gd name="T42" fmla="*/ 133 w 374"/>
                <a:gd name="T43" fmla="*/ 316 h 375"/>
                <a:gd name="T44" fmla="*/ 156 w 374"/>
                <a:gd name="T45" fmla="*/ 370 h 375"/>
                <a:gd name="T46" fmla="*/ 211 w 374"/>
                <a:gd name="T47" fmla="*/ 375 h 375"/>
                <a:gd name="T48" fmla="*/ 216 w 374"/>
                <a:gd name="T49" fmla="*/ 370 h 375"/>
                <a:gd name="T50" fmla="*/ 239 w 374"/>
                <a:gd name="T51" fmla="*/ 316 h 375"/>
                <a:gd name="T52" fmla="*/ 294 w 374"/>
                <a:gd name="T53" fmla="*/ 337 h 375"/>
                <a:gd name="T54" fmla="*/ 300 w 374"/>
                <a:gd name="T55" fmla="*/ 339 h 375"/>
                <a:gd name="T56" fmla="*/ 336 w 374"/>
                <a:gd name="T57" fmla="*/ 302 h 375"/>
                <a:gd name="T58" fmla="*/ 308 w 374"/>
                <a:gd name="T59" fmla="*/ 257 h 375"/>
                <a:gd name="T60" fmla="*/ 321 w 374"/>
                <a:gd name="T61" fmla="*/ 224 h 375"/>
                <a:gd name="T62" fmla="*/ 372 w 374"/>
                <a:gd name="T63" fmla="*/ 215 h 375"/>
                <a:gd name="T64" fmla="*/ 374 w 374"/>
                <a:gd name="T65" fmla="*/ 163 h 375"/>
                <a:gd name="T66" fmla="*/ 368 w 374"/>
                <a:gd name="T67" fmla="*/ 157 h 375"/>
                <a:gd name="T68" fmla="*/ 179 w 374"/>
                <a:gd name="T69" fmla="*/ 266 h 375"/>
                <a:gd name="T70" fmla="*/ 142 w 374"/>
                <a:gd name="T71" fmla="*/ 254 h 375"/>
                <a:gd name="T72" fmla="*/ 113 w 374"/>
                <a:gd name="T73" fmla="*/ 219 h 375"/>
                <a:gd name="T74" fmla="*/ 108 w 374"/>
                <a:gd name="T75" fmla="*/ 187 h 375"/>
                <a:gd name="T76" fmla="*/ 109 w 374"/>
                <a:gd name="T77" fmla="*/ 171 h 375"/>
                <a:gd name="T78" fmla="*/ 130 w 374"/>
                <a:gd name="T79" fmla="*/ 132 h 375"/>
                <a:gd name="T80" fmla="*/ 171 w 374"/>
                <a:gd name="T81" fmla="*/ 109 h 375"/>
                <a:gd name="T82" fmla="*/ 187 w 374"/>
                <a:gd name="T83" fmla="*/ 108 h 375"/>
                <a:gd name="T84" fmla="*/ 218 w 374"/>
                <a:gd name="T85" fmla="*/ 114 h 375"/>
                <a:gd name="T86" fmla="*/ 253 w 374"/>
                <a:gd name="T87" fmla="*/ 142 h 375"/>
                <a:gd name="T88" fmla="*/ 266 w 374"/>
                <a:gd name="T89" fmla="*/ 179 h 375"/>
                <a:gd name="T90" fmla="*/ 266 w 374"/>
                <a:gd name="T91" fmla="*/ 196 h 375"/>
                <a:gd name="T92" fmla="*/ 253 w 374"/>
                <a:gd name="T93" fmla="*/ 233 h 375"/>
                <a:gd name="T94" fmla="*/ 218 w 374"/>
                <a:gd name="T95" fmla="*/ 261 h 375"/>
                <a:gd name="T96" fmla="*/ 187 w 374"/>
                <a:gd name="T97" fmla="*/ 267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74" h="375">
                  <a:moveTo>
                    <a:pt x="368" y="157"/>
                  </a:moveTo>
                  <a:lnTo>
                    <a:pt x="321" y="151"/>
                  </a:lnTo>
                  <a:lnTo>
                    <a:pt x="321" y="151"/>
                  </a:lnTo>
                  <a:lnTo>
                    <a:pt x="314" y="134"/>
                  </a:lnTo>
                  <a:lnTo>
                    <a:pt x="308" y="118"/>
                  </a:lnTo>
                  <a:lnTo>
                    <a:pt x="336" y="81"/>
                  </a:lnTo>
                  <a:lnTo>
                    <a:pt x="336" y="81"/>
                  </a:lnTo>
                  <a:lnTo>
                    <a:pt x="337" y="77"/>
                  </a:lnTo>
                  <a:lnTo>
                    <a:pt x="336" y="73"/>
                  </a:lnTo>
                  <a:lnTo>
                    <a:pt x="302" y="38"/>
                  </a:lnTo>
                  <a:lnTo>
                    <a:pt x="302" y="38"/>
                  </a:lnTo>
                  <a:lnTo>
                    <a:pt x="298" y="36"/>
                  </a:lnTo>
                  <a:lnTo>
                    <a:pt x="294" y="38"/>
                  </a:lnTo>
                  <a:lnTo>
                    <a:pt x="255" y="67"/>
                  </a:lnTo>
                  <a:lnTo>
                    <a:pt x="255" y="67"/>
                  </a:lnTo>
                  <a:lnTo>
                    <a:pt x="239" y="59"/>
                  </a:lnTo>
                  <a:lnTo>
                    <a:pt x="223" y="54"/>
                  </a:lnTo>
                  <a:lnTo>
                    <a:pt x="216" y="5"/>
                  </a:lnTo>
                  <a:lnTo>
                    <a:pt x="216" y="5"/>
                  </a:lnTo>
                  <a:lnTo>
                    <a:pt x="215" y="1"/>
                  </a:lnTo>
                  <a:lnTo>
                    <a:pt x="211" y="0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59" y="1"/>
                  </a:lnTo>
                  <a:lnTo>
                    <a:pt x="156" y="5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33" y="59"/>
                  </a:lnTo>
                  <a:lnTo>
                    <a:pt x="118" y="67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5" y="36"/>
                  </a:lnTo>
                  <a:lnTo>
                    <a:pt x="71" y="38"/>
                  </a:lnTo>
                  <a:lnTo>
                    <a:pt x="38" y="73"/>
                  </a:lnTo>
                  <a:lnTo>
                    <a:pt x="38" y="73"/>
                  </a:lnTo>
                  <a:lnTo>
                    <a:pt x="35" y="77"/>
                  </a:lnTo>
                  <a:lnTo>
                    <a:pt x="36" y="81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58" y="134"/>
                  </a:lnTo>
                  <a:lnTo>
                    <a:pt x="52" y="151"/>
                  </a:lnTo>
                  <a:lnTo>
                    <a:pt x="5" y="157"/>
                  </a:lnTo>
                  <a:lnTo>
                    <a:pt x="5" y="157"/>
                  </a:lnTo>
                  <a:lnTo>
                    <a:pt x="1" y="160"/>
                  </a:lnTo>
                  <a:lnTo>
                    <a:pt x="0" y="163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1" y="215"/>
                  </a:lnTo>
                  <a:lnTo>
                    <a:pt x="5" y="218"/>
                  </a:lnTo>
                  <a:lnTo>
                    <a:pt x="52" y="224"/>
                  </a:lnTo>
                  <a:lnTo>
                    <a:pt x="52" y="224"/>
                  </a:lnTo>
                  <a:lnTo>
                    <a:pt x="58" y="241"/>
                  </a:lnTo>
                  <a:lnTo>
                    <a:pt x="66" y="257"/>
                  </a:lnTo>
                  <a:lnTo>
                    <a:pt x="36" y="294"/>
                  </a:lnTo>
                  <a:lnTo>
                    <a:pt x="36" y="294"/>
                  </a:lnTo>
                  <a:lnTo>
                    <a:pt x="35" y="298"/>
                  </a:lnTo>
                  <a:lnTo>
                    <a:pt x="38" y="302"/>
                  </a:lnTo>
                  <a:lnTo>
                    <a:pt x="71" y="337"/>
                  </a:lnTo>
                  <a:lnTo>
                    <a:pt x="71" y="337"/>
                  </a:lnTo>
                  <a:lnTo>
                    <a:pt x="74" y="339"/>
                  </a:lnTo>
                  <a:lnTo>
                    <a:pt x="75" y="339"/>
                  </a:lnTo>
                  <a:lnTo>
                    <a:pt x="75" y="339"/>
                  </a:lnTo>
                  <a:lnTo>
                    <a:pt x="79" y="337"/>
                  </a:lnTo>
                  <a:lnTo>
                    <a:pt x="118" y="308"/>
                  </a:lnTo>
                  <a:lnTo>
                    <a:pt x="118" y="308"/>
                  </a:lnTo>
                  <a:lnTo>
                    <a:pt x="133" y="316"/>
                  </a:lnTo>
                  <a:lnTo>
                    <a:pt x="151" y="321"/>
                  </a:lnTo>
                  <a:lnTo>
                    <a:pt x="156" y="370"/>
                  </a:lnTo>
                  <a:lnTo>
                    <a:pt x="156" y="370"/>
                  </a:lnTo>
                  <a:lnTo>
                    <a:pt x="159" y="374"/>
                  </a:lnTo>
                  <a:lnTo>
                    <a:pt x="163" y="375"/>
                  </a:lnTo>
                  <a:lnTo>
                    <a:pt x="211" y="375"/>
                  </a:lnTo>
                  <a:lnTo>
                    <a:pt x="211" y="375"/>
                  </a:lnTo>
                  <a:lnTo>
                    <a:pt x="215" y="374"/>
                  </a:lnTo>
                  <a:lnTo>
                    <a:pt x="216" y="370"/>
                  </a:lnTo>
                  <a:lnTo>
                    <a:pt x="223" y="321"/>
                  </a:lnTo>
                  <a:lnTo>
                    <a:pt x="223" y="321"/>
                  </a:lnTo>
                  <a:lnTo>
                    <a:pt x="239" y="316"/>
                  </a:lnTo>
                  <a:lnTo>
                    <a:pt x="255" y="308"/>
                  </a:lnTo>
                  <a:lnTo>
                    <a:pt x="294" y="337"/>
                  </a:lnTo>
                  <a:lnTo>
                    <a:pt x="294" y="337"/>
                  </a:lnTo>
                  <a:lnTo>
                    <a:pt x="297" y="339"/>
                  </a:lnTo>
                  <a:lnTo>
                    <a:pt x="297" y="339"/>
                  </a:lnTo>
                  <a:lnTo>
                    <a:pt x="300" y="339"/>
                  </a:lnTo>
                  <a:lnTo>
                    <a:pt x="302" y="337"/>
                  </a:lnTo>
                  <a:lnTo>
                    <a:pt x="336" y="302"/>
                  </a:lnTo>
                  <a:lnTo>
                    <a:pt x="336" y="302"/>
                  </a:lnTo>
                  <a:lnTo>
                    <a:pt x="337" y="298"/>
                  </a:lnTo>
                  <a:lnTo>
                    <a:pt x="336" y="294"/>
                  </a:lnTo>
                  <a:lnTo>
                    <a:pt x="308" y="257"/>
                  </a:lnTo>
                  <a:lnTo>
                    <a:pt x="308" y="257"/>
                  </a:lnTo>
                  <a:lnTo>
                    <a:pt x="314" y="241"/>
                  </a:lnTo>
                  <a:lnTo>
                    <a:pt x="321" y="224"/>
                  </a:lnTo>
                  <a:lnTo>
                    <a:pt x="368" y="218"/>
                  </a:lnTo>
                  <a:lnTo>
                    <a:pt x="368" y="218"/>
                  </a:lnTo>
                  <a:lnTo>
                    <a:pt x="372" y="215"/>
                  </a:lnTo>
                  <a:lnTo>
                    <a:pt x="374" y="211"/>
                  </a:lnTo>
                  <a:lnTo>
                    <a:pt x="374" y="163"/>
                  </a:lnTo>
                  <a:lnTo>
                    <a:pt x="374" y="163"/>
                  </a:lnTo>
                  <a:lnTo>
                    <a:pt x="372" y="160"/>
                  </a:lnTo>
                  <a:lnTo>
                    <a:pt x="368" y="157"/>
                  </a:lnTo>
                  <a:lnTo>
                    <a:pt x="368" y="157"/>
                  </a:lnTo>
                  <a:close/>
                  <a:moveTo>
                    <a:pt x="187" y="267"/>
                  </a:moveTo>
                  <a:lnTo>
                    <a:pt x="187" y="267"/>
                  </a:lnTo>
                  <a:lnTo>
                    <a:pt x="179" y="266"/>
                  </a:lnTo>
                  <a:lnTo>
                    <a:pt x="171" y="266"/>
                  </a:lnTo>
                  <a:lnTo>
                    <a:pt x="156" y="261"/>
                  </a:lnTo>
                  <a:lnTo>
                    <a:pt x="142" y="254"/>
                  </a:lnTo>
                  <a:lnTo>
                    <a:pt x="130" y="243"/>
                  </a:lnTo>
                  <a:lnTo>
                    <a:pt x="121" y="233"/>
                  </a:lnTo>
                  <a:lnTo>
                    <a:pt x="113" y="219"/>
                  </a:lnTo>
                  <a:lnTo>
                    <a:pt x="109" y="203"/>
                  </a:lnTo>
                  <a:lnTo>
                    <a:pt x="108" y="196"/>
                  </a:lnTo>
                  <a:lnTo>
                    <a:pt x="108" y="187"/>
                  </a:lnTo>
                  <a:lnTo>
                    <a:pt x="108" y="187"/>
                  </a:lnTo>
                  <a:lnTo>
                    <a:pt x="108" y="179"/>
                  </a:lnTo>
                  <a:lnTo>
                    <a:pt x="109" y="171"/>
                  </a:lnTo>
                  <a:lnTo>
                    <a:pt x="113" y="156"/>
                  </a:lnTo>
                  <a:lnTo>
                    <a:pt x="121" y="142"/>
                  </a:lnTo>
                  <a:lnTo>
                    <a:pt x="130" y="132"/>
                  </a:lnTo>
                  <a:lnTo>
                    <a:pt x="142" y="121"/>
                  </a:lnTo>
                  <a:lnTo>
                    <a:pt x="156" y="114"/>
                  </a:lnTo>
                  <a:lnTo>
                    <a:pt x="171" y="109"/>
                  </a:lnTo>
                  <a:lnTo>
                    <a:pt x="179" y="108"/>
                  </a:lnTo>
                  <a:lnTo>
                    <a:pt x="187" y="108"/>
                  </a:lnTo>
                  <a:lnTo>
                    <a:pt x="187" y="108"/>
                  </a:lnTo>
                  <a:lnTo>
                    <a:pt x="195" y="108"/>
                  </a:lnTo>
                  <a:lnTo>
                    <a:pt x="203" y="109"/>
                  </a:lnTo>
                  <a:lnTo>
                    <a:pt x="218" y="114"/>
                  </a:lnTo>
                  <a:lnTo>
                    <a:pt x="231" y="121"/>
                  </a:lnTo>
                  <a:lnTo>
                    <a:pt x="243" y="132"/>
                  </a:lnTo>
                  <a:lnTo>
                    <a:pt x="253" y="142"/>
                  </a:lnTo>
                  <a:lnTo>
                    <a:pt x="259" y="156"/>
                  </a:lnTo>
                  <a:lnTo>
                    <a:pt x="265" y="171"/>
                  </a:lnTo>
                  <a:lnTo>
                    <a:pt x="266" y="179"/>
                  </a:lnTo>
                  <a:lnTo>
                    <a:pt x="266" y="187"/>
                  </a:lnTo>
                  <a:lnTo>
                    <a:pt x="266" y="187"/>
                  </a:lnTo>
                  <a:lnTo>
                    <a:pt x="266" y="196"/>
                  </a:lnTo>
                  <a:lnTo>
                    <a:pt x="265" y="203"/>
                  </a:lnTo>
                  <a:lnTo>
                    <a:pt x="259" y="219"/>
                  </a:lnTo>
                  <a:lnTo>
                    <a:pt x="253" y="233"/>
                  </a:lnTo>
                  <a:lnTo>
                    <a:pt x="243" y="243"/>
                  </a:lnTo>
                  <a:lnTo>
                    <a:pt x="231" y="254"/>
                  </a:lnTo>
                  <a:lnTo>
                    <a:pt x="218" y="261"/>
                  </a:lnTo>
                  <a:lnTo>
                    <a:pt x="203" y="266"/>
                  </a:lnTo>
                  <a:lnTo>
                    <a:pt x="195" y="266"/>
                  </a:lnTo>
                  <a:lnTo>
                    <a:pt x="187" y="267"/>
                  </a:lnTo>
                  <a:lnTo>
                    <a:pt x="187" y="26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9857E5A9-262F-67E4-C28D-7AA15A8D8FBC}"/>
              </a:ext>
            </a:extLst>
          </p:cNvPr>
          <p:cNvCxnSpPr>
            <a:cxnSpLocks/>
            <a:stCxn id="115" idx="2"/>
            <a:endCxn id="163" idx="0"/>
          </p:cNvCxnSpPr>
          <p:nvPr/>
        </p:nvCxnSpPr>
        <p:spPr>
          <a:xfrm flipH="1">
            <a:off x="7868007" y="4395408"/>
            <a:ext cx="712840" cy="516208"/>
          </a:xfrm>
          <a:prstGeom prst="straightConnector1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01B8BD91-7149-6859-0CE2-98825C845757}"/>
              </a:ext>
            </a:extLst>
          </p:cNvPr>
          <p:cNvGrpSpPr/>
          <p:nvPr/>
        </p:nvGrpSpPr>
        <p:grpSpPr>
          <a:xfrm>
            <a:off x="9258832" y="4916767"/>
            <a:ext cx="1255465" cy="437362"/>
            <a:chOff x="2987070" y="5501830"/>
            <a:chExt cx="1255465" cy="437362"/>
          </a:xfrm>
          <a:solidFill>
            <a:srgbClr val="6FC2B4"/>
          </a:solidFill>
        </p:grpSpPr>
        <p:sp>
          <p:nvSpPr>
            <p:cNvPr id="170" name="Rectangle 390">
              <a:extLst>
                <a:ext uri="{FF2B5EF4-FFF2-40B4-BE49-F238E27FC236}">
                  <a16:creationId xmlns:a16="http://schemas.microsoft.com/office/drawing/2014/main" id="{B6C2E6FA-01FE-0B01-C336-CCA2EB46FCE2}"/>
                </a:ext>
              </a:extLst>
            </p:cNvPr>
            <p:cNvSpPr/>
            <p:nvPr/>
          </p:nvSpPr>
          <p:spPr>
            <a:xfrm>
              <a:off x="2987070" y="5501830"/>
              <a:ext cx="1255465" cy="437362"/>
            </a:xfrm>
            <a:prstGeom prst="rect">
              <a:avLst/>
            </a:prstGeom>
            <a:grpFill/>
            <a:ln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hu-HU" sz="800" b="1" dirty="0" err="1">
                  <a:solidFill>
                    <a:srgbClr val="FF0000"/>
                  </a:solidFill>
                </a:rPr>
                <a:t>Heart</a:t>
              </a:r>
              <a:r>
                <a:rPr lang="hu-HU" sz="800" b="1" dirty="0">
                  <a:solidFill>
                    <a:srgbClr val="FF0000"/>
                  </a:solidFill>
                </a:rPr>
                <a:t>-Beat</a:t>
              </a:r>
              <a:r>
                <a:rPr lang="hu-HU" sz="800" b="1" dirty="0">
                  <a:solidFill>
                    <a:schemeClr val="tx1"/>
                  </a:solidFill>
                </a:rPr>
                <a:t> </a:t>
              </a:r>
              <a:r>
                <a:rPr lang="hu-HU" sz="800" b="1" dirty="0">
                  <a:solidFill>
                    <a:srgbClr val="FF0000"/>
                  </a:solidFill>
                </a:rPr>
                <a:t>Back-End</a:t>
              </a:r>
            </a:p>
          </p:txBody>
        </p:sp>
        <p:sp>
          <p:nvSpPr>
            <p:cNvPr id="171" name="Freeform 216">
              <a:extLst>
                <a:ext uri="{FF2B5EF4-FFF2-40B4-BE49-F238E27FC236}">
                  <a16:creationId xmlns:a16="http://schemas.microsoft.com/office/drawing/2014/main" id="{8808EB9F-2100-B032-B5B2-CD306E8B2A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9516" y="5585180"/>
              <a:ext cx="255551" cy="255086"/>
            </a:xfrm>
            <a:custGeom>
              <a:avLst/>
              <a:gdLst>
                <a:gd name="T0" fmla="*/ 321 w 374"/>
                <a:gd name="T1" fmla="*/ 151 h 375"/>
                <a:gd name="T2" fmla="*/ 336 w 374"/>
                <a:gd name="T3" fmla="*/ 81 h 375"/>
                <a:gd name="T4" fmla="*/ 336 w 374"/>
                <a:gd name="T5" fmla="*/ 73 h 375"/>
                <a:gd name="T6" fmla="*/ 298 w 374"/>
                <a:gd name="T7" fmla="*/ 36 h 375"/>
                <a:gd name="T8" fmla="*/ 255 w 374"/>
                <a:gd name="T9" fmla="*/ 67 h 375"/>
                <a:gd name="T10" fmla="*/ 216 w 374"/>
                <a:gd name="T11" fmla="*/ 5 h 375"/>
                <a:gd name="T12" fmla="*/ 211 w 374"/>
                <a:gd name="T13" fmla="*/ 0 h 375"/>
                <a:gd name="T14" fmla="*/ 159 w 374"/>
                <a:gd name="T15" fmla="*/ 1 h 375"/>
                <a:gd name="T16" fmla="*/ 151 w 374"/>
                <a:gd name="T17" fmla="*/ 54 h 375"/>
                <a:gd name="T18" fmla="*/ 79 w 374"/>
                <a:gd name="T19" fmla="*/ 38 h 375"/>
                <a:gd name="T20" fmla="*/ 71 w 374"/>
                <a:gd name="T21" fmla="*/ 38 h 375"/>
                <a:gd name="T22" fmla="*/ 35 w 374"/>
                <a:gd name="T23" fmla="*/ 77 h 375"/>
                <a:gd name="T24" fmla="*/ 66 w 374"/>
                <a:gd name="T25" fmla="*/ 118 h 375"/>
                <a:gd name="T26" fmla="*/ 5 w 374"/>
                <a:gd name="T27" fmla="*/ 157 h 375"/>
                <a:gd name="T28" fmla="*/ 0 w 374"/>
                <a:gd name="T29" fmla="*/ 163 h 375"/>
                <a:gd name="T30" fmla="*/ 1 w 374"/>
                <a:gd name="T31" fmla="*/ 215 h 375"/>
                <a:gd name="T32" fmla="*/ 52 w 374"/>
                <a:gd name="T33" fmla="*/ 224 h 375"/>
                <a:gd name="T34" fmla="*/ 36 w 374"/>
                <a:gd name="T35" fmla="*/ 294 h 375"/>
                <a:gd name="T36" fmla="*/ 38 w 374"/>
                <a:gd name="T37" fmla="*/ 302 h 375"/>
                <a:gd name="T38" fmla="*/ 74 w 374"/>
                <a:gd name="T39" fmla="*/ 339 h 375"/>
                <a:gd name="T40" fmla="*/ 79 w 374"/>
                <a:gd name="T41" fmla="*/ 337 h 375"/>
                <a:gd name="T42" fmla="*/ 133 w 374"/>
                <a:gd name="T43" fmla="*/ 316 h 375"/>
                <a:gd name="T44" fmla="*/ 156 w 374"/>
                <a:gd name="T45" fmla="*/ 370 h 375"/>
                <a:gd name="T46" fmla="*/ 211 w 374"/>
                <a:gd name="T47" fmla="*/ 375 h 375"/>
                <a:gd name="T48" fmla="*/ 216 w 374"/>
                <a:gd name="T49" fmla="*/ 370 h 375"/>
                <a:gd name="T50" fmla="*/ 239 w 374"/>
                <a:gd name="T51" fmla="*/ 316 h 375"/>
                <a:gd name="T52" fmla="*/ 294 w 374"/>
                <a:gd name="T53" fmla="*/ 337 h 375"/>
                <a:gd name="T54" fmla="*/ 300 w 374"/>
                <a:gd name="T55" fmla="*/ 339 h 375"/>
                <a:gd name="T56" fmla="*/ 336 w 374"/>
                <a:gd name="T57" fmla="*/ 302 h 375"/>
                <a:gd name="T58" fmla="*/ 308 w 374"/>
                <a:gd name="T59" fmla="*/ 257 h 375"/>
                <a:gd name="T60" fmla="*/ 321 w 374"/>
                <a:gd name="T61" fmla="*/ 224 h 375"/>
                <a:gd name="T62" fmla="*/ 372 w 374"/>
                <a:gd name="T63" fmla="*/ 215 h 375"/>
                <a:gd name="T64" fmla="*/ 374 w 374"/>
                <a:gd name="T65" fmla="*/ 163 h 375"/>
                <a:gd name="T66" fmla="*/ 368 w 374"/>
                <a:gd name="T67" fmla="*/ 157 h 375"/>
                <a:gd name="T68" fmla="*/ 179 w 374"/>
                <a:gd name="T69" fmla="*/ 266 h 375"/>
                <a:gd name="T70" fmla="*/ 142 w 374"/>
                <a:gd name="T71" fmla="*/ 254 h 375"/>
                <a:gd name="T72" fmla="*/ 113 w 374"/>
                <a:gd name="T73" fmla="*/ 219 h 375"/>
                <a:gd name="T74" fmla="*/ 108 w 374"/>
                <a:gd name="T75" fmla="*/ 187 h 375"/>
                <a:gd name="T76" fmla="*/ 109 w 374"/>
                <a:gd name="T77" fmla="*/ 171 h 375"/>
                <a:gd name="T78" fmla="*/ 130 w 374"/>
                <a:gd name="T79" fmla="*/ 132 h 375"/>
                <a:gd name="T80" fmla="*/ 171 w 374"/>
                <a:gd name="T81" fmla="*/ 109 h 375"/>
                <a:gd name="T82" fmla="*/ 187 w 374"/>
                <a:gd name="T83" fmla="*/ 108 h 375"/>
                <a:gd name="T84" fmla="*/ 218 w 374"/>
                <a:gd name="T85" fmla="*/ 114 h 375"/>
                <a:gd name="T86" fmla="*/ 253 w 374"/>
                <a:gd name="T87" fmla="*/ 142 h 375"/>
                <a:gd name="T88" fmla="*/ 266 w 374"/>
                <a:gd name="T89" fmla="*/ 179 h 375"/>
                <a:gd name="T90" fmla="*/ 266 w 374"/>
                <a:gd name="T91" fmla="*/ 196 h 375"/>
                <a:gd name="T92" fmla="*/ 253 w 374"/>
                <a:gd name="T93" fmla="*/ 233 h 375"/>
                <a:gd name="T94" fmla="*/ 218 w 374"/>
                <a:gd name="T95" fmla="*/ 261 h 375"/>
                <a:gd name="T96" fmla="*/ 187 w 374"/>
                <a:gd name="T97" fmla="*/ 267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74" h="375">
                  <a:moveTo>
                    <a:pt x="368" y="157"/>
                  </a:moveTo>
                  <a:lnTo>
                    <a:pt x="321" y="151"/>
                  </a:lnTo>
                  <a:lnTo>
                    <a:pt x="321" y="151"/>
                  </a:lnTo>
                  <a:lnTo>
                    <a:pt x="314" y="134"/>
                  </a:lnTo>
                  <a:lnTo>
                    <a:pt x="308" y="118"/>
                  </a:lnTo>
                  <a:lnTo>
                    <a:pt x="336" y="81"/>
                  </a:lnTo>
                  <a:lnTo>
                    <a:pt x="336" y="81"/>
                  </a:lnTo>
                  <a:lnTo>
                    <a:pt x="337" y="77"/>
                  </a:lnTo>
                  <a:lnTo>
                    <a:pt x="336" y="73"/>
                  </a:lnTo>
                  <a:lnTo>
                    <a:pt x="302" y="38"/>
                  </a:lnTo>
                  <a:lnTo>
                    <a:pt x="302" y="38"/>
                  </a:lnTo>
                  <a:lnTo>
                    <a:pt x="298" y="36"/>
                  </a:lnTo>
                  <a:lnTo>
                    <a:pt x="294" y="38"/>
                  </a:lnTo>
                  <a:lnTo>
                    <a:pt x="255" y="67"/>
                  </a:lnTo>
                  <a:lnTo>
                    <a:pt x="255" y="67"/>
                  </a:lnTo>
                  <a:lnTo>
                    <a:pt x="239" y="59"/>
                  </a:lnTo>
                  <a:lnTo>
                    <a:pt x="223" y="54"/>
                  </a:lnTo>
                  <a:lnTo>
                    <a:pt x="216" y="5"/>
                  </a:lnTo>
                  <a:lnTo>
                    <a:pt x="216" y="5"/>
                  </a:lnTo>
                  <a:lnTo>
                    <a:pt x="215" y="1"/>
                  </a:lnTo>
                  <a:lnTo>
                    <a:pt x="211" y="0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59" y="1"/>
                  </a:lnTo>
                  <a:lnTo>
                    <a:pt x="156" y="5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33" y="59"/>
                  </a:lnTo>
                  <a:lnTo>
                    <a:pt x="118" y="67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5" y="36"/>
                  </a:lnTo>
                  <a:lnTo>
                    <a:pt x="71" y="38"/>
                  </a:lnTo>
                  <a:lnTo>
                    <a:pt x="38" y="73"/>
                  </a:lnTo>
                  <a:lnTo>
                    <a:pt x="38" y="73"/>
                  </a:lnTo>
                  <a:lnTo>
                    <a:pt x="35" y="77"/>
                  </a:lnTo>
                  <a:lnTo>
                    <a:pt x="36" y="81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58" y="134"/>
                  </a:lnTo>
                  <a:lnTo>
                    <a:pt x="52" y="151"/>
                  </a:lnTo>
                  <a:lnTo>
                    <a:pt x="5" y="157"/>
                  </a:lnTo>
                  <a:lnTo>
                    <a:pt x="5" y="157"/>
                  </a:lnTo>
                  <a:lnTo>
                    <a:pt x="1" y="160"/>
                  </a:lnTo>
                  <a:lnTo>
                    <a:pt x="0" y="163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1" y="215"/>
                  </a:lnTo>
                  <a:lnTo>
                    <a:pt x="5" y="218"/>
                  </a:lnTo>
                  <a:lnTo>
                    <a:pt x="52" y="224"/>
                  </a:lnTo>
                  <a:lnTo>
                    <a:pt x="52" y="224"/>
                  </a:lnTo>
                  <a:lnTo>
                    <a:pt x="58" y="241"/>
                  </a:lnTo>
                  <a:lnTo>
                    <a:pt x="66" y="257"/>
                  </a:lnTo>
                  <a:lnTo>
                    <a:pt x="36" y="294"/>
                  </a:lnTo>
                  <a:lnTo>
                    <a:pt x="36" y="294"/>
                  </a:lnTo>
                  <a:lnTo>
                    <a:pt x="35" y="298"/>
                  </a:lnTo>
                  <a:lnTo>
                    <a:pt x="38" y="302"/>
                  </a:lnTo>
                  <a:lnTo>
                    <a:pt x="71" y="337"/>
                  </a:lnTo>
                  <a:lnTo>
                    <a:pt x="71" y="337"/>
                  </a:lnTo>
                  <a:lnTo>
                    <a:pt x="74" y="339"/>
                  </a:lnTo>
                  <a:lnTo>
                    <a:pt x="75" y="339"/>
                  </a:lnTo>
                  <a:lnTo>
                    <a:pt x="75" y="339"/>
                  </a:lnTo>
                  <a:lnTo>
                    <a:pt x="79" y="337"/>
                  </a:lnTo>
                  <a:lnTo>
                    <a:pt x="118" y="308"/>
                  </a:lnTo>
                  <a:lnTo>
                    <a:pt x="118" y="308"/>
                  </a:lnTo>
                  <a:lnTo>
                    <a:pt x="133" y="316"/>
                  </a:lnTo>
                  <a:lnTo>
                    <a:pt x="151" y="321"/>
                  </a:lnTo>
                  <a:lnTo>
                    <a:pt x="156" y="370"/>
                  </a:lnTo>
                  <a:lnTo>
                    <a:pt x="156" y="370"/>
                  </a:lnTo>
                  <a:lnTo>
                    <a:pt x="159" y="374"/>
                  </a:lnTo>
                  <a:lnTo>
                    <a:pt x="163" y="375"/>
                  </a:lnTo>
                  <a:lnTo>
                    <a:pt x="211" y="375"/>
                  </a:lnTo>
                  <a:lnTo>
                    <a:pt x="211" y="375"/>
                  </a:lnTo>
                  <a:lnTo>
                    <a:pt x="215" y="374"/>
                  </a:lnTo>
                  <a:lnTo>
                    <a:pt x="216" y="370"/>
                  </a:lnTo>
                  <a:lnTo>
                    <a:pt x="223" y="321"/>
                  </a:lnTo>
                  <a:lnTo>
                    <a:pt x="223" y="321"/>
                  </a:lnTo>
                  <a:lnTo>
                    <a:pt x="239" y="316"/>
                  </a:lnTo>
                  <a:lnTo>
                    <a:pt x="255" y="308"/>
                  </a:lnTo>
                  <a:lnTo>
                    <a:pt x="294" y="337"/>
                  </a:lnTo>
                  <a:lnTo>
                    <a:pt x="294" y="337"/>
                  </a:lnTo>
                  <a:lnTo>
                    <a:pt x="297" y="339"/>
                  </a:lnTo>
                  <a:lnTo>
                    <a:pt x="297" y="339"/>
                  </a:lnTo>
                  <a:lnTo>
                    <a:pt x="300" y="339"/>
                  </a:lnTo>
                  <a:lnTo>
                    <a:pt x="302" y="337"/>
                  </a:lnTo>
                  <a:lnTo>
                    <a:pt x="336" y="302"/>
                  </a:lnTo>
                  <a:lnTo>
                    <a:pt x="336" y="302"/>
                  </a:lnTo>
                  <a:lnTo>
                    <a:pt x="337" y="298"/>
                  </a:lnTo>
                  <a:lnTo>
                    <a:pt x="336" y="294"/>
                  </a:lnTo>
                  <a:lnTo>
                    <a:pt x="308" y="257"/>
                  </a:lnTo>
                  <a:lnTo>
                    <a:pt x="308" y="257"/>
                  </a:lnTo>
                  <a:lnTo>
                    <a:pt x="314" y="241"/>
                  </a:lnTo>
                  <a:lnTo>
                    <a:pt x="321" y="224"/>
                  </a:lnTo>
                  <a:lnTo>
                    <a:pt x="368" y="218"/>
                  </a:lnTo>
                  <a:lnTo>
                    <a:pt x="368" y="218"/>
                  </a:lnTo>
                  <a:lnTo>
                    <a:pt x="372" y="215"/>
                  </a:lnTo>
                  <a:lnTo>
                    <a:pt x="374" y="211"/>
                  </a:lnTo>
                  <a:lnTo>
                    <a:pt x="374" y="163"/>
                  </a:lnTo>
                  <a:lnTo>
                    <a:pt x="374" y="163"/>
                  </a:lnTo>
                  <a:lnTo>
                    <a:pt x="372" y="160"/>
                  </a:lnTo>
                  <a:lnTo>
                    <a:pt x="368" y="157"/>
                  </a:lnTo>
                  <a:lnTo>
                    <a:pt x="368" y="157"/>
                  </a:lnTo>
                  <a:close/>
                  <a:moveTo>
                    <a:pt x="187" y="267"/>
                  </a:moveTo>
                  <a:lnTo>
                    <a:pt x="187" y="267"/>
                  </a:lnTo>
                  <a:lnTo>
                    <a:pt x="179" y="266"/>
                  </a:lnTo>
                  <a:lnTo>
                    <a:pt x="171" y="266"/>
                  </a:lnTo>
                  <a:lnTo>
                    <a:pt x="156" y="261"/>
                  </a:lnTo>
                  <a:lnTo>
                    <a:pt x="142" y="254"/>
                  </a:lnTo>
                  <a:lnTo>
                    <a:pt x="130" y="243"/>
                  </a:lnTo>
                  <a:lnTo>
                    <a:pt x="121" y="233"/>
                  </a:lnTo>
                  <a:lnTo>
                    <a:pt x="113" y="219"/>
                  </a:lnTo>
                  <a:lnTo>
                    <a:pt x="109" y="203"/>
                  </a:lnTo>
                  <a:lnTo>
                    <a:pt x="108" y="196"/>
                  </a:lnTo>
                  <a:lnTo>
                    <a:pt x="108" y="187"/>
                  </a:lnTo>
                  <a:lnTo>
                    <a:pt x="108" y="187"/>
                  </a:lnTo>
                  <a:lnTo>
                    <a:pt x="108" y="179"/>
                  </a:lnTo>
                  <a:lnTo>
                    <a:pt x="109" y="171"/>
                  </a:lnTo>
                  <a:lnTo>
                    <a:pt x="113" y="156"/>
                  </a:lnTo>
                  <a:lnTo>
                    <a:pt x="121" y="142"/>
                  </a:lnTo>
                  <a:lnTo>
                    <a:pt x="130" y="132"/>
                  </a:lnTo>
                  <a:lnTo>
                    <a:pt x="142" y="121"/>
                  </a:lnTo>
                  <a:lnTo>
                    <a:pt x="156" y="114"/>
                  </a:lnTo>
                  <a:lnTo>
                    <a:pt x="171" y="109"/>
                  </a:lnTo>
                  <a:lnTo>
                    <a:pt x="179" y="108"/>
                  </a:lnTo>
                  <a:lnTo>
                    <a:pt x="187" y="108"/>
                  </a:lnTo>
                  <a:lnTo>
                    <a:pt x="187" y="108"/>
                  </a:lnTo>
                  <a:lnTo>
                    <a:pt x="195" y="108"/>
                  </a:lnTo>
                  <a:lnTo>
                    <a:pt x="203" y="109"/>
                  </a:lnTo>
                  <a:lnTo>
                    <a:pt x="218" y="114"/>
                  </a:lnTo>
                  <a:lnTo>
                    <a:pt x="231" y="121"/>
                  </a:lnTo>
                  <a:lnTo>
                    <a:pt x="243" y="132"/>
                  </a:lnTo>
                  <a:lnTo>
                    <a:pt x="253" y="142"/>
                  </a:lnTo>
                  <a:lnTo>
                    <a:pt x="259" y="156"/>
                  </a:lnTo>
                  <a:lnTo>
                    <a:pt x="265" y="171"/>
                  </a:lnTo>
                  <a:lnTo>
                    <a:pt x="266" y="179"/>
                  </a:lnTo>
                  <a:lnTo>
                    <a:pt x="266" y="187"/>
                  </a:lnTo>
                  <a:lnTo>
                    <a:pt x="266" y="187"/>
                  </a:lnTo>
                  <a:lnTo>
                    <a:pt x="266" y="196"/>
                  </a:lnTo>
                  <a:lnTo>
                    <a:pt x="265" y="203"/>
                  </a:lnTo>
                  <a:lnTo>
                    <a:pt x="259" y="219"/>
                  </a:lnTo>
                  <a:lnTo>
                    <a:pt x="253" y="233"/>
                  </a:lnTo>
                  <a:lnTo>
                    <a:pt x="243" y="243"/>
                  </a:lnTo>
                  <a:lnTo>
                    <a:pt x="231" y="254"/>
                  </a:lnTo>
                  <a:lnTo>
                    <a:pt x="218" y="261"/>
                  </a:lnTo>
                  <a:lnTo>
                    <a:pt x="203" y="266"/>
                  </a:lnTo>
                  <a:lnTo>
                    <a:pt x="195" y="266"/>
                  </a:lnTo>
                  <a:lnTo>
                    <a:pt x="187" y="267"/>
                  </a:lnTo>
                  <a:lnTo>
                    <a:pt x="187" y="267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rgbClr val="000000"/>
              </a:solidFill>
              <a:prstDash val="dash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9AEA33A8-E001-3FCC-7082-31E201C1D683}"/>
              </a:ext>
            </a:extLst>
          </p:cNvPr>
          <p:cNvGrpSpPr/>
          <p:nvPr/>
        </p:nvGrpSpPr>
        <p:grpSpPr>
          <a:xfrm>
            <a:off x="8426471" y="4911616"/>
            <a:ext cx="717821" cy="437362"/>
            <a:chOff x="2987070" y="5501830"/>
            <a:chExt cx="1255465" cy="437362"/>
          </a:xfrm>
          <a:solidFill>
            <a:srgbClr val="6FC2B4"/>
          </a:solidFill>
        </p:grpSpPr>
        <p:sp>
          <p:nvSpPr>
            <p:cNvPr id="177" name="Rectangle 390">
              <a:extLst>
                <a:ext uri="{FF2B5EF4-FFF2-40B4-BE49-F238E27FC236}">
                  <a16:creationId xmlns:a16="http://schemas.microsoft.com/office/drawing/2014/main" id="{E7E38DFC-9542-A74D-6CC1-BA987D5BB8E8}"/>
                </a:ext>
              </a:extLst>
            </p:cNvPr>
            <p:cNvSpPr/>
            <p:nvPr/>
          </p:nvSpPr>
          <p:spPr>
            <a:xfrm>
              <a:off x="2987070" y="5501830"/>
              <a:ext cx="1255465" cy="437362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hu-HU" sz="800" b="1" dirty="0">
                  <a:solidFill>
                    <a:schemeClr val="tx1"/>
                  </a:solidFill>
                </a:rPr>
                <a:t>!</a:t>
              </a:r>
              <a:r>
                <a:rPr lang="hu-HU" sz="800" b="1" dirty="0" err="1">
                  <a:solidFill>
                    <a:schemeClr val="tx1"/>
                  </a:solidFill>
                </a:rPr>
                <a:t>loadMe</a:t>
              </a:r>
              <a:r>
                <a:rPr lang="hu-HU" sz="800" b="1" dirty="0">
                  <a:solidFill>
                    <a:schemeClr val="tx1"/>
                  </a:solidFill>
                </a:rPr>
                <a:t> </a:t>
              </a:r>
            </a:p>
            <a:p>
              <a:pPr algn="r"/>
              <a:r>
                <a:rPr lang="hu-HU" sz="800" b="1" dirty="0" err="1">
                  <a:solidFill>
                    <a:schemeClr val="tx1"/>
                  </a:solidFill>
                </a:rPr>
                <a:t>Message</a:t>
              </a:r>
              <a:r>
                <a:rPr lang="hu-HU" sz="800" b="1" dirty="0">
                  <a:solidFill>
                    <a:schemeClr val="tx1"/>
                  </a:solidFill>
                </a:rPr>
                <a:t> GW  BE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178" name="Freeform 216">
              <a:extLst>
                <a:ext uri="{FF2B5EF4-FFF2-40B4-BE49-F238E27FC236}">
                  <a16:creationId xmlns:a16="http://schemas.microsoft.com/office/drawing/2014/main" id="{1FAB61EA-AD26-A89F-94DF-7176B5EC33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9516" y="5585180"/>
              <a:ext cx="255551" cy="255086"/>
            </a:xfrm>
            <a:custGeom>
              <a:avLst/>
              <a:gdLst>
                <a:gd name="T0" fmla="*/ 321 w 374"/>
                <a:gd name="T1" fmla="*/ 151 h 375"/>
                <a:gd name="T2" fmla="*/ 336 w 374"/>
                <a:gd name="T3" fmla="*/ 81 h 375"/>
                <a:gd name="T4" fmla="*/ 336 w 374"/>
                <a:gd name="T5" fmla="*/ 73 h 375"/>
                <a:gd name="T6" fmla="*/ 298 w 374"/>
                <a:gd name="T7" fmla="*/ 36 h 375"/>
                <a:gd name="T8" fmla="*/ 255 w 374"/>
                <a:gd name="T9" fmla="*/ 67 h 375"/>
                <a:gd name="T10" fmla="*/ 216 w 374"/>
                <a:gd name="T11" fmla="*/ 5 h 375"/>
                <a:gd name="T12" fmla="*/ 211 w 374"/>
                <a:gd name="T13" fmla="*/ 0 h 375"/>
                <a:gd name="T14" fmla="*/ 159 w 374"/>
                <a:gd name="T15" fmla="*/ 1 h 375"/>
                <a:gd name="T16" fmla="*/ 151 w 374"/>
                <a:gd name="T17" fmla="*/ 54 h 375"/>
                <a:gd name="T18" fmla="*/ 79 w 374"/>
                <a:gd name="T19" fmla="*/ 38 h 375"/>
                <a:gd name="T20" fmla="*/ 71 w 374"/>
                <a:gd name="T21" fmla="*/ 38 h 375"/>
                <a:gd name="T22" fmla="*/ 35 w 374"/>
                <a:gd name="T23" fmla="*/ 77 h 375"/>
                <a:gd name="T24" fmla="*/ 66 w 374"/>
                <a:gd name="T25" fmla="*/ 118 h 375"/>
                <a:gd name="T26" fmla="*/ 5 w 374"/>
                <a:gd name="T27" fmla="*/ 157 h 375"/>
                <a:gd name="T28" fmla="*/ 0 w 374"/>
                <a:gd name="T29" fmla="*/ 163 h 375"/>
                <a:gd name="T30" fmla="*/ 1 w 374"/>
                <a:gd name="T31" fmla="*/ 215 h 375"/>
                <a:gd name="T32" fmla="*/ 52 w 374"/>
                <a:gd name="T33" fmla="*/ 224 h 375"/>
                <a:gd name="T34" fmla="*/ 36 w 374"/>
                <a:gd name="T35" fmla="*/ 294 h 375"/>
                <a:gd name="T36" fmla="*/ 38 w 374"/>
                <a:gd name="T37" fmla="*/ 302 h 375"/>
                <a:gd name="T38" fmla="*/ 74 w 374"/>
                <a:gd name="T39" fmla="*/ 339 h 375"/>
                <a:gd name="T40" fmla="*/ 79 w 374"/>
                <a:gd name="T41" fmla="*/ 337 h 375"/>
                <a:gd name="T42" fmla="*/ 133 w 374"/>
                <a:gd name="T43" fmla="*/ 316 h 375"/>
                <a:gd name="T44" fmla="*/ 156 w 374"/>
                <a:gd name="T45" fmla="*/ 370 h 375"/>
                <a:gd name="T46" fmla="*/ 211 w 374"/>
                <a:gd name="T47" fmla="*/ 375 h 375"/>
                <a:gd name="T48" fmla="*/ 216 w 374"/>
                <a:gd name="T49" fmla="*/ 370 h 375"/>
                <a:gd name="T50" fmla="*/ 239 w 374"/>
                <a:gd name="T51" fmla="*/ 316 h 375"/>
                <a:gd name="T52" fmla="*/ 294 w 374"/>
                <a:gd name="T53" fmla="*/ 337 h 375"/>
                <a:gd name="T54" fmla="*/ 300 w 374"/>
                <a:gd name="T55" fmla="*/ 339 h 375"/>
                <a:gd name="T56" fmla="*/ 336 w 374"/>
                <a:gd name="T57" fmla="*/ 302 h 375"/>
                <a:gd name="T58" fmla="*/ 308 w 374"/>
                <a:gd name="T59" fmla="*/ 257 h 375"/>
                <a:gd name="T60" fmla="*/ 321 w 374"/>
                <a:gd name="T61" fmla="*/ 224 h 375"/>
                <a:gd name="T62" fmla="*/ 372 w 374"/>
                <a:gd name="T63" fmla="*/ 215 h 375"/>
                <a:gd name="T64" fmla="*/ 374 w 374"/>
                <a:gd name="T65" fmla="*/ 163 h 375"/>
                <a:gd name="T66" fmla="*/ 368 w 374"/>
                <a:gd name="T67" fmla="*/ 157 h 375"/>
                <a:gd name="T68" fmla="*/ 179 w 374"/>
                <a:gd name="T69" fmla="*/ 266 h 375"/>
                <a:gd name="T70" fmla="*/ 142 w 374"/>
                <a:gd name="T71" fmla="*/ 254 h 375"/>
                <a:gd name="T72" fmla="*/ 113 w 374"/>
                <a:gd name="T73" fmla="*/ 219 h 375"/>
                <a:gd name="T74" fmla="*/ 108 w 374"/>
                <a:gd name="T75" fmla="*/ 187 h 375"/>
                <a:gd name="T76" fmla="*/ 109 w 374"/>
                <a:gd name="T77" fmla="*/ 171 h 375"/>
                <a:gd name="T78" fmla="*/ 130 w 374"/>
                <a:gd name="T79" fmla="*/ 132 h 375"/>
                <a:gd name="T80" fmla="*/ 171 w 374"/>
                <a:gd name="T81" fmla="*/ 109 h 375"/>
                <a:gd name="T82" fmla="*/ 187 w 374"/>
                <a:gd name="T83" fmla="*/ 108 h 375"/>
                <a:gd name="T84" fmla="*/ 218 w 374"/>
                <a:gd name="T85" fmla="*/ 114 h 375"/>
                <a:gd name="T86" fmla="*/ 253 w 374"/>
                <a:gd name="T87" fmla="*/ 142 h 375"/>
                <a:gd name="T88" fmla="*/ 266 w 374"/>
                <a:gd name="T89" fmla="*/ 179 h 375"/>
                <a:gd name="T90" fmla="*/ 266 w 374"/>
                <a:gd name="T91" fmla="*/ 196 h 375"/>
                <a:gd name="T92" fmla="*/ 253 w 374"/>
                <a:gd name="T93" fmla="*/ 233 h 375"/>
                <a:gd name="T94" fmla="*/ 218 w 374"/>
                <a:gd name="T95" fmla="*/ 261 h 375"/>
                <a:gd name="T96" fmla="*/ 187 w 374"/>
                <a:gd name="T97" fmla="*/ 267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74" h="375">
                  <a:moveTo>
                    <a:pt x="368" y="157"/>
                  </a:moveTo>
                  <a:lnTo>
                    <a:pt x="321" y="151"/>
                  </a:lnTo>
                  <a:lnTo>
                    <a:pt x="321" y="151"/>
                  </a:lnTo>
                  <a:lnTo>
                    <a:pt x="314" y="134"/>
                  </a:lnTo>
                  <a:lnTo>
                    <a:pt x="308" y="118"/>
                  </a:lnTo>
                  <a:lnTo>
                    <a:pt x="336" y="81"/>
                  </a:lnTo>
                  <a:lnTo>
                    <a:pt x="336" y="81"/>
                  </a:lnTo>
                  <a:lnTo>
                    <a:pt x="337" y="77"/>
                  </a:lnTo>
                  <a:lnTo>
                    <a:pt x="336" y="73"/>
                  </a:lnTo>
                  <a:lnTo>
                    <a:pt x="302" y="38"/>
                  </a:lnTo>
                  <a:lnTo>
                    <a:pt x="302" y="38"/>
                  </a:lnTo>
                  <a:lnTo>
                    <a:pt x="298" y="36"/>
                  </a:lnTo>
                  <a:lnTo>
                    <a:pt x="294" y="38"/>
                  </a:lnTo>
                  <a:lnTo>
                    <a:pt x="255" y="67"/>
                  </a:lnTo>
                  <a:lnTo>
                    <a:pt x="255" y="67"/>
                  </a:lnTo>
                  <a:lnTo>
                    <a:pt x="239" y="59"/>
                  </a:lnTo>
                  <a:lnTo>
                    <a:pt x="223" y="54"/>
                  </a:lnTo>
                  <a:lnTo>
                    <a:pt x="216" y="5"/>
                  </a:lnTo>
                  <a:lnTo>
                    <a:pt x="216" y="5"/>
                  </a:lnTo>
                  <a:lnTo>
                    <a:pt x="215" y="1"/>
                  </a:lnTo>
                  <a:lnTo>
                    <a:pt x="211" y="0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59" y="1"/>
                  </a:lnTo>
                  <a:lnTo>
                    <a:pt x="156" y="5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33" y="59"/>
                  </a:lnTo>
                  <a:lnTo>
                    <a:pt x="118" y="67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5" y="36"/>
                  </a:lnTo>
                  <a:lnTo>
                    <a:pt x="71" y="38"/>
                  </a:lnTo>
                  <a:lnTo>
                    <a:pt x="38" y="73"/>
                  </a:lnTo>
                  <a:lnTo>
                    <a:pt x="38" y="73"/>
                  </a:lnTo>
                  <a:lnTo>
                    <a:pt x="35" y="77"/>
                  </a:lnTo>
                  <a:lnTo>
                    <a:pt x="36" y="81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58" y="134"/>
                  </a:lnTo>
                  <a:lnTo>
                    <a:pt x="52" y="151"/>
                  </a:lnTo>
                  <a:lnTo>
                    <a:pt x="5" y="157"/>
                  </a:lnTo>
                  <a:lnTo>
                    <a:pt x="5" y="157"/>
                  </a:lnTo>
                  <a:lnTo>
                    <a:pt x="1" y="160"/>
                  </a:lnTo>
                  <a:lnTo>
                    <a:pt x="0" y="163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1" y="215"/>
                  </a:lnTo>
                  <a:lnTo>
                    <a:pt x="5" y="218"/>
                  </a:lnTo>
                  <a:lnTo>
                    <a:pt x="52" y="224"/>
                  </a:lnTo>
                  <a:lnTo>
                    <a:pt x="52" y="224"/>
                  </a:lnTo>
                  <a:lnTo>
                    <a:pt x="58" y="241"/>
                  </a:lnTo>
                  <a:lnTo>
                    <a:pt x="66" y="257"/>
                  </a:lnTo>
                  <a:lnTo>
                    <a:pt x="36" y="294"/>
                  </a:lnTo>
                  <a:lnTo>
                    <a:pt x="36" y="294"/>
                  </a:lnTo>
                  <a:lnTo>
                    <a:pt x="35" y="298"/>
                  </a:lnTo>
                  <a:lnTo>
                    <a:pt x="38" y="302"/>
                  </a:lnTo>
                  <a:lnTo>
                    <a:pt x="71" y="337"/>
                  </a:lnTo>
                  <a:lnTo>
                    <a:pt x="71" y="337"/>
                  </a:lnTo>
                  <a:lnTo>
                    <a:pt x="74" y="339"/>
                  </a:lnTo>
                  <a:lnTo>
                    <a:pt x="75" y="339"/>
                  </a:lnTo>
                  <a:lnTo>
                    <a:pt x="75" y="339"/>
                  </a:lnTo>
                  <a:lnTo>
                    <a:pt x="79" y="337"/>
                  </a:lnTo>
                  <a:lnTo>
                    <a:pt x="118" y="308"/>
                  </a:lnTo>
                  <a:lnTo>
                    <a:pt x="118" y="308"/>
                  </a:lnTo>
                  <a:lnTo>
                    <a:pt x="133" y="316"/>
                  </a:lnTo>
                  <a:lnTo>
                    <a:pt x="151" y="321"/>
                  </a:lnTo>
                  <a:lnTo>
                    <a:pt x="156" y="370"/>
                  </a:lnTo>
                  <a:lnTo>
                    <a:pt x="156" y="370"/>
                  </a:lnTo>
                  <a:lnTo>
                    <a:pt x="159" y="374"/>
                  </a:lnTo>
                  <a:lnTo>
                    <a:pt x="163" y="375"/>
                  </a:lnTo>
                  <a:lnTo>
                    <a:pt x="211" y="375"/>
                  </a:lnTo>
                  <a:lnTo>
                    <a:pt x="211" y="375"/>
                  </a:lnTo>
                  <a:lnTo>
                    <a:pt x="215" y="374"/>
                  </a:lnTo>
                  <a:lnTo>
                    <a:pt x="216" y="370"/>
                  </a:lnTo>
                  <a:lnTo>
                    <a:pt x="223" y="321"/>
                  </a:lnTo>
                  <a:lnTo>
                    <a:pt x="223" y="321"/>
                  </a:lnTo>
                  <a:lnTo>
                    <a:pt x="239" y="316"/>
                  </a:lnTo>
                  <a:lnTo>
                    <a:pt x="255" y="308"/>
                  </a:lnTo>
                  <a:lnTo>
                    <a:pt x="294" y="337"/>
                  </a:lnTo>
                  <a:lnTo>
                    <a:pt x="294" y="337"/>
                  </a:lnTo>
                  <a:lnTo>
                    <a:pt x="297" y="339"/>
                  </a:lnTo>
                  <a:lnTo>
                    <a:pt x="297" y="339"/>
                  </a:lnTo>
                  <a:lnTo>
                    <a:pt x="300" y="339"/>
                  </a:lnTo>
                  <a:lnTo>
                    <a:pt x="302" y="337"/>
                  </a:lnTo>
                  <a:lnTo>
                    <a:pt x="336" y="302"/>
                  </a:lnTo>
                  <a:lnTo>
                    <a:pt x="336" y="302"/>
                  </a:lnTo>
                  <a:lnTo>
                    <a:pt x="337" y="298"/>
                  </a:lnTo>
                  <a:lnTo>
                    <a:pt x="336" y="294"/>
                  </a:lnTo>
                  <a:lnTo>
                    <a:pt x="308" y="257"/>
                  </a:lnTo>
                  <a:lnTo>
                    <a:pt x="308" y="257"/>
                  </a:lnTo>
                  <a:lnTo>
                    <a:pt x="314" y="241"/>
                  </a:lnTo>
                  <a:lnTo>
                    <a:pt x="321" y="224"/>
                  </a:lnTo>
                  <a:lnTo>
                    <a:pt x="368" y="218"/>
                  </a:lnTo>
                  <a:lnTo>
                    <a:pt x="368" y="218"/>
                  </a:lnTo>
                  <a:lnTo>
                    <a:pt x="372" y="215"/>
                  </a:lnTo>
                  <a:lnTo>
                    <a:pt x="374" y="211"/>
                  </a:lnTo>
                  <a:lnTo>
                    <a:pt x="374" y="163"/>
                  </a:lnTo>
                  <a:lnTo>
                    <a:pt x="374" y="163"/>
                  </a:lnTo>
                  <a:lnTo>
                    <a:pt x="372" y="160"/>
                  </a:lnTo>
                  <a:lnTo>
                    <a:pt x="368" y="157"/>
                  </a:lnTo>
                  <a:lnTo>
                    <a:pt x="368" y="157"/>
                  </a:lnTo>
                  <a:close/>
                  <a:moveTo>
                    <a:pt x="187" y="267"/>
                  </a:moveTo>
                  <a:lnTo>
                    <a:pt x="187" y="267"/>
                  </a:lnTo>
                  <a:lnTo>
                    <a:pt x="179" y="266"/>
                  </a:lnTo>
                  <a:lnTo>
                    <a:pt x="171" y="266"/>
                  </a:lnTo>
                  <a:lnTo>
                    <a:pt x="156" y="261"/>
                  </a:lnTo>
                  <a:lnTo>
                    <a:pt x="142" y="254"/>
                  </a:lnTo>
                  <a:lnTo>
                    <a:pt x="130" y="243"/>
                  </a:lnTo>
                  <a:lnTo>
                    <a:pt x="121" y="233"/>
                  </a:lnTo>
                  <a:lnTo>
                    <a:pt x="113" y="219"/>
                  </a:lnTo>
                  <a:lnTo>
                    <a:pt x="109" y="203"/>
                  </a:lnTo>
                  <a:lnTo>
                    <a:pt x="108" y="196"/>
                  </a:lnTo>
                  <a:lnTo>
                    <a:pt x="108" y="187"/>
                  </a:lnTo>
                  <a:lnTo>
                    <a:pt x="108" y="187"/>
                  </a:lnTo>
                  <a:lnTo>
                    <a:pt x="108" y="179"/>
                  </a:lnTo>
                  <a:lnTo>
                    <a:pt x="109" y="171"/>
                  </a:lnTo>
                  <a:lnTo>
                    <a:pt x="113" y="156"/>
                  </a:lnTo>
                  <a:lnTo>
                    <a:pt x="121" y="142"/>
                  </a:lnTo>
                  <a:lnTo>
                    <a:pt x="130" y="132"/>
                  </a:lnTo>
                  <a:lnTo>
                    <a:pt x="142" y="121"/>
                  </a:lnTo>
                  <a:lnTo>
                    <a:pt x="156" y="114"/>
                  </a:lnTo>
                  <a:lnTo>
                    <a:pt x="171" y="109"/>
                  </a:lnTo>
                  <a:lnTo>
                    <a:pt x="179" y="108"/>
                  </a:lnTo>
                  <a:lnTo>
                    <a:pt x="187" y="108"/>
                  </a:lnTo>
                  <a:lnTo>
                    <a:pt x="187" y="108"/>
                  </a:lnTo>
                  <a:lnTo>
                    <a:pt x="195" y="108"/>
                  </a:lnTo>
                  <a:lnTo>
                    <a:pt x="203" y="109"/>
                  </a:lnTo>
                  <a:lnTo>
                    <a:pt x="218" y="114"/>
                  </a:lnTo>
                  <a:lnTo>
                    <a:pt x="231" y="121"/>
                  </a:lnTo>
                  <a:lnTo>
                    <a:pt x="243" y="132"/>
                  </a:lnTo>
                  <a:lnTo>
                    <a:pt x="253" y="142"/>
                  </a:lnTo>
                  <a:lnTo>
                    <a:pt x="259" y="156"/>
                  </a:lnTo>
                  <a:lnTo>
                    <a:pt x="265" y="171"/>
                  </a:lnTo>
                  <a:lnTo>
                    <a:pt x="266" y="179"/>
                  </a:lnTo>
                  <a:lnTo>
                    <a:pt x="266" y="187"/>
                  </a:lnTo>
                  <a:lnTo>
                    <a:pt x="266" y="187"/>
                  </a:lnTo>
                  <a:lnTo>
                    <a:pt x="266" y="196"/>
                  </a:lnTo>
                  <a:lnTo>
                    <a:pt x="265" y="203"/>
                  </a:lnTo>
                  <a:lnTo>
                    <a:pt x="259" y="219"/>
                  </a:lnTo>
                  <a:lnTo>
                    <a:pt x="253" y="233"/>
                  </a:lnTo>
                  <a:lnTo>
                    <a:pt x="243" y="243"/>
                  </a:lnTo>
                  <a:lnTo>
                    <a:pt x="231" y="254"/>
                  </a:lnTo>
                  <a:lnTo>
                    <a:pt x="218" y="261"/>
                  </a:lnTo>
                  <a:lnTo>
                    <a:pt x="203" y="266"/>
                  </a:lnTo>
                  <a:lnTo>
                    <a:pt x="195" y="266"/>
                  </a:lnTo>
                  <a:lnTo>
                    <a:pt x="187" y="267"/>
                  </a:lnTo>
                  <a:lnTo>
                    <a:pt x="187" y="26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79" name="Straight Arrow Connector 178">
            <a:extLst>
              <a:ext uri="{FF2B5EF4-FFF2-40B4-BE49-F238E27FC236}">
                <a16:creationId xmlns:a16="http://schemas.microsoft.com/office/drawing/2014/main" id="{E6BBD7E4-953E-B90E-64F2-6F22B8085E09}"/>
              </a:ext>
            </a:extLst>
          </p:cNvPr>
          <p:cNvCxnSpPr>
            <a:cxnSpLocks/>
            <a:stCxn id="177" idx="0"/>
            <a:endCxn id="115" idx="2"/>
          </p:cNvCxnSpPr>
          <p:nvPr/>
        </p:nvCxnSpPr>
        <p:spPr>
          <a:xfrm flipH="1" flipV="1">
            <a:off x="8580847" y="4395408"/>
            <a:ext cx="204535" cy="516208"/>
          </a:xfrm>
          <a:prstGeom prst="straightConnector1">
            <a:avLst/>
          </a:prstGeom>
          <a:ln w="19050">
            <a:solidFill>
              <a:schemeClr val="tx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Arrow Connector 184">
            <a:extLst>
              <a:ext uri="{FF2B5EF4-FFF2-40B4-BE49-F238E27FC236}">
                <a16:creationId xmlns:a16="http://schemas.microsoft.com/office/drawing/2014/main" id="{CECAEF37-3375-552A-311E-235C5188EF0F}"/>
              </a:ext>
            </a:extLst>
          </p:cNvPr>
          <p:cNvCxnSpPr>
            <a:cxnSpLocks/>
            <a:stCxn id="115" idx="2"/>
            <a:endCxn id="170" idx="0"/>
          </p:cNvCxnSpPr>
          <p:nvPr/>
        </p:nvCxnSpPr>
        <p:spPr>
          <a:xfrm>
            <a:off x="8580847" y="4395408"/>
            <a:ext cx="1305718" cy="521359"/>
          </a:xfrm>
          <a:prstGeom prst="straightConnector1">
            <a:avLst/>
          </a:prstGeom>
          <a:ln w="19050">
            <a:solidFill>
              <a:srgbClr val="FF0000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Arrow Connector 190">
            <a:extLst>
              <a:ext uri="{FF2B5EF4-FFF2-40B4-BE49-F238E27FC236}">
                <a16:creationId xmlns:a16="http://schemas.microsoft.com/office/drawing/2014/main" id="{C3D131E1-F67F-881E-9615-A8DFB1BBD1ED}"/>
              </a:ext>
            </a:extLst>
          </p:cNvPr>
          <p:cNvCxnSpPr>
            <a:cxnSpLocks/>
            <a:stCxn id="149" idx="3"/>
            <a:endCxn id="118" idx="1"/>
          </p:cNvCxnSpPr>
          <p:nvPr/>
        </p:nvCxnSpPr>
        <p:spPr>
          <a:xfrm>
            <a:off x="4427323" y="3101370"/>
            <a:ext cx="1373075" cy="680849"/>
          </a:xfrm>
          <a:prstGeom prst="straightConnector1">
            <a:avLst/>
          </a:prstGeom>
          <a:ln w="19050">
            <a:solidFill>
              <a:srgbClr val="FF0000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Straight Arrow Connector 193">
            <a:extLst>
              <a:ext uri="{FF2B5EF4-FFF2-40B4-BE49-F238E27FC236}">
                <a16:creationId xmlns:a16="http://schemas.microsoft.com/office/drawing/2014/main" id="{147B8990-3296-E517-842B-9E40EF224759}"/>
              </a:ext>
            </a:extLst>
          </p:cNvPr>
          <p:cNvCxnSpPr>
            <a:cxnSpLocks/>
            <a:stCxn id="145" idx="0"/>
            <a:endCxn id="153" idx="2"/>
          </p:cNvCxnSpPr>
          <p:nvPr/>
        </p:nvCxnSpPr>
        <p:spPr>
          <a:xfrm flipH="1" flipV="1">
            <a:off x="6649653" y="1287565"/>
            <a:ext cx="637648" cy="76647"/>
          </a:xfrm>
          <a:prstGeom prst="straightConnector1">
            <a:avLst/>
          </a:prstGeom>
          <a:ln w="19050">
            <a:solidFill>
              <a:srgbClr val="FF0000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Arrow Connector 196">
            <a:extLst>
              <a:ext uri="{FF2B5EF4-FFF2-40B4-BE49-F238E27FC236}">
                <a16:creationId xmlns:a16="http://schemas.microsoft.com/office/drawing/2014/main" id="{5E308FDC-ED6C-98E0-06AA-896B782D2F17}"/>
              </a:ext>
            </a:extLst>
          </p:cNvPr>
          <p:cNvCxnSpPr>
            <a:cxnSpLocks/>
            <a:stCxn id="142" idx="0"/>
            <a:endCxn id="153" idx="3"/>
          </p:cNvCxnSpPr>
          <p:nvPr/>
        </p:nvCxnSpPr>
        <p:spPr>
          <a:xfrm flipH="1" flipV="1">
            <a:off x="7509096" y="1136015"/>
            <a:ext cx="1205977" cy="220046"/>
          </a:xfrm>
          <a:prstGeom prst="straightConnector1">
            <a:avLst/>
          </a:prstGeom>
          <a:ln w="19050">
            <a:solidFill>
              <a:srgbClr val="FF0000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tangle 179">
            <a:extLst>
              <a:ext uri="{FF2B5EF4-FFF2-40B4-BE49-F238E27FC236}">
                <a16:creationId xmlns:a16="http://schemas.microsoft.com/office/drawing/2014/main" id="{3D8AEC52-3191-7C1C-DF8F-DF3CB1B4F106}"/>
              </a:ext>
            </a:extLst>
          </p:cNvPr>
          <p:cNvSpPr/>
          <p:nvPr/>
        </p:nvSpPr>
        <p:spPr>
          <a:xfrm>
            <a:off x="2167234" y="3957362"/>
            <a:ext cx="169704" cy="2541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201" name="Rectangle 223">
            <a:extLst>
              <a:ext uri="{FF2B5EF4-FFF2-40B4-BE49-F238E27FC236}">
                <a16:creationId xmlns:a16="http://schemas.microsoft.com/office/drawing/2014/main" id="{1EA9B29D-B811-4CC8-8F9A-57FAAE560A70}"/>
              </a:ext>
            </a:extLst>
          </p:cNvPr>
          <p:cNvSpPr/>
          <p:nvPr/>
        </p:nvSpPr>
        <p:spPr>
          <a:xfrm>
            <a:off x="2584508" y="3622510"/>
            <a:ext cx="169704" cy="182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202" name="Rectangle 390">
            <a:extLst>
              <a:ext uri="{FF2B5EF4-FFF2-40B4-BE49-F238E27FC236}">
                <a16:creationId xmlns:a16="http://schemas.microsoft.com/office/drawing/2014/main" id="{D8ECEDA4-67EF-452D-6859-BFC7A6E36724}"/>
              </a:ext>
            </a:extLst>
          </p:cNvPr>
          <p:cNvSpPr/>
          <p:nvPr/>
        </p:nvSpPr>
        <p:spPr>
          <a:xfrm>
            <a:off x="2514187" y="3744480"/>
            <a:ext cx="1255465" cy="4373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dirty="0">
              <a:solidFill>
                <a:schemeClr val="tx1"/>
              </a:solidFill>
            </a:endParaRPr>
          </a:p>
        </p:txBody>
      </p:sp>
      <p:sp>
        <p:nvSpPr>
          <p:cNvPr id="203" name="Rectangle 390">
            <a:extLst>
              <a:ext uri="{FF2B5EF4-FFF2-40B4-BE49-F238E27FC236}">
                <a16:creationId xmlns:a16="http://schemas.microsoft.com/office/drawing/2014/main" id="{CBDF1316-A8D0-A83B-F7DC-E16C5CA47563}"/>
              </a:ext>
            </a:extLst>
          </p:cNvPr>
          <p:cNvSpPr/>
          <p:nvPr/>
        </p:nvSpPr>
        <p:spPr>
          <a:xfrm>
            <a:off x="2628487" y="3677424"/>
            <a:ext cx="1255465" cy="4373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dirty="0">
              <a:solidFill>
                <a:schemeClr val="tx1"/>
              </a:solidFill>
            </a:endParaRPr>
          </a:p>
        </p:txBody>
      </p:sp>
      <p:sp>
        <p:nvSpPr>
          <p:cNvPr id="204" name="Rectangle 390">
            <a:extLst>
              <a:ext uri="{FF2B5EF4-FFF2-40B4-BE49-F238E27FC236}">
                <a16:creationId xmlns:a16="http://schemas.microsoft.com/office/drawing/2014/main" id="{A7270922-0F11-9F44-CBC9-B1AB1BFB983D}"/>
              </a:ext>
            </a:extLst>
          </p:cNvPr>
          <p:cNvSpPr/>
          <p:nvPr/>
        </p:nvSpPr>
        <p:spPr>
          <a:xfrm>
            <a:off x="2329396" y="3824409"/>
            <a:ext cx="1329162" cy="437362"/>
          </a:xfrm>
          <a:prstGeom prst="rect">
            <a:avLst/>
          </a:prstGeom>
          <a:solidFill>
            <a:srgbClr val="00A3E0"/>
          </a:solidFill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800" b="1" dirty="0" err="1">
                <a:solidFill>
                  <a:srgbClr val="FF0000"/>
                </a:solidFill>
              </a:rPr>
              <a:t>Vehicle</a:t>
            </a:r>
            <a:r>
              <a:rPr lang="hu-HU" sz="800" b="1" dirty="0">
                <a:solidFill>
                  <a:srgbClr val="FF0000"/>
                </a:solidFill>
              </a:rPr>
              <a:t> </a:t>
            </a:r>
            <a:r>
              <a:rPr lang="hu-HU" sz="800" b="1" dirty="0" err="1">
                <a:solidFill>
                  <a:srgbClr val="FF0000"/>
                </a:solidFill>
              </a:rPr>
              <a:t>Manufacturers</a:t>
            </a:r>
            <a:endParaRPr lang="en-US" sz="800" b="1" dirty="0">
              <a:solidFill>
                <a:srgbClr val="FF0000"/>
              </a:solidFill>
            </a:endParaRPr>
          </a:p>
        </p:txBody>
      </p:sp>
      <p:cxnSp>
        <p:nvCxnSpPr>
          <p:cNvPr id="205" name="Straight Arrow Connector 204">
            <a:extLst>
              <a:ext uri="{FF2B5EF4-FFF2-40B4-BE49-F238E27FC236}">
                <a16:creationId xmlns:a16="http://schemas.microsoft.com/office/drawing/2014/main" id="{EAD7DD8E-4656-D283-BD27-6D646054565D}"/>
              </a:ext>
            </a:extLst>
          </p:cNvPr>
          <p:cNvCxnSpPr>
            <a:cxnSpLocks/>
            <a:stCxn id="118" idx="1"/>
            <a:endCxn id="204" idx="3"/>
          </p:cNvCxnSpPr>
          <p:nvPr/>
        </p:nvCxnSpPr>
        <p:spPr>
          <a:xfrm flipH="1">
            <a:off x="3658558" y="3782219"/>
            <a:ext cx="2141840" cy="260871"/>
          </a:xfrm>
          <a:prstGeom prst="straightConnector1">
            <a:avLst/>
          </a:prstGeom>
          <a:ln w="19050">
            <a:solidFill>
              <a:srgbClr val="FF0000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TextBox 207">
            <a:extLst>
              <a:ext uri="{FF2B5EF4-FFF2-40B4-BE49-F238E27FC236}">
                <a16:creationId xmlns:a16="http://schemas.microsoft.com/office/drawing/2014/main" id="{A4D44F09-9E55-63E0-0925-F31F95693AD7}"/>
              </a:ext>
            </a:extLst>
          </p:cNvPr>
          <p:cNvSpPr txBox="1"/>
          <p:nvPr/>
        </p:nvSpPr>
        <p:spPr>
          <a:xfrm>
            <a:off x="2840949" y="2357850"/>
            <a:ext cx="27225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hu-HU" b="1" dirty="0">
                <a:solidFill>
                  <a:srgbClr val="FF0000"/>
                </a:solidFill>
              </a:rPr>
              <a:t>1.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E987E793-47D3-4FDE-B0A7-27CA44504502}"/>
              </a:ext>
            </a:extLst>
          </p:cNvPr>
          <p:cNvSpPr txBox="1"/>
          <p:nvPr/>
        </p:nvSpPr>
        <p:spPr>
          <a:xfrm>
            <a:off x="4629191" y="2276788"/>
            <a:ext cx="27225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hu-HU" b="1" dirty="0">
                <a:solidFill>
                  <a:srgbClr val="FF0000"/>
                </a:solidFill>
              </a:rPr>
              <a:t>2.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5FD7E463-8523-7D45-6484-3D65246E3BA5}"/>
              </a:ext>
            </a:extLst>
          </p:cNvPr>
          <p:cNvSpPr txBox="1"/>
          <p:nvPr/>
        </p:nvSpPr>
        <p:spPr>
          <a:xfrm>
            <a:off x="5797121" y="2087414"/>
            <a:ext cx="27225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hu-HU" b="1" dirty="0">
                <a:solidFill>
                  <a:srgbClr val="FF0000"/>
                </a:solidFill>
              </a:rPr>
              <a:t>3.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B6A1F2D5-6828-7764-C202-70618B069692}"/>
              </a:ext>
            </a:extLst>
          </p:cNvPr>
          <p:cNvSpPr txBox="1"/>
          <p:nvPr/>
        </p:nvSpPr>
        <p:spPr>
          <a:xfrm>
            <a:off x="9109299" y="4396314"/>
            <a:ext cx="27225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hu-HU" b="1" dirty="0">
                <a:solidFill>
                  <a:srgbClr val="FF0000"/>
                </a:solidFill>
              </a:rPr>
              <a:t>4.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3157D1A9-E769-5509-55A6-9A31EE4EA5DA}"/>
              </a:ext>
            </a:extLst>
          </p:cNvPr>
          <p:cNvSpPr txBox="1"/>
          <p:nvPr/>
        </p:nvSpPr>
        <p:spPr>
          <a:xfrm>
            <a:off x="4897677" y="3114421"/>
            <a:ext cx="27225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hu-HU" b="1" dirty="0">
                <a:solidFill>
                  <a:srgbClr val="FF0000"/>
                </a:solidFill>
              </a:rPr>
              <a:t>5.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028798B6-AEB1-2D77-A306-0F68B90EFA64}"/>
              </a:ext>
            </a:extLst>
          </p:cNvPr>
          <p:cNvSpPr txBox="1"/>
          <p:nvPr/>
        </p:nvSpPr>
        <p:spPr>
          <a:xfrm>
            <a:off x="4759760" y="3870886"/>
            <a:ext cx="27225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hu-HU" b="1" dirty="0">
                <a:solidFill>
                  <a:srgbClr val="FF0000"/>
                </a:solidFill>
              </a:rPr>
              <a:t>6.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450AFECC-63F9-2640-B277-1CCFB79307FF}"/>
              </a:ext>
            </a:extLst>
          </p:cNvPr>
          <p:cNvSpPr txBox="1"/>
          <p:nvPr/>
        </p:nvSpPr>
        <p:spPr>
          <a:xfrm>
            <a:off x="329529" y="4855473"/>
            <a:ext cx="11051097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hu-HU" sz="1200" dirty="0">
                <a:solidFill>
                  <a:srgbClr val="313131"/>
                </a:solidFill>
              </a:rPr>
              <a:t>1. A telepítés és frissítések – Rest JSON, SFTP bináris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hu-HU" sz="1200" dirty="0">
                <a:solidFill>
                  <a:srgbClr val="313131"/>
                </a:solidFill>
              </a:rPr>
              <a:t>2. Struktúra és tartalom (</a:t>
            </a:r>
            <a:r>
              <a:rPr lang="hu-HU" sz="1200" dirty="0" err="1">
                <a:solidFill>
                  <a:srgbClr val="313131"/>
                </a:solidFill>
              </a:rPr>
              <a:t>Host</a:t>
            </a:r>
            <a:r>
              <a:rPr lang="hu-HU" sz="1200" dirty="0">
                <a:solidFill>
                  <a:srgbClr val="313131"/>
                </a:solidFill>
              </a:rPr>
              <a:t>) és operációk (API Wall)  – Rest HTML, JSON/</a:t>
            </a:r>
            <a:r>
              <a:rPr lang="hu-HU" sz="1200" dirty="0" err="1">
                <a:solidFill>
                  <a:srgbClr val="313131"/>
                </a:solidFill>
              </a:rPr>
              <a:t>Proto</a:t>
            </a:r>
            <a:endParaRPr lang="hu-HU" sz="1200" dirty="0">
              <a:solidFill>
                <a:srgbClr val="313131"/>
              </a:solidFill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hu-HU" sz="1200" dirty="0">
                <a:solidFill>
                  <a:srgbClr val="313131"/>
                </a:solidFill>
              </a:rPr>
              <a:t>3. </a:t>
            </a:r>
            <a:r>
              <a:rPr lang="hu-HU" sz="1200" dirty="0" err="1">
                <a:solidFill>
                  <a:srgbClr val="313131"/>
                </a:solidFill>
              </a:rPr>
              <a:t>Interconnect</a:t>
            </a:r>
            <a:r>
              <a:rPr lang="hu-HU" sz="1200" dirty="0">
                <a:solidFill>
                  <a:srgbClr val="313131"/>
                </a:solidFill>
              </a:rPr>
              <a:t> tartalom (CMS) és operációk (Back-End) – Rest JSON/</a:t>
            </a:r>
            <a:r>
              <a:rPr lang="hu-HU" sz="1200" dirty="0" err="1">
                <a:solidFill>
                  <a:srgbClr val="313131"/>
                </a:solidFill>
              </a:rPr>
              <a:t>Proto</a:t>
            </a:r>
            <a:endParaRPr lang="hu-HU" sz="1200" dirty="0">
              <a:solidFill>
                <a:srgbClr val="313131"/>
              </a:solidFill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hu-HU" sz="1200" dirty="0">
                <a:solidFill>
                  <a:srgbClr val="313131"/>
                </a:solidFill>
              </a:rPr>
              <a:t>4. Operációk (API Wall, </a:t>
            </a:r>
            <a:r>
              <a:rPr lang="hu-HU" sz="1200" dirty="0" err="1">
                <a:solidFill>
                  <a:srgbClr val="313131"/>
                </a:solidFill>
              </a:rPr>
              <a:t>Message</a:t>
            </a:r>
            <a:r>
              <a:rPr lang="hu-HU" sz="1200" dirty="0">
                <a:solidFill>
                  <a:srgbClr val="313131"/>
                </a:solidFill>
              </a:rPr>
              <a:t> GW, CMDB, </a:t>
            </a:r>
            <a:r>
              <a:rPr lang="hu-HU" sz="1200" dirty="0" err="1">
                <a:solidFill>
                  <a:srgbClr val="313131"/>
                </a:solidFill>
              </a:rPr>
              <a:t>Manufacturers</a:t>
            </a:r>
            <a:r>
              <a:rPr lang="hu-HU" sz="1200" dirty="0">
                <a:solidFill>
                  <a:srgbClr val="313131"/>
                </a:solidFill>
              </a:rPr>
              <a:t> – Rest JSON/</a:t>
            </a:r>
            <a:r>
              <a:rPr lang="hu-HU" sz="1200" dirty="0" err="1">
                <a:solidFill>
                  <a:srgbClr val="313131"/>
                </a:solidFill>
              </a:rPr>
              <a:t>Proto</a:t>
            </a:r>
            <a:r>
              <a:rPr lang="hu-HU" sz="1200" dirty="0">
                <a:solidFill>
                  <a:srgbClr val="313131"/>
                </a:solidFill>
              </a:rPr>
              <a:t>) és</a:t>
            </a:r>
            <a:br>
              <a:rPr lang="hu-HU" sz="1200" dirty="0">
                <a:solidFill>
                  <a:srgbClr val="313131"/>
                </a:solidFill>
              </a:rPr>
            </a:br>
            <a:r>
              <a:rPr lang="hu-HU" sz="1200" dirty="0">
                <a:solidFill>
                  <a:srgbClr val="313131"/>
                </a:solidFill>
              </a:rPr>
              <a:t>ETL (DWH) – SFTP bináris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hu-HU" sz="1200" dirty="0">
                <a:solidFill>
                  <a:srgbClr val="313131"/>
                </a:solidFill>
              </a:rPr>
              <a:t>5. Értesítések (</a:t>
            </a:r>
            <a:r>
              <a:rPr lang="hu-HU" sz="1200" dirty="0" err="1">
                <a:solidFill>
                  <a:srgbClr val="313131"/>
                </a:solidFill>
              </a:rPr>
              <a:t>Vehicle</a:t>
            </a:r>
            <a:r>
              <a:rPr lang="hu-HU" sz="1200" dirty="0">
                <a:solidFill>
                  <a:srgbClr val="313131"/>
                </a:solidFill>
              </a:rPr>
              <a:t> </a:t>
            </a:r>
            <a:r>
              <a:rPr lang="hu-HU" sz="1200" dirty="0" err="1">
                <a:solidFill>
                  <a:srgbClr val="313131"/>
                </a:solidFill>
              </a:rPr>
              <a:t>Console</a:t>
            </a:r>
            <a:r>
              <a:rPr lang="hu-HU" sz="1200" dirty="0">
                <a:solidFill>
                  <a:srgbClr val="313131"/>
                </a:solidFill>
              </a:rPr>
              <a:t>) - </a:t>
            </a:r>
            <a:r>
              <a:rPr lang="hu-HU" sz="1200" dirty="0" err="1">
                <a:solidFill>
                  <a:srgbClr val="313131"/>
                </a:solidFill>
              </a:rPr>
              <a:t>WebSocket</a:t>
            </a:r>
            <a:r>
              <a:rPr lang="hu-HU" sz="1200" dirty="0">
                <a:solidFill>
                  <a:srgbClr val="313131"/>
                </a:solidFill>
              </a:rPr>
              <a:t> JSON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hu-HU" sz="1200" dirty="0">
                <a:solidFill>
                  <a:srgbClr val="313131"/>
                </a:solidFill>
              </a:rPr>
              <a:t>6. Diagnosztika-sablonok és szervizadatok B2B – Rest JSON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200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7997300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0C89F07-F979-4C2F-70FE-7FBB9C140D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0C89F07-F979-4C2F-70FE-7FBB9C140D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2AE3635-A411-6F61-5930-7B9108048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hu-HU" b="1" dirty="0"/>
              <a:t>SI vizsga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F6319D7-130B-0C95-5DDE-EE9E36AD41CF}"/>
              </a:ext>
            </a:extLst>
          </p:cNvPr>
          <p:cNvSpPr txBox="1">
            <a:spLocks/>
          </p:cNvSpPr>
          <p:nvPr/>
        </p:nvSpPr>
        <p:spPr>
          <a:xfrm>
            <a:off x="497681" y="651601"/>
            <a:ext cx="11201400" cy="334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dirty="0"/>
              <a:t>30 perc – 15 kérdé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F06F257-BCE8-D0AA-1B1C-4E33BD72D527}"/>
              </a:ext>
            </a:extLst>
          </p:cNvPr>
          <p:cNvSpPr/>
          <p:nvPr/>
        </p:nvSpPr>
        <p:spPr bwMode="gray">
          <a:xfrm>
            <a:off x="1050562" y="6709422"/>
            <a:ext cx="2252495" cy="73055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91440" tIns="91440" r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hu-HU" sz="1100" b="0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EA90AD0-70B5-FEB0-031C-B560447FE625}"/>
              </a:ext>
            </a:extLst>
          </p:cNvPr>
          <p:cNvSpPr txBox="1"/>
          <p:nvPr/>
        </p:nvSpPr>
        <p:spPr>
          <a:xfrm>
            <a:off x="5715234" y="1391482"/>
            <a:ext cx="5109412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5"/>
              </a:rPr>
              <a:t>https://forms.office.com/e/Jz6WCu3DEr</a:t>
            </a:r>
            <a:endParaRPr lang="hu-HU" dirty="0"/>
          </a:p>
          <a:p>
            <a:endParaRPr lang="hu-H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b="1" dirty="0"/>
              <a:t>Megfelelt szint: 50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b="1" dirty="0"/>
              <a:t>Nincs részmegoldás</a:t>
            </a:r>
            <a:r>
              <a:rPr lang="hu-HU" dirty="0"/>
              <a:t> (MS </a:t>
            </a:r>
            <a:r>
              <a:rPr lang="hu-HU" dirty="0" err="1"/>
              <a:t>Forms</a:t>
            </a:r>
            <a:r>
              <a:rPr lang="hu-HU" dirty="0"/>
              <a:t>)</a:t>
            </a:r>
          </a:p>
          <a:p>
            <a:r>
              <a:rPr lang="hu-HU" dirty="0"/>
              <a:t>	(valamennyi helyes választ el kell találn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b="1" dirty="0"/>
              <a:t>Katasztrófa esetén:</a:t>
            </a:r>
            <a:r>
              <a:rPr lang="hu-HU" dirty="0"/>
              <a:t> mégis van részmegoldás </a:t>
            </a:r>
            <a:r>
              <a:rPr lang="hu-HU" dirty="0">
                <a:sym typeface="Wingdings" panose="05000000000000000000" pitchFamily="2" charset="2"/>
              </a:rPr>
              <a:t></a:t>
            </a:r>
            <a:endParaRPr lang="hu-HU" b="1" dirty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b="1" dirty="0">
                <a:sym typeface="Wingdings" panose="05000000000000000000" pitchFamily="2" charset="2"/>
              </a:rPr>
              <a:t>1. mentőöv:</a:t>
            </a:r>
            <a:r>
              <a:rPr lang="hu-HU" dirty="0">
                <a:sym typeface="Wingdings" panose="05000000000000000000" pitchFamily="2" charset="2"/>
              </a:rPr>
              <a:t> 30 perc = 45 per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b="1" dirty="0">
                <a:sym typeface="Wingdings" panose="05000000000000000000" pitchFamily="2" charset="2"/>
              </a:rPr>
              <a:t>2. mentőöv:</a:t>
            </a:r>
            <a:r>
              <a:rPr lang="hu-HU" dirty="0">
                <a:sym typeface="Wingdings" panose="05000000000000000000" pitchFamily="2" charset="2"/>
              </a:rPr>
              <a:t> A feladat pontszáma és a helyes válaszok száma között milyen összefüggés lehet?</a:t>
            </a:r>
          </a:p>
        </p:txBody>
      </p:sp>
      <p:pic>
        <p:nvPicPr>
          <p:cNvPr id="14" name="Picture 13" descr="Qr code&#10;&#10;Description automatically generated">
            <a:extLst>
              <a:ext uri="{FF2B5EF4-FFF2-40B4-BE49-F238E27FC236}">
                <a16:creationId xmlns:a16="http://schemas.microsoft.com/office/drawing/2014/main" id="{AAA22B82-8317-977D-7159-FE599969C04E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681" y="1391482"/>
            <a:ext cx="4479759" cy="447975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CD5EAAF-228F-93BC-0305-41CC2100035E}"/>
              </a:ext>
            </a:extLst>
          </p:cNvPr>
          <p:cNvSpPr/>
          <p:nvPr/>
        </p:nvSpPr>
        <p:spPr bwMode="gray">
          <a:xfrm>
            <a:off x="5625548" y="3349487"/>
            <a:ext cx="5237922" cy="646043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17636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90DA712-C46A-DE2E-2A0A-B79E21A50E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448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90DA712-C46A-DE2E-2A0A-B79E21A50E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hu-HU" dirty="0"/>
              <a:t>Enterprise </a:t>
            </a:r>
            <a:r>
              <a:rPr lang="hu-HU" dirty="0" err="1"/>
              <a:t>Architecture</a:t>
            </a:r>
            <a:r>
              <a:rPr lang="hu-HU" dirty="0"/>
              <a:t> </a:t>
            </a:r>
            <a:r>
              <a:rPr lang="hu-HU" b="0" dirty="0"/>
              <a:t>(EA)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Elmél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39914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349E053D-7787-9DAD-D7F1-4FF328833D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0665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349E053D-7787-9DAD-D7F1-4FF328833D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hu-HU" dirty="0"/>
              <a:t>Koncepció és struktúra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hu-HU" altLang="ja-JP" dirty="0"/>
              <a:t>Enterprise </a:t>
            </a:r>
            <a:r>
              <a:rPr lang="hu-HU" altLang="ja-JP" dirty="0" err="1"/>
              <a:t>Architecture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E4EFDBE-75EF-4291-9BA1-41CAF95B9340}"/>
              </a:ext>
            </a:extLst>
          </p:cNvPr>
          <p:cNvGrpSpPr/>
          <p:nvPr/>
        </p:nvGrpSpPr>
        <p:grpSpPr>
          <a:xfrm>
            <a:off x="1019127" y="1280312"/>
            <a:ext cx="10153746" cy="4733907"/>
            <a:chOff x="1900238" y="1608028"/>
            <a:chExt cx="8391525" cy="3912320"/>
          </a:xfrm>
        </p:grpSpPr>
        <p:sp>
          <p:nvSpPr>
            <p:cNvPr id="4" name="Text Placeholder 5"/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1900238" y="1608896"/>
              <a:ext cx="3605213" cy="3911452"/>
            </a:xfrm>
            <a:prstGeom prst="homePlate">
              <a:avLst>
                <a:gd name="adj" fmla="val 8173"/>
              </a:avLst>
            </a:prstGeom>
            <a:solidFill>
              <a:sysClr val="window" lastClr="FFFFFF"/>
            </a:solidFill>
            <a:ln w="12700">
              <a:solidFill>
                <a:schemeClr val="accent1"/>
              </a:solidFill>
            </a:ln>
          </p:spPr>
          <p:txBody>
            <a:bodyPr wrap="square" lIns="91440" tIns="88900" rIns="182880" bIns="889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hu-HU" sz="1600" b="1" dirty="0">
                <a:solidFill>
                  <a:schemeClr val="bg1"/>
                </a:solidFill>
                <a:highlight>
                  <a:srgbClr val="3C8A2E"/>
                </a:highlight>
              </a:endParaRPr>
            </a:p>
            <a:p>
              <a:endParaRPr lang="hu-HU" sz="1600" b="1" dirty="0">
                <a:solidFill>
                  <a:schemeClr val="bg1"/>
                </a:solidFill>
                <a:highlight>
                  <a:srgbClr val="3C8A2E"/>
                </a:highlight>
              </a:endParaRPr>
            </a:p>
            <a:p>
              <a:r>
                <a:rPr lang="hu-HU" sz="1600" b="1" dirty="0">
                  <a:solidFill>
                    <a:schemeClr val="tx1"/>
                  </a:solidFill>
                </a:rPr>
                <a:t>Szabályok és eljárások gyűjteménye</a:t>
              </a:r>
              <a:r>
                <a:rPr lang="hu-HU" sz="1600" dirty="0">
                  <a:solidFill>
                    <a:schemeClr val="tx1"/>
                  </a:solidFill>
                </a:rPr>
                <a:t>, amelyek az egész nagyvállalati stratégia megvalósítását biztosítják, </a:t>
              </a:r>
              <a:r>
                <a:rPr lang="hu-HU" sz="1600" b="1" dirty="0">
                  <a:solidFill>
                    <a:schemeClr val="bg1"/>
                  </a:solidFill>
                  <a:highlight>
                    <a:srgbClr val="3C8A2E"/>
                  </a:highlight>
                </a:rPr>
                <a:t>gyakorlat</a:t>
              </a:r>
              <a:r>
                <a:rPr lang="hu-HU" sz="1600" dirty="0">
                  <a:solidFill>
                    <a:schemeClr val="tx1"/>
                  </a:solidFill>
                </a:rPr>
                <a:t> ami </a:t>
              </a:r>
              <a:r>
                <a:rPr lang="hu-HU" sz="1600" b="1" dirty="0">
                  <a:solidFill>
                    <a:schemeClr val="tx1"/>
                  </a:solidFill>
                </a:rPr>
                <a:t>összeköti</a:t>
              </a:r>
              <a:r>
                <a:rPr lang="hu-HU" sz="1600" dirty="0">
                  <a:solidFill>
                    <a:schemeClr val="tx1"/>
                  </a:solidFill>
                </a:rPr>
                <a:t> és </a:t>
              </a:r>
              <a:r>
                <a:rPr lang="hu-HU" sz="1600" b="1" dirty="0">
                  <a:solidFill>
                    <a:schemeClr val="tx1"/>
                  </a:solidFill>
                </a:rPr>
                <a:t>harmonizálja</a:t>
              </a:r>
              <a:r>
                <a:rPr lang="hu-HU" sz="1600" dirty="0">
                  <a:solidFill>
                    <a:schemeClr val="tx1"/>
                  </a:solidFill>
                </a:rPr>
                <a:t> az üzletet és az IT-t.</a:t>
              </a:r>
            </a:p>
            <a:p>
              <a:endParaRPr lang="hu-HU" sz="1600" i="1" dirty="0">
                <a:solidFill>
                  <a:schemeClr val="tx1"/>
                </a:solidFill>
              </a:endParaRPr>
            </a:p>
            <a:p>
              <a:endParaRPr lang="hu-HU" sz="1600" dirty="0">
                <a:solidFill>
                  <a:schemeClr val="tx1"/>
                </a:solidFill>
              </a:endParaRPr>
            </a:p>
            <a:p>
              <a:r>
                <a:rPr lang="hu-HU" sz="1600" dirty="0">
                  <a:solidFill>
                    <a:schemeClr val="tx1"/>
                  </a:solidFill>
                </a:rPr>
                <a:t>Az EA nem csak IT architektúrája egy tipikus nagyvállaltnak, hanem jóval több!</a:t>
              </a:r>
            </a:p>
            <a:p>
              <a:endParaRPr lang="hu-HU" sz="1600" i="1" dirty="0">
                <a:solidFill>
                  <a:schemeClr val="tx1"/>
                </a:solidFill>
              </a:endParaRPr>
            </a:p>
            <a:p>
              <a:endParaRPr lang="hu-HU" sz="1600" i="1" dirty="0">
                <a:solidFill>
                  <a:schemeClr val="tx1"/>
                </a:solidFill>
              </a:endParaRPr>
            </a:p>
            <a:p>
              <a:r>
                <a:rPr lang="hu-HU" sz="1600" dirty="0">
                  <a:solidFill>
                    <a:schemeClr val="tx1"/>
                  </a:solidFill>
                </a:rPr>
                <a:t>Ahol az IT architektúra sem az IT-megoldások vizualizációja, egy </a:t>
              </a:r>
              <a:r>
                <a:rPr lang="hu-HU" sz="1600" b="1" dirty="0">
                  <a:solidFill>
                    <a:schemeClr val="bg1"/>
                  </a:solidFill>
                  <a:highlight>
                    <a:srgbClr val="3C8A2E"/>
                  </a:highlight>
                </a:rPr>
                <a:t>keretrendszer</a:t>
              </a:r>
              <a:r>
                <a:rPr lang="hu-HU" sz="1600" dirty="0">
                  <a:solidFill>
                    <a:schemeClr val="tx1"/>
                  </a:solidFill>
                </a:rPr>
                <a:t>, ami szabványosítja a az IT kiépítését vagy módosítását.</a:t>
              </a:r>
            </a:p>
            <a:p>
              <a:endParaRPr lang="hu-HU" sz="1600" i="1" dirty="0">
                <a:solidFill>
                  <a:schemeClr val="tx1"/>
                </a:solidFill>
              </a:endParaRPr>
            </a:p>
          </p:txBody>
        </p:sp>
        <p:sp>
          <p:nvSpPr>
            <p:cNvPr id="5" name="Text Placeholder 5"/>
            <p:cNvSpPr txBox="1">
              <a:spLocks/>
            </p:cNvSpPr>
            <p:nvPr/>
          </p:nvSpPr>
          <p:spPr>
            <a:xfrm flipH="1">
              <a:off x="6686550" y="1608028"/>
              <a:ext cx="3605213" cy="3911452"/>
            </a:xfrm>
            <a:prstGeom prst="homePlate">
              <a:avLst>
                <a:gd name="adj" fmla="val 8173"/>
              </a:avLst>
            </a:prstGeom>
            <a:solidFill>
              <a:sysClr val="window" lastClr="FFFFFF"/>
            </a:solidFill>
            <a:ln w="12700">
              <a:solidFill>
                <a:schemeClr val="accent1"/>
              </a:solidFill>
            </a:ln>
          </p:spPr>
          <p:txBody>
            <a:bodyPr wrap="square" lIns="640080" tIns="88900" rIns="88900" bIns="889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hu-HU" sz="1600" dirty="0">
                  <a:solidFill>
                    <a:schemeClr val="tx1"/>
                  </a:solidFill>
                </a:rPr>
                <a:t>Több </a:t>
              </a:r>
              <a:r>
                <a:rPr lang="hu-HU" sz="1600" b="1" dirty="0" err="1">
                  <a:solidFill>
                    <a:schemeClr val="bg1"/>
                  </a:solidFill>
                  <a:highlight>
                    <a:srgbClr val="3C8A2E"/>
                  </a:highlight>
                </a:rPr>
                <a:t>domain</a:t>
              </a:r>
              <a:r>
                <a:rPr lang="hu-HU" sz="1600" dirty="0">
                  <a:solidFill>
                    <a:schemeClr val="tx1"/>
                  </a:solidFill>
                </a:rPr>
                <a:t>-t foglal magába az üzlettel kezdve az információn keresztül  a technológiáig:</a:t>
              </a:r>
            </a:p>
            <a:p>
              <a:endParaRPr lang="hu-HU" sz="1600" dirty="0">
                <a:solidFill>
                  <a:schemeClr val="tx1"/>
                </a:solidFill>
              </a:endParaRPr>
            </a:p>
            <a:p>
              <a:r>
                <a:rPr lang="hu-HU" sz="1600" dirty="0">
                  <a:solidFill>
                    <a:schemeClr val="tx1"/>
                  </a:solidFill>
                </a:rPr>
                <a:t># </a:t>
              </a:r>
              <a:r>
                <a:rPr lang="hu-HU" sz="1600" b="1" dirty="0">
                  <a:solidFill>
                    <a:schemeClr val="tx1"/>
                  </a:solidFill>
                </a:rPr>
                <a:t>üzlet</a:t>
              </a:r>
              <a:r>
                <a:rPr lang="hu-HU" sz="1600" dirty="0">
                  <a:solidFill>
                    <a:schemeClr val="tx1"/>
                  </a:solidFill>
                </a:rPr>
                <a:t> </a:t>
              </a:r>
            </a:p>
            <a:p>
              <a:r>
                <a:rPr lang="hu-HU" sz="1600" dirty="0">
                  <a:solidFill>
                    <a:schemeClr val="tx1"/>
                  </a:solidFill>
                </a:rPr>
                <a:t> - képességek</a:t>
              </a:r>
            </a:p>
            <a:p>
              <a:r>
                <a:rPr lang="hu-HU" sz="1600" dirty="0">
                  <a:solidFill>
                    <a:schemeClr val="tx1"/>
                  </a:solidFill>
                </a:rPr>
                <a:t> - folyamatok</a:t>
              </a:r>
            </a:p>
            <a:p>
              <a:r>
                <a:rPr lang="hu-HU" sz="1600" dirty="0">
                  <a:solidFill>
                    <a:schemeClr val="tx1"/>
                  </a:solidFill>
                </a:rPr>
                <a:t>   ## </a:t>
              </a:r>
              <a:r>
                <a:rPr lang="hu-HU" sz="1600" b="1" dirty="0">
                  <a:solidFill>
                    <a:schemeClr val="tx1"/>
                  </a:solidFill>
                </a:rPr>
                <a:t>információ</a:t>
              </a:r>
            </a:p>
            <a:p>
              <a:r>
                <a:rPr lang="hu-HU" sz="1600" dirty="0">
                  <a:solidFill>
                    <a:schemeClr val="tx1"/>
                  </a:solidFill>
                </a:rPr>
                <a:t>    -- funkciók (alkalmazások)</a:t>
              </a:r>
            </a:p>
            <a:p>
              <a:r>
                <a:rPr lang="hu-HU" sz="1600" dirty="0">
                  <a:solidFill>
                    <a:schemeClr val="tx1"/>
                  </a:solidFill>
                </a:rPr>
                <a:t>    -- szolgáltatások (integráció)</a:t>
              </a:r>
            </a:p>
            <a:p>
              <a:r>
                <a:rPr lang="hu-HU" sz="1600" dirty="0">
                  <a:solidFill>
                    <a:schemeClr val="tx1"/>
                  </a:solidFill>
                </a:rPr>
                <a:t>    -- adat </a:t>
              </a:r>
            </a:p>
            <a:p>
              <a:r>
                <a:rPr lang="hu-HU" sz="1600" dirty="0">
                  <a:solidFill>
                    <a:schemeClr val="tx1"/>
                  </a:solidFill>
                </a:rPr>
                <a:t>      ### </a:t>
              </a:r>
              <a:r>
                <a:rPr lang="hu-HU" sz="1600" b="1" dirty="0">
                  <a:solidFill>
                    <a:schemeClr val="tx1"/>
                  </a:solidFill>
                </a:rPr>
                <a:t>technológia</a:t>
              </a:r>
            </a:p>
            <a:p>
              <a:r>
                <a:rPr lang="hu-HU" sz="1600" dirty="0">
                  <a:solidFill>
                    <a:schemeClr val="tx1"/>
                  </a:solidFill>
                </a:rPr>
                <a:t>       --- megoldás/platform</a:t>
              </a:r>
            </a:p>
            <a:p>
              <a:r>
                <a:rPr lang="hu-HU" sz="1600" dirty="0">
                  <a:solidFill>
                    <a:schemeClr val="tx1"/>
                  </a:solidFill>
                </a:rPr>
                <a:t>       --- szabvány/módszertan</a:t>
              </a:r>
            </a:p>
            <a:p>
              <a:r>
                <a:rPr lang="hu-HU" sz="1600" dirty="0">
                  <a:solidFill>
                    <a:schemeClr val="tx1"/>
                  </a:solidFill>
                </a:rPr>
                <a:t>       --- infrastruktúra</a:t>
              </a:r>
            </a:p>
          </p:txBody>
        </p:sp>
        <p:sp>
          <p:nvSpPr>
            <p:cNvPr id="6" name="Oval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964087" y="2430541"/>
              <a:ext cx="2263829" cy="2266427"/>
            </a:xfrm>
            <a:prstGeom prst="ellipse">
              <a:avLst/>
            </a:prstGeom>
            <a:solidFill>
              <a:schemeClr val="accent3"/>
            </a:solidFill>
            <a:ln w="6350" algn="ctr">
              <a:noFill/>
              <a:round/>
              <a:headEnd/>
              <a:tailEnd/>
            </a:ln>
          </p:spPr>
          <p:txBody>
            <a:bodyPr lIns="88900" tIns="88900" rIns="88900" bIns="88900" anchor="ctr"/>
            <a:lstStyle/>
            <a:p>
              <a:pPr algn="ctr">
                <a:defRPr/>
              </a:pPr>
              <a:r>
                <a:rPr lang="hu-HU" b="1" kern="0" dirty="0">
                  <a:solidFill>
                    <a:prstClr val="white"/>
                  </a:solidFill>
                  <a:latin typeface="+mj-lt"/>
                  <a:ea typeface="ＭＳ Ｐゴシック" pitchFamily="50" charset="-128"/>
                </a:rPr>
                <a:t>ENTERPRISE ARCHITECTURE</a:t>
              </a:r>
            </a:p>
            <a:p>
              <a:pPr algn="ctr">
                <a:defRPr/>
              </a:pPr>
              <a:endParaRPr lang="hu-HU" sz="1600" b="1" kern="0" dirty="0">
                <a:solidFill>
                  <a:prstClr val="white"/>
                </a:solidFill>
                <a:latin typeface="+mj-lt"/>
                <a:ea typeface="ＭＳ Ｐゴシック" pitchFamily="50" charset="-128"/>
              </a:endParaRPr>
            </a:p>
            <a:p>
              <a:pPr algn="ctr">
                <a:defRPr/>
              </a:pPr>
              <a:endParaRPr lang="hu-HU" sz="1600" b="1" kern="0" dirty="0">
                <a:solidFill>
                  <a:prstClr val="white"/>
                </a:solidFill>
                <a:latin typeface="+mj-lt"/>
                <a:ea typeface="ＭＳ Ｐゴシック" pitchFamily="50" charset="-128"/>
              </a:endParaRPr>
            </a:p>
            <a:p>
              <a:pPr algn="ctr">
                <a:defRPr/>
              </a:pPr>
              <a:endParaRPr lang="hu-HU" sz="1600" b="1" kern="0" dirty="0">
                <a:solidFill>
                  <a:prstClr val="white"/>
                </a:solidFill>
                <a:latin typeface="+mj-lt"/>
                <a:ea typeface="ＭＳ Ｐゴシック" pitchFamily="50" charset="-128"/>
              </a:endParaRPr>
            </a:p>
          </p:txBody>
        </p:sp>
      </p:grpSp>
      <p:grpSp>
        <p:nvGrpSpPr>
          <p:cNvPr id="8" name="Graphic 4">
            <a:extLst>
              <a:ext uri="{FF2B5EF4-FFF2-40B4-BE49-F238E27FC236}">
                <a16:creationId xmlns:a16="http://schemas.microsoft.com/office/drawing/2014/main" id="{1B1C5603-F390-AA25-F313-B3C1571BF369}"/>
              </a:ext>
            </a:extLst>
          </p:cNvPr>
          <p:cNvGrpSpPr>
            <a:grpSpLocks noChangeAspect="1"/>
          </p:cNvGrpSpPr>
          <p:nvPr/>
        </p:nvGrpSpPr>
        <p:grpSpPr>
          <a:xfrm>
            <a:off x="5701548" y="3759199"/>
            <a:ext cx="788904" cy="788160"/>
            <a:chOff x="2559809" y="918179"/>
            <a:chExt cx="362313" cy="361971"/>
          </a:xfrm>
          <a:solidFill>
            <a:schemeClr val="bg1"/>
          </a:solidFill>
        </p:grpSpPr>
        <p:sp>
          <p:nvSpPr>
            <p:cNvPr id="9" name="Graphic 4">
              <a:extLst>
                <a:ext uri="{FF2B5EF4-FFF2-40B4-BE49-F238E27FC236}">
                  <a16:creationId xmlns:a16="http://schemas.microsoft.com/office/drawing/2014/main" id="{56490B19-8D1B-6958-EEDA-492E3A219C48}"/>
                </a:ext>
              </a:extLst>
            </p:cNvPr>
            <p:cNvSpPr/>
            <p:nvPr/>
          </p:nvSpPr>
          <p:spPr>
            <a:xfrm>
              <a:off x="2559809" y="918179"/>
              <a:ext cx="362313" cy="361971"/>
            </a:xfrm>
            <a:custGeom>
              <a:avLst/>
              <a:gdLst>
                <a:gd name="connsiteX0" fmla="*/ 181474 w 362313"/>
                <a:gd name="connsiteY0" fmla="*/ 0 h 361971"/>
                <a:gd name="connsiteX1" fmla="*/ 0 w 362313"/>
                <a:gd name="connsiteY1" fmla="*/ 180667 h 361971"/>
                <a:gd name="connsiteX2" fmla="*/ 180835 w 362313"/>
                <a:gd name="connsiteY2" fmla="*/ 361972 h 361971"/>
                <a:gd name="connsiteX3" fmla="*/ 362309 w 362313"/>
                <a:gd name="connsiteY3" fmla="*/ 181305 h 361971"/>
                <a:gd name="connsiteX4" fmla="*/ 362309 w 362313"/>
                <a:gd name="connsiteY4" fmla="*/ 181305 h 361971"/>
                <a:gd name="connsiteX5" fmla="*/ 181474 w 362313"/>
                <a:gd name="connsiteY5" fmla="*/ 0 h 361971"/>
                <a:gd name="connsiteX6" fmla="*/ 181474 w 362313"/>
                <a:gd name="connsiteY6" fmla="*/ 349204 h 361971"/>
                <a:gd name="connsiteX7" fmla="*/ 12780 w 362313"/>
                <a:gd name="connsiteY7" fmla="*/ 181305 h 361971"/>
                <a:gd name="connsiteX8" fmla="*/ 180835 w 362313"/>
                <a:gd name="connsiteY8" fmla="*/ 12768 h 361971"/>
                <a:gd name="connsiteX9" fmla="*/ 349529 w 362313"/>
                <a:gd name="connsiteY9" fmla="*/ 180667 h 361971"/>
                <a:gd name="connsiteX10" fmla="*/ 349529 w 362313"/>
                <a:gd name="connsiteY10" fmla="*/ 180667 h 361971"/>
                <a:gd name="connsiteX11" fmla="*/ 181474 w 362313"/>
                <a:gd name="connsiteY11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313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257"/>
                    <a:pt x="81152" y="361972"/>
                    <a:pt x="180835" y="361972"/>
                  </a:cubicBezTo>
                  <a:cubicBezTo>
                    <a:pt x="281157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2948" y="81077"/>
                    <a:pt x="281796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7"/>
                    <a:pt x="88181" y="12768"/>
                    <a:pt x="180835" y="12768"/>
                  </a:cubicBezTo>
                  <a:cubicBezTo>
                    <a:pt x="273489" y="12768"/>
                    <a:pt x="349529" y="88099"/>
                    <a:pt x="349529" y="180667"/>
                  </a:cubicBezTo>
                  <a:cubicBezTo>
                    <a:pt x="349529" y="180667"/>
                    <a:pt x="349529" y="180667"/>
                    <a:pt x="349529" y="180667"/>
                  </a:cubicBezTo>
                  <a:cubicBezTo>
                    <a:pt x="350168" y="273873"/>
                    <a:pt x="274767" y="348565"/>
                    <a:pt x="181474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Graphic 4">
              <a:extLst>
                <a:ext uri="{FF2B5EF4-FFF2-40B4-BE49-F238E27FC236}">
                  <a16:creationId xmlns:a16="http://schemas.microsoft.com/office/drawing/2014/main" id="{86E827BE-6BD6-0CA9-0999-EFAB48AF1720}"/>
                </a:ext>
              </a:extLst>
            </p:cNvPr>
            <p:cNvSpPr/>
            <p:nvPr/>
          </p:nvSpPr>
          <p:spPr>
            <a:xfrm>
              <a:off x="2724179" y="990477"/>
              <a:ext cx="35634" cy="17715"/>
            </a:xfrm>
            <a:custGeom>
              <a:avLst/>
              <a:gdLst>
                <a:gd name="connsiteX0" fmla="*/ 31800 w 35634"/>
                <a:gd name="connsiteY0" fmla="*/ 5586 h 17715"/>
                <a:gd name="connsiteX1" fmla="*/ 20299 w 35634"/>
                <a:gd name="connsiteY1" fmla="*/ 479 h 17715"/>
                <a:gd name="connsiteX2" fmla="*/ 15187 w 35634"/>
                <a:gd name="connsiteY2" fmla="*/ 479 h 17715"/>
                <a:gd name="connsiteX3" fmla="*/ 3685 w 35634"/>
                <a:gd name="connsiteY3" fmla="*/ 5586 h 17715"/>
                <a:gd name="connsiteX4" fmla="*/ 490 w 35634"/>
                <a:gd name="connsiteY4" fmla="*/ 13885 h 17715"/>
                <a:gd name="connsiteX5" fmla="*/ 8797 w 35634"/>
                <a:gd name="connsiteY5" fmla="*/ 17077 h 17715"/>
                <a:gd name="connsiteX6" fmla="*/ 17743 w 35634"/>
                <a:gd name="connsiteY6" fmla="*/ 13247 h 17715"/>
                <a:gd name="connsiteX7" fmla="*/ 26688 w 35634"/>
                <a:gd name="connsiteY7" fmla="*/ 17077 h 17715"/>
                <a:gd name="connsiteX8" fmla="*/ 29244 w 35634"/>
                <a:gd name="connsiteY8" fmla="*/ 17716 h 17715"/>
                <a:gd name="connsiteX9" fmla="*/ 35634 w 35634"/>
                <a:gd name="connsiteY9" fmla="*/ 11332 h 17715"/>
                <a:gd name="connsiteX10" fmla="*/ 31800 w 35634"/>
                <a:gd name="connsiteY10" fmla="*/ 5586 h 17715"/>
                <a:gd name="connsiteX11" fmla="*/ 31800 w 35634"/>
                <a:gd name="connsiteY11" fmla="*/ 5586 h 1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634" h="17715">
                  <a:moveTo>
                    <a:pt x="31800" y="5586"/>
                  </a:moveTo>
                  <a:lnTo>
                    <a:pt x="20299" y="479"/>
                  </a:lnTo>
                  <a:cubicBezTo>
                    <a:pt x="18382" y="-160"/>
                    <a:pt x="16465" y="-160"/>
                    <a:pt x="15187" y="479"/>
                  </a:cubicBezTo>
                  <a:lnTo>
                    <a:pt x="3685" y="5586"/>
                  </a:lnTo>
                  <a:cubicBezTo>
                    <a:pt x="490" y="6863"/>
                    <a:pt x="-788" y="10693"/>
                    <a:pt x="490" y="13885"/>
                  </a:cubicBezTo>
                  <a:cubicBezTo>
                    <a:pt x="1768" y="17077"/>
                    <a:pt x="5602" y="18354"/>
                    <a:pt x="8797" y="17077"/>
                  </a:cubicBezTo>
                  <a:lnTo>
                    <a:pt x="17743" y="13247"/>
                  </a:lnTo>
                  <a:lnTo>
                    <a:pt x="26688" y="17077"/>
                  </a:lnTo>
                  <a:cubicBezTo>
                    <a:pt x="27327" y="17716"/>
                    <a:pt x="28605" y="17716"/>
                    <a:pt x="29244" y="17716"/>
                  </a:cubicBezTo>
                  <a:cubicBezTo>
                    <a:pt x="33078" y="17716"/>
                    <a:pt x="35634" y="15162"/>
                    <a:pt x="35634" y="11332"/>
                  </a:cubicBezTo>
                  <a:cubicBezTo>
                    <a:pt x="35634" y="8778"/>
                    <a:pt x="33717" y="6224"/>
                    <a:pt x="31800" y="5586"/>
                  </a:cubicBezTo>
                  <a:lnTo>
                    <a:pt x="31800" y="558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Graphic 4">
              <a:extLst>
                <a:ext uri="{FF2B5EF4-FFF2-40B4-BE49-F238E27FC236}">
                  <a16:creationId xmlns:a16="http://schemas.microsoft.com/office/drawing/2014/main" id="{D5BD82A0-8377-F081-4F5C-CF00F2244D28}"/>
                </a:ext>
              </a:extLst>
            </p:cNvPr>
            <p:cNvSpPr/>
            <p:nvPr/>
          </p:nvSpPr>
          <p:spPr>
            <a:xfrm>
              <a:off x="2671142" y="1007155"/>
              <a:ext cx="39229" cy="25297"/>
            </a:xfrm>
            <a:custGeom>
              <a:avLst/>
              <a:gdLst>
                <a:gd name="connsiteX0" fmla="*/ 5602 w 39229"/>
                <a:gd name="connsiteY0" fmla="*/ 25298 h 25297"/>
                <a:gd name="connsiteX1" fmla="*/ 8158 w 39229"/>
                <a:gd name="connsiteY1" fmla="*/ 24659 h 25297"/>
                <a:gd name="connsiteX2" fmla="*/ 34995 w 39229"/>
                <a:gd name="connsiteY2" fmla="*/ 12530 h 25297"/>
                <a:gd name="connsiteX3" fmla="*/ 38829 w 39229"/>
                <a:gd name="connsiteY3" fmla="*/ 4230 h 25297"/>
                <a:gd name="connsiteX4" fmla="*/ 30522 w 39229"/>
                <a:gd name="connsiteY4" fmla="*/ 400 h 25297"/>
                <a:gd name="connsiteX5" fmla="*/ 29884 w 39229"/>
                <a:gd name="connsiteY5" fmla="*/ 1038 h 25297"/>
                <a:gd name="connsiteX6" fmla="*/ 3685 w 39229"/>
                <a:gd name="connsiteY6" fmla="*/ 13168 h 25297"/>
                <a:gd name="connsiteX7" fmla="*/ 490 w 39229"/>
                <a:gd name="connsiteY7" fmla="*/ 21467 h 25297"/>
                <a:gd name="connsiteX8" fmla="*/ 5602 w 39229"/>
                <a:gd name="connsiteY8" fmla="*/ 25298 h 25297"/>
                <a:gd name="connsiteX9" fmla="*/ 5602 w 39229"/>
                <a:gd name="connsiteY9" fmla="*/ 25298 h 2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29" h="25297">
                  <a:moveTo>
                    <a:pt x="5602" y="25298"/>
                  </a:moveTo>
                  <a:cubicBezTo>
                    <a:pt x="6241" y="25298"/>
                    <a:pt x="7519" y="25298"/>
                    <a:pt x="8158" y="24659"/>
                  </a:cubicBezTo>
                  <a:lnTo>
                    <a:pt x="34995" y="12530"/>
                  </a:lnTo>
                  <a:cubicBezTo>
                    <a:pt x="38190" y="11253"/>
                    <a:pt x="40107" y="7422"/>
                    <a:pt x="38829" y="4230"/>
                  </a:cubicBezTo>
                  <a:cubicBezTo>
                    <a:pt x="37551" y="1038"/>
                    <a:pt x="33717" y="-877"/>
                    <a:pt x="30522" y="400"/>
                  </a:cubicBezTo>
                  <a:cubicBezTo>
                    <a:pt x="30522" y="400"/>
                    <a:pt x="29884" y="400"/>
                    <a:pt x="29884" y="1038"/>
                  </a:cubicBezTo>
                  <a:lnTo>
                    <a:pt x="3685" y="13168"/>
                  </a:lnTo>
                  <a:cubicBezTo>
                    <a:pt x="490" y="14445"/>
                    <a:pt x="-788" y="18275"/>
                    <a:pt x="490" y="21467"/>
                  </a:cubicBezTo>
                  <a:cubicBezTo>
                    <a:pt x="1129" y="24021"/>
                    <a:pt x="3046" y="25298"/>
                    <a:pt x="5602" y="25298"/>
                  </a:cubicBezTo>
                  <a:lnTo>
                    <a:pt x="5602" y="2529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Graphic 4">
              <a:extLst>
                <a:ext uri="{FF2B5EF4-FFF2-40B4-BE49-F238E27FC236}">
                  <a16:creationId xmlns:a16="http://schemas.microsoft.com/office/drawing/2014/main" id="{D2EAF51E-527B-2F91-2E9D-5C0F540698D5}"/>
                </a:ext>
              </a:extLst>
            </p:cNvPr>
            <p:cNvSpPr/>
            <p:nvPr/>
          </p:nvSpPr>
          <p:spPr>
            <a:xfrm>
              <a:off x="2632654" y="1031963"/>
              <a:ext cx="24281" cy="31132"/>
            </a:xfrm>
            <a:custGeom>
              <a:avLst/>
              <a:gdLst>
                <a:gd name="connsiteX0" fmla="*/ 23643 w 24281"/>
                <a:gd name="connsiteY0" fmla="*/ 3681 h 31132"/>
                <a:gd name="connsiteX1" fmla="*/ 15336 w 24281"/>
                <a:gd name="connsiteY1" fmla="*/ 489 h 31132"/>
                <a:gd name="connsiteX2" fmla="*/ 15336 w 24281"/>
                <a:gd name="connsiteY2" fmla="*/ 489 h 31132"/>
                <a:gd name="connsiteX3" fmla="*/ 3834 w 24281"/>
                <a:gd name="connsiteY3" fmla="*/ 5596 h 31132"/>
                <a:gd name="connsiteX4" fmla="*/ 1917 w 24281"/>
                <a:gd name="connsiteY4" fmla="*/ 6873 h 31132"/>
                <a:gd name="connsiteX5" fmla="*/ 1278 w 24281"/>
                <a:gd name="connsiteY5" fmla="*/ 7512 h 31132"/>
                <a:gd name="connsiteX6" fmla="*/ 639 w 24281"/>
                <a:gd name="connsiteY6" fmla="*/ 8788 h 31132"/>
                <a:gd name="connsiteX7" fmla="*/ 639 w 24281"/>
                <a:gd name="connsiteY7" fmla="*/ 9427 h 31132"/>
                <a:gd name="connsiteX8" fmla="*/ 0 w 24281"/>
                <a:gd name="connsiteY8" fmla="*/ 11980 h 31132"/>
                <a:gd name="connsiteX9" fmla="*/ 0 w 24281"/>
                <a:gd name="connsiteY9" fmla="*/ 24748 h 31132"/>
                <a:gd name="connsiteX10" fmla="*/ 6390 w 24281"/>
                <a:gd name="connsiteY10" fmla="*/ 31132 h 31132"/>
                <a:gd name="connsiteX11" fmla="*/ 12780 w 24281"/>
                <a:gd name="connsiteY11" fmla="*/ 24748 h 31132"/>
                <a:gd name="connsiteX12" fmla="*/ 12780 w 24281"/>
                <a:gd name="connsiteY12" fmla="*/ 22195 h 31132"/>
                <a:gd name="connsiteX13" fmla="*/ 15336 w 24281"/>
                <a:gd name="connsiteY13" fmla="*/ 23472 h 31132"/>
                <a:gd name="connsiteX14" fmla="*/ 17892 w 24281"/>
                <a:gd name="connsiteY14" fmla="*/ 24110 h 31132"/>
                <a:gd name="connsiteX15" fmla="*/ 24282 w 24281"/>
                <a:gd name="connsiteY15" fmla="*/ 17726 h 31132"/>
                <a:gd name="connsiteX16" fmla="*/ 21726 w 24281"/>
                <a:gd name="connsiteY16" fmla="*/ 12619 h 31132"/>
                <a:gd name="connsiteX17" fmla="*/ 23643 w 24281"/>
                <a:gd name="connsiteY17" fmla="*/ 3681 h 3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281" h="31132">
                  <a:moveTo>
                    <a:pt x="23643" y="3681"/>
                  </a:moveTo>
                  <a:cubicBezTo>
                    <a:pt x="22365" y="489"/>
                    <a:pt x="18531" y="-788"/>
                    <a:pt x="15336" y="489"/>
                  </a:cubicBezTo>
                  <a:cubicBezTo>
                    <a:pt x="15336" y="489"/>
                    <a:pt x="15336" y="489"/>
                    <a:pt x="15336" y="489"/>
                  </a:cubicBezTo>
                  <a:lnTo>
                    <a:pt x="3834" y="5596"/>
                  </a:lnTo>
                  <a:cubicBezTo>
                    <a:pt x="3195" y="5596"/>
                    <a:pt x="2556" y="6235"/>
                    <a:pt x="1917" y="6873"/>
                  </a:cubicBezTo>
                  <a:lnTo>
                    <a:pt x="1278" y="7512"/>
                  </a:lnTo>
                  <a:cubicBezTo>
                    <a:pt x="639" y="8150"/>
                    <a:pt x="639" y="8150"/>
                    <a:pt x="639" y="8788"/>
                  </a:cubicBezTo>
                  <a:cubicBezTo>
                    <a:pt x="639" y="8788"/>
                    <a:pt x="639" y="9427"/>
                    <a:pt x="639" y="9427"/>
                  </a:cubicBezTo>
                  <a:cubicBezTo>
                    <a:pt x="639" y="10065"/>
                    <a:pt x="0" y="10704"/>
                    <a:pt x="0" y="11980"/>
                  </a:cubicBezTo>
                  <a:lnTo>
                    <a:pt x="0" y="24748"/>
                  </a:lnTo>
                  <a:cubicBezTo>
                    <a:pt x="0" y="28579"/>
                    <a:pt x="2556" y="31132"/>
                    <a:pt x="6390" y="31132"/>
                  </a:cubicBezTo>
                  <a:cubicBezTo>
                    <a:pt x="10224" y="31132"/>
                    <a:pt x="12780" y="28579"/>
                    <a:pt x="12780" y="24748"/>
                  </a:cubicBezTo>
                  <a:lnTo>
                    <a:pt x="12780" y="22195"/>
                  </a:lnTo>
                  <a:lnTo>
                    <a:pt x="15336" y="23472"/>
                  </a:lnTo>
                  <a:cubicBezTo>
                    <a:pt x="15975" y="24110"/>
                    <a:pt x="17253" y="24110"/>
                    <a:pt x="17892" y="24110"/>
                  </a:cubicBezTo>
                  <a:cubicBezTo>
                    <a:pt x="21726" y="24110"/>
                    <a:pt x="24282" y="20918"/>
                    <a:pt x="24282" y="17726"/>
                  </a:cubicBezTo>
                  <a:cubicBezTo>
                    <a:pt x="24282" y="15811"/>
                    <a:pt x="23004" y="13896"/>
                    <a:pt x="21726" y="12619"/>
                  </a:cubicBezTo>
                  <a:cubicBezTo>
                    <a:pt x="24282" y="10065"/>
                    <a:pt x="24921" y="6235"/>
                    <a:pt x="23643" y="368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Graphic 4">
              <a:extLst>
                <a:ext uri="{FF2B5EF4-FFF2-40B4-BE49-F238E27FC236}">
                  <a16:creationId xmlns:a16="http://schemas.microsoft.com/office/drawing/2014/main" id="{B9D5B42C-DB29-9529-115D-A7D326E047AE}"/>
                </a:ext>
              </a:extLst>
            </p:cNvPr>
            <p:cNvSpPr/>
            <p:nvPr/>
          </p:nvSpPr>
          <p:spPr>
            <a:xfrm>
              <a:off x="2670503" y="1054945"/>
              <a:ext cx="38992" cy="24748"/>
            </a:xfrm>
            <a:custGeom>
              <a:avLst/>
              <a:gdLst>
                <a:gd name="connsiteX0" fmla="*/ 35634 w 38992"/>
                <a:gd name="connsiteY0" fmla="*/ 12619 h 24748"/>
                <a:gd name="connsiteX1" fmla="*/ 8797 w 38992"/>
                <a:gd name="connsiteY1" fmla="*/ 489 h 24748"/>
                <a:gd name="connsiteX2" fmla="*/ 490 w 38992"/>
                <a:gd name="connsiteY2" fmla="*/ 3681 h 24748"/>
                <a:gd name="connsiteX3" fmla="*/ 3685 w 38992"/>
                <a:gd name="connsiteY3" fmla="*/ 11980 h 24748"/>
                <a:gd name="connsiteX4" fmla="*/ 29884 w 38992"/>
                <a:gd name="connsiteY4" fmla="*/ 24110 h 24748"/>
                <a:gd name="connsiteX5" fmla="*/ 32439 w 38992"/>
                <a:gd name="connsiteY5" fmla="*/ 24748 h 24748"/>
                <a:gd name="connsiteX6" fmla="*/ 38829 w 38992"/>
                <a:gd name="connsiteY6" fmla="*/ 18364 h 24748"/>
                <a:gd name="connsiteX7" fmla="*/ 35634 w 38992"/>
                <a:gd name="connsiteY7" fmla="*/ 12619 h 24748"/>
                <a:gd name="connsiteX8" fmla="*/ 35634 w 38992"/>
                <a:gd name="connsiteY8" fmla="*/ 12619 h 24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992" h="24748">
                  <a:moveTo>
                    <a:pt x="35634" y="12619"/>
                  </a:moveTo>
                  <a:lnTo>
                    <a:pt x="8797" y="489"/>
                  </a:lnTo>
                  <a:cubicBezTo>
                    <a:pt x="5602" y="-788"/>
                    <a:pt x="1768" y="489"/>
                    <a:pt x="490" y="3681"/>
                  </a:cubicBezTo>
                  <a:cubicBezTo>
                    <a:pt x="-788" y="6873"/>
                    <a:pt x="490" y="10704"/>
                    <a:pt x="3685" y="11980"/>
                  </a:cubicBezTo>
                  <a:lnTo>
                    <a:pt x="29884" y="24110"/>
                  </a:lnTo>
                  <a:cubicBezTo>
                    <a:pt x="30523" y="24748"/>
                    <a:pt x="31800" y="24748"/>
                    <a:pt x="32439" y="24748"/>
                  </a:cubicBezTo>
                  <a:cubicBezTo>
                    <a:pt x="36273" y="24748"/>
                    <a:pt x="38829" y="22195"/>
                    <a:pt x="38829" y="18364"/>
                  </a:cubicBezTo>
                  <a:cubicBezTo>
                    <a:pt x="39468" y="15811"/>
                    <a:pt x="38190" y="13896"/>
                    <a:pt x="35634" y="12619"/>
                  </a:cubicBezTo>
                  <a:lnTo>
                    <a:pt x="35634" y="1261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Graphic 4">
              <a:extLst>
                <a:ext uri="{FF2B5EF4-FFF2-40B4-BE49-F238E27FC236}">
                  <a16:creationId xmlns:a16="http://schemas.microsoft.com/office/drawing/2014/main" id="{5C0CFB9A-36D9-3188-1D56-FC47AC915EDD}"/>
                </a:ext>
              </a:extLst>
            </p:cNvPr>
            <p:cNvSpPr/>
            <p:nvPr/>
          </p:nvSpPr>
          <p:spPr>
            <a:xfrm>
              <a:off x="2722490" y="1078794"/>
              <a:ext cx="35896" cy="32181"/>
            </a:xfrm>
            <a:custGeom>
              <a:avLst/>
              <a:gdLst>
                <a:gd name="connsiteX0" fmla="*/ 27738 w 35896"/>
                <a:gd name="connsiteY0" fmla="*/ 900 h 32181"/>
                <a:gd name="connsiteX1" fmla="*/ 18792 w 35896"/>
                <a:gd name="connsiteY1" fmla="*/ 4730 h 32181"/>
                <a:gd name="connsiteX2" fmla="*/ 9847 w 35896"/>
                <a:gd name="connsiteY2" fmla="*/ 900 h 32181"/>
                <a:gd name="connsiteX3" fmla="*/ 901 w 35896"/>
                <a:gd name="connsiteY3" fmla="*/ 3453 h 32181"/>
                <a:gd name="connsiteX4" fmla="*/ 3457 w 35896"/>
                <a:gd name="connsiteY4" fmla="*/ 12391 h 32181"/>
                <a:gd name="connsiteX5" fmla="*/ 4096 w 35896"/>
                <a:gd name="connsiteY5" fmla="*/ 13029 h 32181"/>
                <a:gd name="connsiteX6" fmla="*/ 11764 w 35896"/>
                <a:gd name="connsiteY6" fmla="*/ 16860 h 32181"/>
                <a:gd name="connsiteX7" fmla="*/ 11764 w 35896"/>
                <a:gd name="connsiteY7" fmla="*/ 25797 h 32181"/>
                <a:gd name="connsiteX8" fmla="*/ 18153 w 35896"/>
                <a:gd name="connsiteY8" fmla="*/ 32181 h 32181"/>
                <a:gd name="connsiteX9" fmla="*/ 24543 w 35896"/>
                <a:gd name="connsiteY9" fmla="*/ 25797 h 32181"/>
                <a:gd name="connsiteX10" fmla="*/ 24543 w 35896"/>
                <a:gd name="connsiteY10" fmla="*/ 16860 h 32181"/>
                <a:gd name="connsiteX11" fmla="*/ 32211 w 35896"/>
                <a:gd name="connsiteY11" fmla="*/ 13029 h 32181"/>
                <a:gd name="connsiteX12" fmla="*/ 35406 w 35896"/>
                <a:gd name="connsiteY12" fmla="*/ 4730 h 32181"/>
                <a:gd name="connsiteX13" fmla="*/ 35406 w 35896"/>
                <a:gd name="connsiteY13" fmla="*/ 4730 h 32181"/>
                <a:gd name="connsiteX14" fmla="*/ 27738 w 35896"/>
                <a:gd name="connsiteY14" fmla="*/ 900 h 32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896" h="32181">
                  <a:moveTo>
                    <a:pt x="27738" y="900"/>
                  </a:moveTo>
                  <a:lnTo>
                    <a:pt x="18792" y="4730"/>
                  </a:lnTo>
                  <a:lnTo>
                    <a:pt x="9847" y="900"/>
                  </a:lnTo>
                  <a:cubicBezTo>
                    <a:pt x="6652" y="-1015"/>
                    <a:pt x="2818" y="261"/>
                    <a:pt x="901" y="3453"/>
                  </a:cubicBezTo>
                  <a:cubicBezTo>
                    <a:pt x="-1016" y="6645"/>
                    <a:pt x="262" y="10476"/>
                    <a:pt x="3457" y="12391"/>
                  </a:cubicBezTo>
                  <a:cubicBezTo>
                    <a:pt x="3457" y="12391"/>
                    <a:pt x="4096" y="12391"/>
                    <a:pt x="4096" y="13029"/>
                  </a:cubicBezTo>
                  <a:lnTo>
                    <a:pt x="11764" y="16860"/>
                  </a:lnTo>
                  <a:lnTo>
                    <a:pt x="11764" y="25797"/>
                  </a:lnTo>
                  <a:cubicBezTo>
                    <a:pt x="11764" y="29628"/>
                    <a:pt x="14319" y="32181"/>
                    <a:pt x="18153" y="32181"/>
                  </a:cubicBezTo>
                  <a:cubicBezTo>
                    <a:pt x="21987" y="32181"/>
                    <a:pt x="24543" y="29628"/>
                    <a:pt x="24543" y="25797"/>
                  </a:cubicBezTo>
                  <a:lnTo>
                    <a:pt x="24543" y="16860"/>
                  </a:lnTo>
                  <a:lnTo>
                    <a:pt x="32211" y="13029"/>
                  </a:lnTo>
                  <a:cubicBezTo>
                    <a:pt x="35406" y="11753"/>
                    <a:pt x="36684" y="7922"/>
                    <a:pt x="35406" y="4730"/>
                  </a:cubicBezTo>
                  <a:cubicBezTo>
                    <a:pt x="35406" y="4730"/>
                    <a:pt x="35406" y="4730"/>
                    <a:pt x="35406" y="4730"/>
                  </a:cubicBezTo>
                  <a:cubicBezTo>
                    <a:pt x="34767" y="900"/>
                    <a:pt x="30933" y="-377"/>
                    <a:pt x="27738" y="90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Graphic 4">
              <a:extLst>
                <a:ext uri="{FF2B5EF4-FFF2-40B4-BE49-F238E27FC236}">
                  <a16:creationId xmlns:a16="http://schemas.microsoft.com/office/drawing/2014/main" id="{D58FAC46-4989-8056-2E7D-E8377CD4D167}"/>
                </a:ext>
              </a:extLst>
            </p:cNvPr>
            <p:cNvSpPr/>
            <p:nvPr/>
          </p:nvSpPr>
          <p:spPr>
            <a:xfrm>
              <a:off x="2774021" y="1054945"/>
              <a:ext cx="38680" cy="24748"/>
            </a:xfrm>
            <a:custGeom>
              <a:avLst/>
              <a:gdLst>
                <a:gd name="connsiteX0" fmla="*/ 29883 w 38680"/>
                <a:gd name="connsiteY0" fmla="*/ 489 h 24748"/>
                <a:gd name="connsiteX1" fmla="*/ 3685 w 38680"/>
                <a:gd name="connsiteY1" fmla="*/ 12619 h 24748"/>
                <a:gd name="connsiteX2" fmla="*/ 490 w 38680"/>
                <a:gd name="connsiteY2" fmla="*/ 20918 h 24748"/>
                <a:gd name="connsiteX3" fmla="*/ 6241 w 38680"/>
                <a:gd name="connsiteY3" fmla="*/ 24748 h 24748"/>
                <a:gd name="connsiteX4" fmla="*/ 8797 w 38680"/>
                <a:gd name="connsiteY4" fmla="*/ 24110 h 24748"/>
                <a:gd name="connsiteX5" fmla="*/ 34995 w 38680"/>
                <a:gd name="connsiteY5" fmla="*/ 11980 h 24748"/>
                <a:gd name="connsiteX6" fmla="*/ 38190 w 38680"/>
                <a:gd name="connsiteY6" fmla="*/ 3681 h 24748"/>
                <a:gd name="connsiteX7" fmla="*/ 29883 w 38680"/>
                <a:gd name="connsiteY7" fmla="*/ 489 h 24748"/>
                <a:gd name="connsiteX8" fmla="*/ 29883 w 38680"/>
                <a:gd name="connsiteY8" fmla="*/ 489 h 24748"/>
                <a:gd name="connsiteX9" fmla="*/ 29883 w 38680"/>
                <a:gd name="connsiteY9" fmla="*/ 489 h 24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680" h="24748">
                  <a:moveTo>
                    <a:pt x="29883" y="489"/>
                  </a:moveTo>
                  <a:lnTo>
                    <a:pt x="3685" y="12619"/>
                  </a:lnTo>
                  <a:cubicBezTo>
                    <a:pt x="490" y="13896"/>
                    <a:pt x="-788" y="17726"/>
                    <a:pt x="490" y="20918"/>
                  </a:cubicBezTo>
                  <a:cubicBezTo>
                    <a:pt x="1768" y="23472"/>
                    <a:pt x="3685" y="24748"/>
                    <a:pt x="6241" y="24748"/>
                  </a:cubicBezTo>
                  <a:cubicBezTo>
                    <a:pt x="6880" y="24748"/>
                    <a:pt x="8158" y="24748"/>
                    <a:pt x="8797" y="24110"/>
                  </a:cubicBezTo>
                  <a:lnTo>
                    <a:pt x="34995" y="11980"/>
                  </a:lnTo>
                  <a:cubicBezTo>
                    <a:pt x="38190" y="10704"/>
                    <a:pt x="39468" y="6873"/>
                    <a:pt x="38190" y="3681"/>
                  </a:cubicBezTo>
                  <a:cubicBezTo>
                    <a:pt x="36273" y="489"/>
                    <a:pt x="33078" y="-788"/>
                    <a:pt x="29883" y="489"/>
                  </a:cubicBezTo>
                  <a:lnTo>
                    <a:pt x="29883" y="489"/>
                  </a:lnTo>
                  <a:lnTo>
                    <a:pt x="29883" y="48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Graphic 4">
              <a:extLst>
                <a:ext uri="{FF2B5EF4-FFF2-40B4-BE49-F238E27FC236}">
                  <a16:creationId xmlns:a16="http://schemas.microsoft.com/office/drawing/2014/main" id="{38EBA14F-02B0-8180-3F8E-BC8D429EF54A}"/>
                </a:ext>
              </a:extLst>
            </p:cNvPr>
            <p:cNvSpPr/>
            <p:nvPr/>
          </p:nvSpPr>
          <p:spPr>
            <a:xfrm>
              <a:off x="2772970" y="1007293"/>
              <a:ext cx="39502" cy="25797"/>
            </a:xfrm>
            <a:custGeom>
              <a:avLst/>
              <a:gdLst>
                <a:gd name="connsiteX0" fmla="*/ 36045 w 39502"/>
                <a:gd name="connsiteY0" fmla="*/ 13029 h 25797"/>
                <a:gd name="connsiteX1" fmla="*/ 9847 w 39502"/>
                <a:gd name="connsiteY1" fmla="*/ 900 h 25797"/>
                <a:gd name="connsiteX2" fmla="*/ 901 w 39502"/>
                <a:gd name="connsiteY2" fmla="*/ 3453 h 25797"/>
                <a:gd name="connsiteX3" fmla="*/ 3457 w 39502"/>
                <a:gd name="connsiteY3" fmla="*/ 12391 h 25797"/>
                <a:gd name="connsiteX4" fmla="*/ 4096 w 39502"/>
                <a:gd name="connsiteY4" fmla="*/ 13029 h 25797"/>
                <a:gd name="connsiteX5" fmla="*/ 30294 w 39502"/>
                <a:gd name="connsiteY5" fmla="*/ 25159 h 25797"/>
                <a:gd name="connsiteX6" fmla="*/ 32850 w 39502"/>
                <a:gd name="connsiteY6" fmla="*/ 25797 h 25797"/>
                <a:gd name="connsiteX7" fmla="*/ 38601 w 39502"/>
                <a:gd name="connsiteY7" fmla="*/ 21967 h 25797"/>
                <a:gd name="connsiteX8" fmla="*/ 36045 w 39502"/>
                <a:gd name="connsiteY8" fmla="*/ 13029 h 25797"/>
                <a:gd name="connsiteX9" fmla="*/ 36045 w 39502"/>
                <a:gd name="connsiteY9" fmla="*/ 13029 h 25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502" h="25797">
                  <a:moveTo>
                    <a:pt x="36045" y="13029"/>
                  </a:moveTo>
                  <a:lnTo>
                    <a:pt x="9847" y="900"/>
                  </a:lnTo>
                  <a:cubicBezTo>
                    <a:pt x="6652" y="-1015"/>
                    <a:pt x="2818" y="261"/>
                    <a:pt x="901" y="3453"/>
                  </a:cubicBezTo>
                  <a:cubicBezTo>
                    <a:pt x="-1016" y="6645"/>
                    <a:pt x="262" y="10476"/>
                    <a:pt x="3457" y="12391"/>
                  </a:cubicBezTo>
                  <a:cubicBezTo>
                    <a:pt x="3457" y="12391"/>
                    <a:pt x="4096" y="12391"/>
                    <a:pt x="4096" y="13029"/>
                  </a:cubicBezTo>
                  <a:lnTo>
                    <a:pt x="30294" y="25159"/>
                  </a:lnTo>
                  <a:cubicBezTo>
                    <a:pt x="30933" y="25797"/>
                    <a:pt x="32211" y="25797"/>
                    <a:pt x="32850" y="25797"/>
                  </a:cubicBezTo>
                  <a:cubicBezTo>
                    <a:pt x="35406" y="25797"/>
                    <a:pt x="37323" y="24521"/>
                    <a:pt x="38601" y="21967"/>
                  </a:cubicBezTo>
                  <a:cubicBezTo>
                    <a:pt x="40518" y="18137"/>
                    <a:pt x="39240" y="14306"/>
                    <a:pt x="36045" y="13029"/>
                  </a:cubicBezTo>
                  <a:cubicBezTo>
                    <a:pt x="36045" y="13029"/>
                    <a:pt x="36045" y="13029"/>
                    <a:pt x="36045" y="13029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Graphic 4">
              <a:extLst>
                <a:ext uri="{FF2B5EF4-FFF2-40B4-BE49-F238E27FC236}">
                  <a16:creationId xmlns:a16="http://schemas.microsoft.com/office/drawing/2014/main" id="{B45F53C4-FCAF-781B-3053-09124C2AC585}"/>
                </a:ext>
              </a:extLst>
            </p:cNvPr>
            <p:cNvSpPr/>
            <p:nvPr/>
          </p:nvSpPr>
          <p:spPr>
            <a:xfrm>
              <a:off x="2632654" y="1075863"/>
              <a:ext cx="12779" cy="38303"/>
            </a:xfrm>
            <a:custGeom>
              <a:avLst/>
              <a:gdLst>
                <a:gd name="connsiteX0" fmla="*/ 6390 w 12779"/>
                <a:gd name="connsiteY0" fmla="*/ 38304 h 38303"/>
                <a:gd name="connsiteX1" fmla="*/ 12780 w 12779"/>
                <a:gd name="connsiteY1" fmla="*/ 31920 h 38303"/>
                <a:gd name="connsiteX2" fmla="*/ 12780 w 12779"/>
                <a:gd name="connsiteY2" fmla="*/ 6384 h 38303"/>
                <a:gd name="connsiteX3" fmla="*/ 6390 w 12779"/>
                <a:gd name="connsiteY3" fmla="*/ 0 h 38303"/>
                <a:gd name="connsiteX4" fmla="*/ 0 w 12779"/>
                <a:gd name="connsiteY4" fmla="*/ 6384 h 38303"/>
                <a:gd name="connsiteX5" fmla="*/ 0 w 12779"/>
                <a:gd name="connsiteY5" fmla="*/ 31920 h 38303"/>
                <a:gd name="connsiteX6" fmla="*/ 6390 w 12779"/>
                <a:gd name="connsiteY6" fmla="*/ 38304 h 38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38303">
                  <a:moveTo>
                    <a:pt x="6390" y="38304"/>
                  </a:moveTo>
                  <a:cubicBezTo>
                    <a:pt x="10224" y="38304"/>
                    <a:pt x="12780" y="35750"/>
                    <a:pt x="12780" y="31920"/>
                  </a:cubicBez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lnTo>
                    <a:pt x="0" y="31920"/>
                  </a:lnTo>
                  <a:cubicBezTo>
                    <a:pt x="0" y="35750"/>
                    <a:pt x="2556" y="38304"/>
                    <a:pt x="6390" y="383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Graphic 4">
              <a:extLst>
                <a:ext uri="{FF2B5EF4-FFF2-40B4-BE49-F238E27FC236}">
                  <a16:creationId xmlns:a16="http://schemas.microsoft.com/office/drawing/2014/main" id="{8C597EDE-C88B-A934-3C7A-874BFBB19606}"/>
                </a:ext>
              </a:extLst>
            </p:cNvPr>
            <p:cNvSpPr/>
            <p:nvPr/>
          </p:nvSpPr>
          <p:spPr>
            <a:xfrm>
              <a:off x="2632654" y="1127573"/>
              <a:ext cx="24132" cy="31281"/>
            </a:xfrm>
            <a:custGeom>
              <a:avLst/>
              <a:gdLst>
                <a:gd name="connsiteX0" fmla="*/ 20448 w 24132"/>
                <a:gd name="connsiteY0" fmla="*/ 19152 h 31281"/>
                <a:gd name="connsiteX1" fmla="*/ 12780 w 24132"/>
                <a:gd name="connsiteY1" fmla="*/ 14683 h 31281"/>
                <a:gd name="connsiteX2" fmla="*/ 12780 w 24132"/>
                <a:gd name="connsiteY2" fmla="*/ 6384 h 31281"/>
                <a:gd name="connsiteX3" fmla="*/ 6390 w 24132"/>
                <a:gd name="connsiteY3" fmla="*/ 0 h 31281"/>
                <a:gd name="connsiteX4" fmla="*/ 0 w 24132"/>
                <a:gd name="connsiteY4" fmla="*/ 6384 h 31281"/>
                <a:gd name="connsiteX5" fmla="*/ 0 w 24132"/>
                <a:gd name="connsiteY5" fmla="*/ 19152 h 31281"/>
                <a:gd name="connsiteX6" fmla="*/ 3195 w 24132"/>
                <a:gd name="connsiteY6" fmla="*/ 24897 h 31281"/>
                <a:gd name="connsiteX7" fmla="*/ 14697 w 24132"/>
                <a:gd name="connsiteY7" fmla="*/ 30643 h 31281"/>
                <a:gd name="connsiteX8" fmla="*/ 17892 w 24132"/>
                <a:gd name="connsiteY8" fmla="*/ 31281 h 31281"/>
                <a:gd name="connsiteX9" fmla="*/ 23643 w 24132"/>
                <a:gd name="connsiteY9" fmla="*/ 28089 h 31281"/>
                <a:gd name="connsiteX10" fmla="*/ 20448 w 24132"/>
                <a:gd name="connsiteY10" fmla="*/ 19152 h 31281"/>
                <a:gd name="connsiteX11" fmla="*/ 20448 w 24132"/>
                <a:gd name="connsiteY11" fmla="*/ 19152 h 3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32" h="31281">
                  <a:moveTo>
                    <a:pt x="20448" y="19152"/>
                  </a:moveTo>
                  <a:lnTo>
                    <a:pt x="12780" y="14683"/>
                  </a:ln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lnTo>
                    <a:pt x="0" y="19152"/>
                  </a:lnTo>
                  <a:cubicBezTo>
                    <a:pt x="0" y="21706"/>
                    <a:pt x="1278" y="23621"/>
                    <a:pt x="3195" y="24897"/>
                  </a:cubicBezTo>
                  <a:lnTo>
                    <a:pt x="14697" y="30643"/>
                  </a:lnTo>
                  <a:cubicBezTo>
                    <a:pt x="15336" y="31281"/>
                    <a:pt x="16614" y="31281"/>
                    <a:pt x="17892" y="31281"/>
                  </a:cubicBezTo>
                  <a:cubicBezTo>
                    <a:pt x="20448" y="31281"/>
                    <a:pt x="22365" y="30005"/>
                    <a:pt x="23643" y="28089"/>
                  </a:cubicBezTo>
                  <a:cubicBezTo>
                    <a:pt x="24921" y="24897"/>
                    <a:pt x="23643" y="21067"/>
                    <a:pt x="20448" y="19152"/>
                  </a:cubicBezTo>
                  <a:cubicBezTo>
                    <a:pt x="20448" y="19152"/>
                    <a:pt x="20448" y="19152"/>
                    <a:pt x="20448" y="19152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Graphic 4">
              <a:extLst>
                <a:ext uri="{FF2B5EF4-FFF2-40B4-BE49-F238E27FC236}">
                  <a16:creationId xmlns:a16="http://schemas.microsoft.com/office/drawing/2014/main" id="{8DA233CC-76C4-955A-7CCB-F8AC6411DA6E}"/>
                </a:ext>
              </a:extLst>
            </p:cNvPr>
            <p:cNvSpPr/>
            <p:nvPr/>
          </p:nvSpPr>
          <p:spPr>
            <a:xfrm>
              <a:off x="2670093" y="1159870"/>
              <a:ext cx="39879" cy="27712"/>
            </a:xfrm>
            <a:custGeom>
              <a:avLst/>
              <a:gdLst>
                <a:gd name="connsiteX0" fmla="*/ 36684 w 39879"/>
                <a:gd name="connsiteY0" fmla="*/ 15583 h 27712"/>
                <a:gd name="connsiteX1" fmla="*/ 9847 w 39879"/>
                <a:gd name="connsiteY1" fmla="*/ 900 h 27712"/>
                <a:gd name="connsiteX2" fmla="*/ 901 w 39879"/>
                <a:gd name="connsiteY2" fmla="*/ 3453 h 27712"/>
                <a:gd name="connsiteX3" fmla="*/ 3457 w 39879"/>
                <a:gd name="connsiteY3" fmla="*/ 12391 h 27712"/>
                <a:gd name="connsiteX4" fmla="*/ 30294 w 39879"/>
                <a:gd name="connsiteY4" fmla="*/ 27074 h 27712"/>
                <a:gd name="connsiteX5" fmla="*/ 33489 w 39879"/>
                <a:gd name="connsiteY5" fmla="*/ 27713 h 27712"/>
                <a:gd name="connsiteX6" fmla="*/ 39879 w 39879"/>
                <a:gd name="connsiteY6" fmla="*/ 21329 h 27712"/>
                <a:gd name="connsiteX7" fmla="*/ 36684 w 39879"/>
                <a:gd name="connsiteY7" fmla="*/ 15583 h 27712"/>
                <a:gd name="connsiteX8" fmla="*/ 36684 w 39879"/>
                <a:gd name="connsiteY8" fmla="*/ 15583 h 27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879" h="27712">
                  <a:moveTo>
                    <a:pt x="36684" y="15583"/>
                  </a:moveTo>
                  <a:lnTo>
                    <a:pt x="9847" y="900"/>
                  </a:lnTo>
                  <a:cubicBezTo>
                    <a:pt x="6652" y="-1015"/>
                    <a:pt x="2818" y="262"/>
                    <a:pt x="901" y="3453"/>
                  </a:cubicBezTo>
                  <a:cubicBezTo>
                    <a:pt x="-1016" y="6645"/>
                    <a:pt x="262" y="10476"/>
                    <a:pt x="3457" y="12391"/>
                  </a:cubicBezTo>
                  <a:lnTo>
                    <a:pt x="30294" y="27074"/>
                  </a:lnTo>
                  <a:cubicBezTo>
                    <a:pt x="30933" y="27713"/>
                    <a:pt x="32211" y="27713"/>
                    <a:pt x="33489" y="27713"/>
                  </a:cubicBezTo>
                  <a:cubicBezTo>
                    <a:pt x="37323" y="27713"/>
                    <a:pt x="39879" y="24521"/>
                    <a:pt x="39879" y="21329"/>
                  </a:cubicBezTo>
                  <a:cubicBezTo>
                    <a:pt x="39879" y="18775"/>
                    <a:pt x="38601" y="16860"/>
                    <a:pt x="36684" y="15583"/>
                  </a:cubicBezTo>
                  <a:lnTo>
                    <a:pt x="36684" y="1558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Graphic 4">
              <a:extLst>
                <a:ext uri="{FF2B5EF4-FFF2-40B4-BE49-F238E27FC236}">
                  <a16:creationId xmlns:a16="http://schemas.microsoft.com/office/drawing/2014/main" id="{593B2149-4DF7-3B87-7778-EE3A8E59AFF0}"/>
                </a:ext>
              </a:extLst>
            </p:cNvPr>
            <p:cNvSpPr/>
            <p:nvPr/>
          </p:nvSpPr>
          <p:spPr>
            <a:xfrm>
              <a:off x="2734893" y="1126297"/>
              <a:ext cx="12779" cy="40857"/>
            </a:xfrm>
            <a:custGeom>
              <a:avLst/>
              <a:gdLst>
                <a:gd name="connsiteX0" fmla="*/ 6390 w 12779"/>
                <a:gd name="connsiteY0" fmla="*/ 40857 h 40857"/>
                <a:gd name="connsiteX1" fmla="*/ 12780 w 12779"/>
                <a:gd name="connsiteY1" fmla="*/ 34473 h 40857"/>
                <a:gd name="connsiteX2" fmla="*/ 12780 w 12779"/>
                <a:gd name="connsiteY2" fmla="*/ 6384 h 40857"/>
                <a:gd name="connsiteX3" fmla="*/ 6390 w 12779"/>
                <a:gd name="connsiteY3" fmla="*/ 0 h 40857"/>
                <a:gd name="connsiteX4" fmla="*/ 0 w 12779"/>
                <a:gd name="connsiteY4" fmla="*/ 6384 h 40857"/>
                <a:gd name="connsiteX5" fmla="*/ 0 w 12779"/>
                <a:gd name="connsiteY5" fmla="*/ 34473 h 40857"/>
                <a:gd name="connsiteX6" fmla="*/ 6390 w 12779"/>
                <a:gd name="connsiteY6" fmla="*/ 40857 h 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40857">
                  <a:moveTo>
                    <a:pt x="6390" y="40857"/>
                  </a:moveTo>
                  <a:cubicBezTo>
                    <a:pt x="10224" y="40857"/>
                    <a:pt x="12780" y="38304"/>
                    <a:pt x="12780" y="34473"/>
                  </a:cubicBez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lnTo>
                    <a:pt x="0" y="34473"/>
                  </a:lnTo>
                  <a:cubicBezTo>
                    <a:pt x="0" y="37665"/>
                    <a:pt x="3195" y="40857"/>
                    <a:pt x="6390" y="40857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Graphic 4">
              <a:extLst>
                <a:ext uri="{FF2B5EF4-FFF2-40B4-BE49-F238E27FC236}">
                  <a16:creationId xmlns:a16="http://schemas.microsoft.com/office/drawing/2014/main" id="{562B7A5D-E23B-A098-B8E9-5451602F607C}"/>
                </a:ext>
              </a:extLst>
            </p:cNvPr>
            <p:cNvSpPr/>
            <p:nvPr/>
          </p:nvSpPr>
          <p:spPr>
            <a:xfrm>
              <a:off x="2723129" y="1183114"/>
              <a:ext cx="35896" cy="24897"/>
            </a:xfrm>
            <a:custGeom>
              <a:avLst/>
              <a:gdLst>
                <a:gd name="connsiteX0" fmla="*/ 27099 w 35896"/>
                <a:gd name="connsiteY0" fmla="*/ 7661 h 24897"/>
                <a:gd name="connsiteX1" fmla="*/ 24543 w 35896"/>
                <a:gd name="connsiteY1" fmla="*/ 8938 h 24897"/>
                <a:gd name="connsiteX2" fmla="*/ 24543 w 35896"/>
                <a:gd name="connsiteY2" fmla="*/ 6384 h 24897"/>
                <a:gd name="connsiteX3" fmla="*/ 18154 w 35896"/>
                <a:gd name="connsiteY3" fmla="*/ 0 h 24897"/>
                <a:gd name="connsiteX4" fmla="*/ 11764 w 35896"/>
                <a:gd name="connsiteY4" fmla="*/ 6384 h 24897"/>
                <a:gd name="connsiteX5" fmla="*/ 11764 w 35896"/>
                <a:gd name="connsiteY5" fmla="*/ 8299 h 24897"/>
                <a:gd name="connsiteX6" fmla="*/ 9847 w 35896"/>
                <a:gd name="connsiteY6" fmla="*/ 7022 h 24897"/>
                <a:gd name="connsiteX7" fmla="*/ 901 w 35896"/>
                <a:gd name="connsiteY7" fmla="*/ 9576 h 24897"/>
                <a:gd name="connsiteX8" fmla="*/ 3457 w 35896"/>
                <a:gd name="connsiteY8" fmla="*/ 18514 h 24897"/>
                <a:gd name="connsiteX9" fmla="*/ 14959 w 35896"/>
                <a:gd name="connsiteY9" fmla="*/ 24898 h 24897"/>
                <a:gd name="connsiteX10" fmla="*/ 15598 w 35896"/>
                <a:gd name="connsiteY10" fmla="*/ 24898 h 24897"/>
                <a:gd name="connsiteX11" fmla="*/ 16237 w 35896"/>
                <a:gd name="connsiteY11" fmla="*/ 24898 h 24897"/>
                <a:gd name="connsiteX12" fmla="*/ 18154 w 35896"/>
                <a:gd name="connsiteY12" fmla="*/ 24898 h 24897"/>
                <a:gd name="connsiteX13" fmla="*/ 18154 w 35896"/>
                <a:gd name="connsiteY13" fmla="*/ 24898 h 24897"/>
                <a:gd name="connsiteX14" fmla="*/ 20709 w 35896"/>
                <a:gd name="connsiteY14" fmla="*/ 24259 h 24897"/>
                <a:gd name="connsiteX15" fmla="*/ 20709 w 35896"/>
                <a:gd name="connsiteY15" fmla="*/ 24259 h 24897"/>
                <a:gd name="connsiteX16" fmla="*/ 32211 w 35896"/>
                <a:gd name="connsiteY16" fmla="*/ 19152 h 24897"/>
                <a:gd name="connsiteX17" fmla="*/ 35406 w 35896"/>
                <a:gd name="connsiteY17" fmla="*/ 10853 h 24897"/>
                <a:gd name="connsiteX18" fmla="*/ 27099 w 35896"/>
                <a:gd name="connsiteY18" fmla="*/ 7661 h 24897"/>
                <a:gd name="connsiteX19" fmla="*/ 27099 w 35896"/>
                <a:gd name="connsiteY19" fmla="*/ 7661 h 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5896" h="24897">
                  <a:moveTo>
                    <a:pt x="27099" y="7661"/>
                  </a:moveTo>
                  <a:lnTo>
                    <a:pt x="24543" y="8938"/>
                  </a:lnTo>
                  <a:lnTo>
                    <a:pt x="24543" y="6384"/>
                  </a:lnTo>
                  <a:cubicBezTo>
                    <a:pt x="24543" y="2554"/>
                    <a:pt x="21988" y="0"/>
                    <a:pt x="18154" y="0"/>
                  </a:cubicBezTo>
                  <a:cubicBezTo>
                    <a:pt x="14320" y="0"/>
                    <a:pt x="11764" y="2554"/>
                    <a:pt x="11764" y="6384"/>
                  </a:cubicBezTo>
                  <a:lnTo>
                    <a:pt x="11764" y="8299"/>
                  </a:lnTo>
                  <a:lnTo>
                    <a:pt x="9847" y="7022"/>
                  </a:lnTo>
                  <a:cubicBezTo>
                    <a:pt x="6652" y="5107"/>
                    <a:pt x="2818" y="6384"/>
                    <a:pt x="901" y="9576"/>
                  </a:cubicBezTo>
                  <a:cubicBezTo>
                    <a:pt x="-1016" y="12768"/>
                    <a:pt x="262" y="16598"/>
                    <a:pt x="3457" y="18514"/>
                  </a:cubicBezTo>
                  <a:lnTo>
                    <a:pt x="14959" y="24898"/>
                  </a:lnTo>
                  <a:lnTo>
                    <a:pt x="15598" y="24898"/>
                  </a:lnTo>
                  <a:cubicBezTo>
                    <a:pt x="15598" y="24898"/>
                    <a:pt x="16237" y="24898"/>
                    <a:pt x="16237" y="24898"/>
                  </a:cubicBezTo>
                  <a:cubicBezTo>
                    <a:pt x="16875" y="24898"/>
                    <a:pt x="17514" y="24898"/>
                    <a:pt x="18154" y="24898"/>
                  </a:cubicBezTo>
                  <a:lnTo>
                    <a:pt x="18154" y="24898"/>
                  </a:lnTo>
                  <a:cubicBezTo>
                    <a:pt x="18793" y="24898"/>
                    <a:pt x="20070" y="24898"/>
                    <a:pt x="20709" y="24259"/>
                  </a:cubicBezTo>
                  <a:lnTo>
                    <a:pt x="20709" y="24259"/>
                  </a:lnTo>
                  <a:lnTo>
                    <a:pt x="32211" y="19152"/>
                  </a:lnTo>
                  <a:cubicBezTo>
                    <a:pt x="35406" y="17875"/>
                    <a:pt x="36684" y="14045"/>
                    <a:pt x="35406" y="10853"/>
                  </a:cubicBezTo>
                  <a:cubicBezTo>
                    <a:pt x="34128" y="7022"/>
                    <a:pt x="30294" y="5746"/>
                    <a:pt x="27099" y="7661"/>
                  </a:cubicBezTo>
                  <a:lnTo>
                    <a:pt x="27099" y="766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Graphic 4">
              <a:extLst>
                <a:ext uri="{FF2B5EF4-FFF2-40B4-BE49-F238E27FC236}">
                  <a16:creationId xmlns:a16="http://schemas.microsoft.com/office/drawing/2014/main" id="{1B0215A5-656F-FBD3-3B47-09C224331D04}"/>
                </a:ext>
              </a:extLst>
            </p:cNvPr>
            <p:cNvSpPr/>
            <p:nvPr/>
          </p:nvSpPr>
          <p:spPr>
            <a:xfrm>
              <a:off x="2774021" y="1165477"/>
              <a:ext cx="38680" cy="25297"/>
            </a:xfrm>
            <a:custGeom>
              <a:avLst/>
              <a:gdLst>
                <a:gd name="connsiteX0" fmla="*/ 29883 w 38680"/>
                <a:gd name="connsiteY0" fmla="*/ 400 h 25297"/>
                <a:gd name="connsiteX1" fmla="*/ 3685 w 38680"/>
                <a:gd name="connsiteY1" fmla="*/ 13168 h 25297"/>
                <a:gd name="connsiteX2" fmla="*/ 490 w 38680"/>
                <a:gd name="connsiteY2" fmla="*/ 21467 h 25297"/>
                <a:gd name="connsiteX3" fmla="*/ 6241 w 38680"/>
                <a:gd name="connsiteY3" fmla="*/ 25297 h 25297"/>
                <a:gd name="connsiteX4" fmla="*/ 8797 w 38680"/>
                <a:gd name="connsiteY4" fmla="*/ 24659 h 25297"/>
                <a:gd name="connsiteX5" fmla="*/ 34995 w 38680"/>
                <a:gd name="connsiteY5" fmla="*/ 12529 h 25297"/>
                <a:gd name="connsiteX6" fmla="*/ 38190 w 38680"/>
                <a:gd name="connsiteY6" fmla="*/ 4230 h 25297"/>
                <a:gd name="connsiteX7" fmla="*/ 29883 w 38680"/>
                <a:gd name="connsiteY7" fmla="*/ 400 h 25297"/>
                <a:gd name="connsiteX8" fmla="*/ 29883 w 38680"/>
                <a:gd name="connsiteY8" fmla="*/ 400 h 2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680" h="25297">
                  <a:moveTo>
                    <a:pt x="29883" y="400"/>
                  </a:moveTo>
                  <a:lnTo>
                    <a:pt x="3685" y="13168"/>
                  </a:lnTo>
                  <a:cubicBezTo>
                    <a:pt x="490" y="14445"/>
                    <a:pt x="-788" y="18275"/>
                    <a:pt x="490" y="21467"/>
                  </a:cubicBezTo>
                  <a:cubicBezTo>
                    <a:pt x="1768" y="24021"/>
                    <a:pt x="3685" y="25297"/>
                    <a:pt x="6241" y="25297"/>
                  </a:cubicBezTo>
                  <a:cubicBezTo>
                    <a:pt x="6880" y="25297"/>
                    <a:pt x="8158" y="25297"/>
                    <a:pt x="8797" y="24659"/>
                  </a:cubicBezTo>
                  <a:lnTo>
                    <a:pt x="34995" y="12529"/>
                  </a:lnTo>
                  <a:cubicBezTo>
                    <a:pt x="38190" y="11253"/>
                    <a:pt x="39468" y="7422"/>
                    <a:pt x="38190" y="4230"/>
                  </a:cubicBezTo>
                  <a:cubicBezTo>
                    <a:pt x="36273" y="1038"/>
                    <a:pt x="33078" y="-877"/>
                    <a:pt x="29883" y="400"/>
                  </a:cubicBezTo>
                  <a:lnTo>
                    <a:pt x="29883" y="40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Graphic 4">
              <a:extLst>
                <a:ext uri="{FF2B5EF4-FFF2-40B4-BE49-F238E27FC236}">
                  <a16:creationId xmlns:a16="http://schemas.microsoft.com/office/drawing/2014/main" id="{FAF34985-2717-762B-E98C-0C64616D26BE}"/>
                </a:ext>
              </a:extLst>
            </p:cNvPr>
            <p:cNvSpPr/>
            <p:nvPr/>
          </p:nvSpPr>
          <p:spPr>
            <a:xfrm>
              <a:off x="2826418" y="1135234"/>
              <a:ext cx="24132" cy="31281"/>
            </a:xfrm>
            <a:custGeom>
              <a:avLst/>
              <a:gdLst>
                <a:gd name="connsiteX0" fmla="*/ 17743 w 24132"/>
                <a:gd name="connsiteY0" fmla="*/ 0 h 31281"/>
                <a:gd name="connsiteX1" fmla="*/ 11353 w 24132"/>
                <a:gd name="connsiteY1" fmla="*/ 6384 h 31281"/>
                <a:gd name="connsiteX2" fmla="*/ 11353 w 24132"/>
                <a:gd name="connsiteY2" fmla="*/ 15322 h 31281"/>
                <a:gd name="connsiteX3" fmla="*/ 3685 w 24132"/>
                <a:gd name="connsiteY3" fmla="*/ 19152 h 31281"/>
                <a:gd name="connsiteX4" fmla="*/ 490 w 24132"/>
                <a:gd name="connsiteY4" fmla="*/ 27451 h 31281"/>
                <a:gd name="connsiteX5" fmla="*/ 490 w 24132"/>
                <a:gd name="connsiteY5" fmla="*/ 27451 h 31281"/>
                <a:gd name="connsiteX6" fmla="*/ 6241 w 24132"/>
                <a:gd name="connsiteY6" fmla="*/ 31282 h 31281"/>
                <a:gd name="connsiteX7" fmla="*/ 8797 w 24132"/>
                <a:gd name="connsiteY7" fmla="*/ 30643 h 31281"/>
                <a:gd name="connsiteX8" fmla="*/ 20299 w 24132"/>
                <a:gd name="connsiteY8" fmla="*/ 25536 h 31281"/>
                <a:gd name="connsiteX9" fmla="*/ 24133 w 24132"/>
                <a:gd name="connsiteY9" fmla="*/ 19790 h 31281"/>
                <a:gd name="connsiteX10" fmla="*/ 24133 w 24132"/>
                <a:gd name="connsiteY10" fmla="*/ 7022 h 31281"/>
                <a:gd name="connsiteX11" fmla="*/ 17743 w 24132"/>
                <a:gd name="connsiteY11" fmla="*/ 0 h 31281"/>
                <a:gd name="connsiteX12" fmla="*/ 17743 w 24132"/>
                <a:gd name="connsiteY12" fmla="*/ 0 h 3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132" h="31281">
                  <a:moveTo>
                    <a:pt x="17743" y="0"/>
                  </a:moveTo>
                  <a:cubicBezTo>
                    <a:pt x="13909" y="0"/>
                    <a:pt x="11353" y="2554"/>
                    <a:pt x="11353" y="6384"/>
                  </a:cubicBezTo>
                  <a:lnTo>
                    <a:pt x="11353" y="15322"/>
                  </a:lnTo>
                  <a:lnTo>
                    <a:pt x="3685" y="19152"/>
                  </a:lnTo>
                  <a:cubicBezTo>
                    <a:pt x="490" y="20429"/>
                    <a:pt x="-788" y="24259"/>
                    <a:pt x="490" y="27451"/>
                  </a:cubicBezTo>
                  <a:cubicBezTo>
                    <a:pt x="490" y="27451"/>
                    <a:pt x="490" y="27451"/>
                    <a:pt x="490" y="27451"/>
                  </a:cubicBezTo>
                  <a:cubicBezTo>
                    <a:pt x="1768" y="30005"/>
                    <a:pt x="3685" y="31282"/>
                    <a:pt x="6241" y="31282"/>
                  </a:cubicBezTo>
                  <a:cubicBezTo>
                    <a:pt x="6880" y="31282"/>
                    <a:pt x="8158" y="31282"/>
                    <a:pt x="8797" y="30643"/>
                  </a:cubicBezTo>
                  <a:lnTo>
                    <a:pt x="20299" y="25536"/>
                  </a:lnTo>
                  <a:cubicBezTo>
                    <a:pt x="22854" y="24259"/>
                    <a:pt x="24133" y="22344"/>
                    <a:pt x="24133" y="19790"/>
                  </a:cubicBezTo>
                  <a:lnTo>
                    <a:pt x="24133" y="7022"/>
                  </a:lnTo>
                  <a:cubicBezTo>
                    <a:pt x="24133" y="2554"/>
                    <a:pt x="21577" y="0"/>
                    <a:pt x="17743" y="0"/>
                  </a:cubicBezTo>
                  <a:cubicBezTo>
                    <a:pt x="17743" y="0"/>
                    <a:pt x="17743" y="0"/>
                    <a:pt x="17743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Graphic 4">
              <a:extLst>
                <a:ext uri="{FF2B5EF4-FFF2-40B4-BE49-F238E27FC236}">
                  <a16:creationId xmlns:a16="http://schemas.microsoft.com/office/drawing/2014/main" id="{36D77A46-BE9F-0CCE-476D-4406590EBB0E}"/>
                </a:ext>
              </a:extLst>
            </p:cNvPr>
            <p:cNvSpPr/>
            <p:nvPr/>
          </p:nvSpPr>
          <p:spPr>
            <a:xfrm>
              <a:off x="2837771" y="1078417"/>
              <a:ext cx="12779" cy="40857"/>
            </a:xfrm>
            <a:custGeom>
              <a:avLst/>
              <a:gdLst>
                <a:gd name="connsiteX0" fmla="*/ 6390 w 12779"/>
                <a:gd name="connsiteY0" fmla="*/ 0 h 40857"/>
                <a:gd name="connsiteX1" fmla="*/ 0 w 12779"/>
                <a:gd name="connsiteY1" fmla="*/ 6384 h 40857"/>
                <a:gd name="connsiteX2" fmla="*/ 0 w 12779"/>
                <a:gd name="connsiteY2" fmla="*/ 34473 h 40857"/>
                <a:gd name="connsiteX3" fmla="*/ 6390 w 12779"/>
                <a:gd name="connsiteY3" fmla="*/ 40857 h 40857"/>
                <a:gd name="connsiteX4" fmla="*/ 12780 w 12779"/>
                <a:gd name="connsiteY4" fmla="*/ 34473 h 40857"/>
                <a:gd name="connsiteX5" fmla="*/ 12780 w 12779"/>
                <a:gd name="connsiteY5" fmla="*/ 6384 h 40857"/>
                <a:gd name="connsiteX6" fmla="*/ 6390 w 12779"/>
                <a:gd name="connsiteY6" fmla="*/ 0 h 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40857">
                  <a:moveTo>
                    <a:pt x="6390" y="0"/>
                  </a:moveTo>
                  <a:cubicBezTo>
                    <a:pt x="2556" y="0"/>
                    <a:pt x="0" y="2554"/>
                    <a:pt x="0" y="6384"/>
                  </a:cubicBezTo>
                  <a:lnTo>
                    <a:pt x="0" y="34473"/>
                  </a:lnTo>
                  <a:cubicBezTo>
                    <a:pt x="0" y="38304"/>
                    <a:pt x="2556" y="40857"/>
                    <a:pt x="6390" y="40857"/>
                  </a:cubicBezTo>
                  <a:cubicBezTo>
                    <a:pt x="10224" y="40857"/>
                    <a:pt x="12780" y="38304"/>
                    <a:pt x="12780" y="34473"/>
                  </a:cubicBez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Graphic 4">
              <a:extLst>
                <a:ext uri="{FF2B5EF4-FFF2-40B4-BE49-F238E27FC236}">
                  <a16:creationId xmlns:a16="http://schemas.microsoft.com/office/drawing/2014/main" id="{B302A3E4-E9E3-8080-872F-240FF013558B}"/>
                </a:ext>
              </a:extLst>
            </p:cNvPr>
            <p:cNvSpPr/>
            <p:nvPr/>
          </p:nvSpPr>
          <p:spPr>
            <a:xfrm>
              <a:off x="2825368" y="1031552"/>
              <a:ext cx="24827" cy="30904"/>
            </a:xfrm>
            <a:custGeom>
              <a:avLst/>
              <a:gdLst>
                <a:gd name="connsiteX0" fmla="*/ 24543 w 24827"/>
                <a:gd name="connsiteY0" fmla="*/ 9199 h 30904"/>
                <a:gd name="connsiteX1" fmla="*/ 23904 w 24827"/>
                <a:gd name="connsiteY1" fmla="*/ 7922 h 30904"/>
                <a:gd name="connsiteX2" fmla="*/ 23265 w 24827"/>
                <a:gd name="connsiteY2" fmla="*/ 7284 h 30904"/>
                <a:gd name="connsiteX3" fmla="*/ 21348 w 24827"/>
                <a:gd name="connsiteY3" fmla="*/ 6007 h 30904"/>
                <a:gd name="connsiteX4" fmla="*/ 9847 w 24827"/>
                <a:gd name="connsiteY4" fmla="*/ 900 h 30904"/>
                <a:gd name="connsiteX5" fmla="*/ 901 w 24827"/>
                <a:gd name="connsiteY5" fmla="*/ 3453 h 30904"/>
                <a:gd name="connsiteX6" fmla="*/ 3457 w 24827"/>
                <a:gd name="connsiteY6" fmla="*/ 12391 h 30904"/>
                <a:gd name="connsiteX7" fmla="*/ 1540 w 24827"/>
                <a:gd name="connsiteY7" fmla="*/ 21329 h 30904"/>
                <a:gd name="connsiteX8" fmla="*/ 6652 w 24827"/>
                <a:gd name="connsiteY8" fmla="*/ 23882 h 30904"/>
                <a:gd name="connsiteX9" fmla="*/ 9208 w 24827"/>
                <a:gd name="connsiteY9" fmla="*/ 23244 h 30904"/>
                <a:gd name="connsiteX10" fmla="*/ 11764 w 24827"/>
                <a:gd name="connsiteY10" fmla="*/ 21967 h 30904"/>
                <a:gd name="connsiteX11" fmla="*/ 11764 w 24827"/>
                <a:gd name="connsiteY11" fmla="*/ 24521 h 30904"/>
                <a:gd name="connsiteX12" fmla="*/ 18154 w 24827"/>
                <a:gd name="connsiteY12" fmla="*/ 30905 h 30904"/>
                <a:gd name="connsiteX13" fmla="*/ 24543 w 24827"/>
                <a:gd name="connsiteY13" fmla="*/ 24521 h 30904"/>
                <a:gd name="connsiteX14" fmla="*/ 24543 w 24827"/>
                <a:gd name="connsiteY14" fmla="*/ 11753 h 30904"/>
                <a:gd name="connsiteX15" fmla="*/ 24543 w 24827"/>
                <a:gd name="connsiteY15" fmla="*/ 9199 h 30904"/>
                <a:gd name="connsiteX16" fmla="*/ 24543 w 24827"/>
                <a:gd name="connsiteY16" fmla="*/ 9199 h 3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27" h="30904">
                  <a:moveTo>
                    <a:pt x="24543" y="9199"/>
                  </a:moveTo>
                  <a:cubicBezTo>
                    <a:pt x="24543" y="8561"/>
                    <a:pt x="23904" y="7922"/>
                    <a:pt x="23904" y="7922"/>
                  </a:cubicBezTo>
                  <a:lnTo>
                    <a:pt x="23265" y="7284"/>
                  </a:lnTo>
                  <a:cubicBezTo>
                    <a:pt x="22627" y="6645"/>
                    <a:pt x="21988" y="6645"/>
                    <a:pt x="21348" y="6007"/>
                  </a:cubicBezTo>
                  <a:lnTo>
                    <a:pt x="9847" y="900"/>
                  </a:lnTo>
                  <a:cubicBezTo>
                    <a:pt x="6652" y="-1015"/>
                    <a:pt x="2818" y="261"/>
                    <a:pt x="901" y="3453"/>
                  </a:cubicBezTo>
                  <a:cubicBezTo>
                    <a:pt x="-1016" y="6645"/>
                    <a:pt x="262" y="10476"/>
                    <a:pt x="3457" y="12391"/>
                  </a:cubicBezTo>
                  <a:cubicBezTo>
                    <a:pt x="262" y="14306"/>
                    <a:pt x="-377" y="18137"/>
                    <a:pt x="1540" y="21329"/>
                  </a:cubicBezTo>
                  <a:cubicBezTo>
                    <a:pt x="2818" y="23244"/>
                    <a:pt x="4735" y="23882"/>
                    <a:pt x="6652" y="23882"/>
                  </a:cubicBezTo>
                  <a:cubicBezTo>
                    <a:pt x="7291" y="23882"/>
                    <a:pt x="8569" y="23882"/>
                    <a:pt x="9208" y="23244"/>
                  </a:cubicBezTo>
                  <a:lnTo>
                    <a:pt x="11764" y="21967"/>
                  </a:lnTo>
                  <a:lnTo>
                    <a:pt x="11764" y="24521"/>
                  </a:lnTo>
                  <a:cubicBezTo>
                    <a:pt x="11764" y="28351"/>
                    <a:pt x="14320" y="30905"/>
                    <a:pt x="18154" y="30905"/>
                  </a:cubicBezTo>
                  <a:cubicBezTo>
                    <a:pt x="21988" y="30905"/>
                    <a:pt x="24543" y="28351"/>
                    <a:pt x="24543" y="24521"/>
                  </a:cubicBezTo>
                  <a:lnTo>
                    <a:pt x="24543" y="11753"/>
                  </a:lnTo>
                  <a:cubicBezTo>
                    <a:pt x="25182" y="11114"/>
                    <a:pt x="24543" y="10476"/>
                    <a:pt x="24543" y="9199"/>
                  </a:cubicBezTo>
                  <a:lnTo>
                    <a:pt x="24543" y="919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1970172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" name="Object 85" hidden="1">
            <a:extLst>
              <a:ext uri="{FF2B5EF4-FFF2-40B4-BE49-F238E27FC236}">
                <a16:creationId xmlns:a16="http://schemas.microsoft.com/office/drawing/2014/main" id="{E9AB98BE-E8E8-682C-0652-253E84DA6D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5537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6" name="Object 85" hidden="1">
                        <a:extLst>
                          <a:ext uri="{FF2B5EF4-FFF2-40B4-BE49-F238E27FC236}">
                            <a16:creationId xmlns:a16="http://schemas.microsoft.com/office/drawing/2014/main" id="{E9AB98BE-E8E8-682C-0652-253E84DA6D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Title 74">
            <a:extLst>
              <a:ext uri="{FF2B5EF4-FFF2-40B4-BE49-F238E27FC236}">
                <a16:creationId xmlns:a16="http://schemas.microsoft.com/office/drawing/2014/main" id="{3C73553F-39E6-4044-AE90-EAB4CA989E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hu-HU" altLang="ja-JP"/>
              <a:t>Egy nagyvállalat építészete</a:t>
            </a:r>
            <a:endParaRPr lang="hu-HU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63C369F-B30A-43DD-BA9C-C30E916A68BD}"/>
              </a:ext>
            </a:extLst>
          </p:cNvPr>
          <p:cNvGrpSpPr/>
          <p:nvPr/>
        </p:nvGrpSpPr>
        <p:grpSpPr>
          <a:xfrm>
            <a:off x="1364880" y="1199024"/>
            <a:ext cx="9462239" cy="917236"/>
            <a:chOff x="413228" y="1238869"/>
            <a:chExt cx="1947702" cy="608905"/>
          </a:xfrm>
        </p:grpSpPr>
        <p:sp>
          <p:nvSpPr>
            <p:cNvPr id="25" name="Right Triangle 49">
              <a:extLst>
                <a:ext uri="{FF2B5EF4-FFF2-40B4-BE49-F238E27FC236}">
                  <a16:creationId xmlns:a16="http://schemas.microsoft.com/office/drawing/2014/main" id="{F41533BE-89DA-4E41-96E0-E4AF200A1CDA}"/>
                </a:ext>
              </a:extLst>
            </p:cNvPr>
            <p:cNvSpPr/>
            <p:nvPr/>
          </p:nvSpPr>
          <p:spPr bwMode="gray">
            <a:xfrm flipH="1" flipV="1">
              <a:off x="492373" y="1760935"/>
              <a:ext cx="294795" cy="86839"/>
            </a:xfrm>
            <a:custGeom>
              <a:avLst/>
              <a:gdLst>
                <a:gd name="connsiteX0" fmla="*/ 0 w 253605"/>
                <a:gd name="connsiteY0" fmla="*/ 102317 h 102317"/>
                <a:gd name="connsiteX1" fmla="*/ 0 w 253605"/>
                <a:gd name="connsiteY1" fmla="*/ 0 h 102317"/>
                <a:gd name="connsiteX2" fmla="*/ 253605 w 253605"/>
                <a:gd name="connsiteY2" fmla="*/ 102317 h 102317"/>
                <a:gd name="connsiteX3" fmla="*/ 0 w 253605"/>
                <a:gd name="connsiteY3" fmla="*/ 102317 h 102317"/>
                <a:gd name="connsiteX0" fmla="*/ 42862 w 296467"/>
                <a:gd name="connsiteY0" fmla="*/ 92792 h 92792"/>
                <a:gd name="connsiteX1" fmla="*/ 0 w 296467"/>
                <a:gd name="connsiteY1" fmla="*/ 0 h 92792"/>
                <a:gd name="connsiteX2" fmla="*/ 296467 w 296467"/>
                <a:gd name="connsiteY2" fmla="*/ 92792 h 92792"/>
                <a:gd name="connsiteX3" fmla="*/ 42862 w 296467"/>
                <a:gd name="connsiteY3" fmla="*/ 92792 h 92792"/>
                <a:gd name="connsiteX0" fmla="*/ 42862 w 296467"/>
                <a:gd name="connsiteY0" fmla="*/ 92792 h 92792"/>
                <a:gd name="connsiteX1" fmla="*/ 0 w 296467"/>
                <a:gd name="connsiteY1" fmla="*/ 0 h 92792"/>
                <a:gd name="connsiteX2" fmla="*/ 296467 w 296467"/>
                <a:gd name="connsiteY2" fmla="*/ 92792 h 92792"/>
                <a:gd name="connsiteX3" fmla="*/ 42862 w 296467"/>
                <a:gd name="connsiteY3" fmla="*/ 92792 h 92792"/>
                <a:gd name="connsiteX0" fmla="*/ 52387 w 305992"/>
                <a:gd name="connsiteY0" fmla="*/ 86839 h 86839"/>
                <a:gd name="connsiteX1" fmla="*/ 0 w 305992"/>
                <a:gd name="connsiteY1" fmla="*/ 0 h 86839"/>
                <a:gd name="connsiteX2" fmla="*/ 305992 w 305992"/>
                <a:gd name="connsiteY2" fmla="*/ 86839 h 86839"/>
                <a:gd name="connsiteX3" fmla="*/ 52387 w 305992"/>
                <a:gd name="connsiteY3" fmla="*/ 86839 h 86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5992" h="86839">
                  <a:moveTo>
                    <a:pt x="52387" y="86839"/>
                  </a:moveTo>
                  <a:lnTo>
                    <a:pt x="0" y="0"/>
                  </a:lnTo>
                  <a:lnTo>
                    <a:pt x="305992" y="86839"/>
                  </a:lnTo>
                  <a:lnTo>
                    <a:pt x="52387" y="86839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hu-HU" sz="11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6" name="Right Triangle 49">
              <a:extLst>
                <a:ext uri="{FF2B5EF4-FFF2-40B4-BE49-F238E27FC236}">
                  <a16:creationId xmlns:a16="http://schemas.microsoft.com/office/drawing/2014/main" id="{FC06442C-6DD5-414C-B6A7-89E29FC581F4}"/>
                </a:ext>
              </a:extLst>
            </p:cNvPr>
            <p:cNvSpPr/>
            <p:nvPr/>
          </p:nvSpPr>
          <p:spPr bwMode="gray">
            <a:xfrm flipV="1">
              <a:off x="1976664" y="1760935"/>
              <a:ext cx="294795" cy="86839"/>
            </a:xfrm>
            <a:custGeom>
              <a:avLst/>
              <a:gdLst>
                <a:gd name="connsiteX0" fmla="*/ 0 w 253605"/>
                <a:gd name="connsiteY0" fmla="*/ 102317 h 102317"/>
                <a:gd name="connsiteX1" fmla="*/ 0 w 253605"/>
                <a:gd name="connsiteY1" fmla="*/ 0 h 102317"/>
                <a:gd name="connsiteX2" fmla="*/ 253605 w 253605"/>
                <a:gd name="connsiteY2" fmla="*/ 102317 h 102317"/>
                <a:gd name="connsiteX3" fmla="*/ 0 w 253605"/>
                <a:gd name="connsiteY3" fmla="*/ 102317 h 102317"/>
                <a:gd name="connsiteX0" fmla="*/ 42862 w 296467"/>
                <a:gd name="connsiteY0" fmla="*/ 92792 h 92792"/>
                <a:gd name="connsiteX1" fmla="*/ 0 w 296467"/>
                <a:gd name="connsiteY1" fmla="*/ 0 h 92792"/>
                <a:gd name="connsiteX2" fmla="*/ 296467 w 296467"/>
                <a:gd name="connsiteY2" fmla="*/ 92792 h 92792"/>
                <a:gd name="connsiteX3" fmla="*/ 42862 w 296467"/>
                <a:gd name="connsiteY3" fmla="*/ 92792 h 92792"/>
                <a:gd name="connsiteX0" fmla="*/ 42862 w 296467"/>
                <a:gd name="connsiteY0" fmla="*/ 92792 h 92792"/>
                <a:gd name="connsiteX1" fmla="*/ 0 w 296467"/>
                <a:gd name="connsiteY1" fmla="*/ 0 h 92792"/>
                <a:gd name="connsiteX2" fmla="*/ 296467 w 296467"/>
                <a:gd name="connsiteY2" fmla="*/ 92792 h 92792"/>
                <a:gd name="connsiteX3" fmla="*/ 42862 w 296467"/>
                <a:gd name="connsiteY3" fmla="*/ 92792 h 92792"/>
                <a:gd name="connsiteX0" fmla="*/ 52387 w 305992"/>
                <a:gd name="connsiteY0" fmla="*/ 86839 h 86839"/>
                <a:gd name="connsiteX1" fmla="*/ 0 w 305992"/>
                <a:gd name="connsiteY1" fmla="*/ 0 h 86839"/>
                <a:gd name="connsiteX2" fmla="*/ 305992 w 305992"/>
                <a:gd name="connsiteY2" fmla="*/ 86839 h 86839"/>
                <a:gd name="connsiteX3" fmla="*/ 52387 w 305992"/>
                <a:gd name="connsiteY3" fmla="*/ 86839 h 86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5992" h="86839">
                  <a:moveTo>
                    <a:pt x="52387" y="86839"/>
                  </a:moveTo>
                  <a:lnTo>
                    <a:pt x="0" y="0"/>
                  </a:lnTo>
                  <a:lnTo>
                    <a:pt x="305992" y="86839"/>
                  </a:lnTo>
                  <a:lnTo>
                    <a:pt x="52387" y="86839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hu-HU" sz="11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7" name="Round Same Side Corner Rectangle 43">
              <a:extLst>
                <a:ext uri="{FF2B5EF4-FFF2-40B4-BE49-F238E27FC236}">
                  <a16:creationId xmlns:a16="http://schemas.microsoft.com/office/drawing/2014/main" id="{43A258F9-4BBE-4BC4-A384-C7ACF3644F2B}"/>
                </a:ext>
              </a:extLst>
            </p:cNvPr>
            <p:cNvSpPr/>
            <p:nvPr/>
          </p:nvSpPr>
          <p:spPr bwMode="gray">
            <a:xfrm>
              <a:off x="413228" y="1238869"/>
              <a:ext cx="1947702" cy="522066"/>
            </a:xfrm>
            <a:custGeom>
              <a:avLst/>
              <a:gdLst>
                <a:gd name="connsiteX0" fmla="*/ 61035 w 2105025"/>
                <a:gd name="connsiteY0" fmla="*/ 0 h 390526"/>
                <a:gd name="connsiteX1" fmla="*/ 2043990 w 2105025"/>
                <a:gd name="connsiteY1" fmla="*/ 0 h 390526"/>
                <a:gd name="connsiteX2" fmla="*/ 2105025 w 2105025"/>
                <a:gd name="connsiteY2" fmla="*/ 61035 h 390526"/>
                <a:gd name="connsiteX3" fmla="*/ 2105025 w 2105025"/>
                <a:gd name="connsiteY3" fmla="*/ 390526 h 390526"/>
                <a:gd name="connsiteX4" fmla="*/ 2105025 w 2105025"/>
                <a:gd name="connsiteY4" fmla="*/ 390526 h 390526"/>
                <a:gd name="connsiteX5" fmla="*/ 0 w 2105025"/>
                <a:gd name="connsiteY5" fmla="*/ 390526 h 390526"/>
                <a:gd name="connsiteX6" fmla="*/ 0 w 2105025"/>
                <a:gd name="connsiteY6" fmla="*/ 390526 h 390526"/>
                <a:gd name="connsiteX7" fmla="*/ 0 w 2105025"/>
                <a:gd name="connsiteY7" fmla="*/ 61035 h 390526"/>
                <a:gd name="connsiteX8" fmla="*/ 61035 w 2105025"/>
                <a:gd name="connsiteY8" fmla="*/ 0 h 390526"/>
                <a:gd name="connsiteX0" fmla="*/ 61035 w 2105025"/>
                <a:gd name="connsiteY0" fmla="*/ 0 h 390526"/>
                <a:gd name="connsiteX1" fmla="*/ 2043990 w 2105025"/>
                <a:gd name="connsiteY1" fmla="*/ 0 h 390526"/>
                <a:gd name="connsiteX2" fmla="*/ 2105025 w 2105025"/>
                <a:gd name="connsiteY2" fmla="*/ 61035 h 390526"/>
                <a:gd name="connsiteX3" fmla="*/ 2105025 w 2105025"/>
                <a:gd name="connsiteY3" fmla="*/ 390526 h 390526"/>
                <a:gd name="connsiteX4" fmla="*/ 2105025 w 2105025"/>
                <a:gd name="connsiteY4" fmla="*/ 390526 h 390526"/>
                <a:gd name="connsiteX5" fmla="*/ 84534 w 2105025"/>
                <a:gd name="connsiteY5" fmla="*/ 389334 h 390526"/>
                <a:gd name="connsiteX6" fmla="*/ 0 w 2105025"/>
                <a:gd name="connsiteY6" fmla="*/ 390526 h 390526"/>
                <a:gd name="connsiteX7" fmla="*/ 0 w 2105025"/>
                <a:gd name="connsiteY7" fmla="*/ 390526 h 390526"/>
                <a:gd name="connsiteX8" fmla="*/ 0 w 2105025"/>
                <a:gd name="connsiteY8" fmla="*/ 61035 h 390526"/>
                <a:gd name="connsiteX9" fmla="*/ 61035 w 2105025"/>
                <a:gd name="connsiteY9" fmla="*/ 0 h 390526"/>
                <a:gd name="connsiteX0" fmla="*/ 61035 w 2105025"/>
                <a:gd name="connsiteY0" fmla="*/ 0 h 390526"/>
                <a:gd name="connsiteX1" fmla="*/ 2043990 w 2105025"/>
                <a:gd name="connsiteY1" fmla="*/ 0 h 390526"/>
                <a:gd name="connsiteX2" fmla="*/ 2105025 w 2105025"/>
                <a:gd name="connsiteY2" fmla="*/ 61035 h 390526"/>
                <a:gd name="connsiteX3" fmla="*/ 2105025 w 2105025"/>
                <a:gd name="connsiteY3" fmla="*/ 390526 h 390526"/>
                <a:gd name="connsiteX4" fmla="*/ 2105025 w 2105025"/>
                <a:gd name="connsiteY4" fmla="*/ 390526 h 390526"/>
                <a:gd name="connsiteX5" fmla="*/ 2006203 w 2105025"/>
                <a:gd name="connsiteY5" fmla="*/ 389334 h 390526"/>
                <a:gd name="connsiteX6" fmla="*/ 84534 w 2105025"/>
                <a:gd name="connsiteY6" fmla="*/ 389334 h 390526"/>
                <a:gd name="connsiteX7" fmla="*/ 0 w 2105025"/>
                <a:gd name="connsiteY7" fmla="*/ 390526 h 390526"/>
                <a:gd name="connsiteX8" fmla="*/ 0 w 2105025"/>
                <a:gd name="connsiteY8" fmla="*/ 390526 h 390526"/>
                <a:gd name="connsiteX9" fmla="*/ 0 w 2105025"/>
                <a:gd name="connsiteY9" fmla="*/ 61035 h 390526"/>
                <a:gd name="connsiteX10" fmla="*/ 61035 w 2105025"/>
                <a:gd name="connsiteY10" fmla="*/ 0 h 390526"/>
                <a:gd name="connsiteX0" fmla="*/ 61035 w 2105025"/>
                <a:gd name="connsiteY0" fmla="*/ 0 h 390526"/>
                <a:gd name="connsiteX1" fmla="*/ 2043990 w 2105025"/>
                <a:gd name="connsiteY1" fmla="*/ 0 h 390526"/>
                <a:gd name="connsiteX2" fmla="*/ 2105025 w 2105025"/>
                <a:gd name="connsiteY2" fmla="*/ 61035 h 390526"/>
                <a:gd name="connsiteX3" fmla="*/ 2105025 w 2105025"/>
                <a:gd name="connsiteY3" fmla="*/ 390526 h 390526"/>
                <a:gd name="connsiteX4" fmla="*/ 2006203 w 2105025"/>
                <a:gd name="connsiteY4" fmla="*/ 389334 h 390526"/>
                <a:gd name="connsiteX5" fmla="*/ 84534 w 2105025"/>
                <a:gd name="connsiteY5" fmla="*/ 389334 h 390526"/>
                <a:gd name="connsiteX6" fmla="*/ 0 w 2105025"/>
                <a:gd name="connsiteY6" fmla="*/ 390526 h 390526"/>
                <a:gd name="connsiteX7" fmla="*/ 0 w 2105025"/>
                <a:gd name="connsiteY7" fmla="*/ 390526 h 390526"/>
                <a:gd name="connsiteX8" fmla="*/ 0 w 2105025"/>
                <a:gd name="connsiteY8" fmla="*/ 61035 h 390526"/>
                <a:gd name="connsiteX9" fmla="*/ 61035 w 2105025"/>
                <a:gd name="connsiteY9" fmla="*/ 0 h 390526"/>
                <a:gd name="connsiteX0" fmla="*/ 61035 w 2105025"/>
                <a:gd name="connsiteY0" fmla="*/ 0 h 390526"/>
                <a:gd name="connsiteX1" fmla="*/ 2043990 w 2105025"/>
                <a:gd name="connsiteY1" fmla="*/ 0 h 390526"/>
                <a:gd name="connsiteX2" fmla="*/ 2105025 w 2105025"/>
                <a:gd name="connsiteY2" fmla="*/ 61035 h 390526"/>
                <a:gd name="connsiteX3" fmla="*/ 2006203 w 2105025"/>
                <a:gd name="connsiteY3" fmla="*/ 389334 h 390526"/>
                <a:gd name="connsiteX4" fmla="*/ 84534 w 2105025"/>
                <a:gd name="connsiteY4" fmla="*/ 389334 h 390526"/>
                <a:gd name="connsiteX5" fmla="*/ 0 w 2105025"/>
                <a:gd name="connsiteY5" fmla="*/ 390526 h 390526"/>
                <a:gd name="connsiteX6" fmla="*/ 0 w 2105025"/>
                <a:gd name="connsiteY6" fmla="*/ 390526 h 390526"/>
                <a:gd name="connsiteX7" fmla="*/ 0 w 2105025"/>
                <a:gd name="connsiteY7" fmla="*/ 61035 h 390526"/>
                <a:gd name="connsiteX8" fmla="*/ 61035 w 2105025"/>
                <a:gd name="connsiteY8" fmla="*/ 0 h 390526"/>
                <a:gd name="connsiteX0" fmla="*/ 61035 w 2105025"/>
                <a:gd name="connsiteY0" fmla="*/ 0 h 390526"/>
                <a:gd name="connsiteX1" fmla="*/ 2043990 w 2105025"/>
                <a:gd name="connsiteY1" fmla="*/ 0 h 390526"/>
                <a:gd name="connsiteX2" fmla="*/ 2105025 w 2105025"/>
                <a:gd name="connsiteY2" fmla="*/ 61035 h 390526"/>
                <a:gd name="connsiteX3" fmla="*/ 2006203 w 2105025"/>
                <a:gd name="connsiteY3" fmla="*/ 389334 h 390526"/>
                <a:gd name="connsiteX4" fmla="*/ 84534 w 2105025"/>
                <a:gd name="connsiteY4" fmla="*/ 389334 h 390526"/>
                <a:gd name="connsiteX5" fmla="*/ 0 w 2105025"/>
                <a:gd name="connsiteY5" fmla="*/ 390526 h 390526"/>
                <a:gd name="connsiteX6" fmla="*/ 0 w 2105025"/>
                <a:gd name="connsiteY6" fmla="*/ 390526 h 390526"/>
                <a:gd name="connsiteX7" fmla="*/ 0 w 2105025"/>
                <a:gd name="connsiteY7" fmla="*/ 61035 h 390526"/>
                <a:gd name="connsiteX8" fmla="*/ 61035 w 2105025"/>
                <a:gd name="connsiteY8" fmla="*/ 0 h 390526"/>
                <a:gd name="connsiteX0" fmla="*/ 61035 w 2105025"/>
                <a:gd name="connsiteY0" fmla="*/ 0 h 390526"/>
                <a:gd name="connsiteX1" fmla="*/ 2043990 w 2105025"/>
                <a:gd name="connsiteY1" fmla="*/ 0 h 390526"/>
                <a:gd name="connsiteX2" fmla="*/ 2105025 w 2105025"/>
                <a:gd name="connsiteY2" fmla="*/ 61035 h 390526"/>
                <a:gd name="connsiteX3" fmla="*/ 2006203 w 2105025"/>
                <a:gd name="connsiteY3" fmla="*/ 389334 h 390526"/>
                <a:gd name="connsiteX4" fmla="*/ 84534 w 2105025"/>
                <a:gd name="connsiteY4" fmla="*/ 389334 h 390526"/>
                <a:gd name="connsiteX5" fmla="*/ 0 w 2105025"/>
                <a:gd name="connsiteY5" fmla="*/ 390526 h 390526"/>
                <a:gd name="connsiteX6" fmla="*/ 0 w 2105025"/>
                <a:gd name="connsiteY6" fmla="*/ 61035 h 390526"/>
                <a:gd name="connsiteX7" fmla="*/ 61035 w 2105025"/>
                <a:gd name="connsiteY7" fmla="*/ 0 h 390526"/>
                <a:gd name="connsiteX0" fmla="*/ 61035 w 2105025"/>
                <a:gd name="connsiteY0" fmla="*/ 0 h 389334"/>
                <a:gd name="connsiteX1" fmla="*/ 2043990 w 2105025"/>
                <a:gd name="connsiteY1" fmla="*/ 0 h 389334"/>
                <a:gd name="connsiteX2" fmla="*/ 2105025 w 2105025"/>
                <a:gd name="connsiteY2" fmla="*/ 61035 h 389334"/>
                <a:gd name="connsiteX3" fmla="*/ 2006203 w 2105025"/>
                <a:gd name="connsiteY3" fmla="*/ 389334 h 389334"/>
                <a:gd name="connsiteX4" fmla="*/ 84534 w 2105025"/>
                <a:gd name="connsiteY4" fmla="*/ 389334 h 389334"/>
                <a:gd name="connsiteX5" fmla="*/ 0 w 2105025"/>
                <a:gd name="connsiteY5" fmla="*/ 61035 h 389334"/>
                <a:gd name="connsiteX6" fmla="*/ 61035 w 2105025"/>
                <a:gd name="connsiteY6" fmla="*/ 0 h 38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05025" h="389334">
                  <a:moveTo>
                    <a:pt x="61035" y="0"/>
                  </a:moveTo>
                  <a:lnTo>
                    <a:pt x="2043990" y="0"/>
                  </a:lnTo>
                  <a:cubicBezTo>
                    <a:pt x="2077699" y="0"/>
                    <a:pt x="2105025" y="27326"/>
                    <a:pt x="2105025" y="61035"/>
                  </a:cubicBezTo>
                  <a:lnTo>
                    <a:pt x="2006203" y="389334"/>
                  </a:lnTo>
                  <a:lnTo>
                    <a:pt x="84534" y="389334"/>
                  </a:lnTo>
                  <a:lnTo>
                    <a:pt x="0" y="61035"/>
                  </a:lnTo>
                  <a:cubicBezTo>
                    <a:pt x="0" y="27326"/>
                    <a:pt x="27326" y="0"/>
                    <a:pt x="61035" y="0"/>
                  </a:cubicBezTo>
                  <a:close/>
                </a:path>
              </a:pathLst>
            </a:custGeom>
            <a:solidFill>
              <a:schemeClr val="accent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365760" tIns="91440" rIns="365760" bIns="91440" rtlCol="0" anchor="ctr"/>
            <a:lstStyle/>
            <a:p>
              <a:pPr lvl="0" algn="ctr"/>
              <a:r>
                <a:rPr lang="hu-HU" sz="16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“Egy nagyvállalati architektúra kritikus az üzleti túlélés és siker tekintetében és megkerülhetetlen</a:t>
              </a:r>
            </a:p>
            <a:p>
              <a:pPr lvl="0" algn="ctr"/>
              <a:r>
                <a:rPr lang="hu-HU" sz="16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z IT-val biztosított versenyelőny megszerzése terén”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FD3E7B2-3428-4824-A54D-B24C483AB07C}"/>
              </a:ext>
            </a:extLst>
          </p:cNvPr>
          <p:cNvGrpSpPr/>
          <p:nvPr/>
        </p:nvGrpSpPr>
        <p:grpSpPr>
          <a:xfrm>
            <a:off x="1152337" y="3839648"/>
            <a:ext cx="2593097" cy="2149218"/>
            <a:chOff x="582909" y="4047069"/>
            <a:chExt cx="2642778" cy="2579953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F36E524-1298-445B-81CC-5F5266C44617}"/>
                </a:ext>
              </a:extLst>
            </p:cNvPr>
            <p:cNvSpPr/>
            <p:nvPr/>
          </p:nvSpPr>
          <p:spPr bwMode="gray">
            <a:xfrm>
              <a:off x="582909" y="4047069"/>
              <a:ext cx="2642778" cy="255534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91440" tIns="91440" rIns="91440" bIns="91440" rtlCol="0" anchor="t"/>
            <a:lstStyle/>
            <a:p>
              <a:pPr algn="l"/>
              <a:r>
                <a:rPr lang="hu-HU" sz="1600">
                  <a:latin typeface="Calibri" panose="020F0502020204030204" pitchFamily="34" charset="0"/>
                </a:rPr>
                <a:t>Egy rendszer formális leírása, illetve rendszer részletes terve a komponensek szintjén a megvalósítás irányítása céljából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75A85C2-DD85-4D2D-9BAB-86FD318B6471}"/>
                </a:ext>
              </a:extLst>
            </p:cNvPr>
            <p:cNvSpPr/>
            <p:nvPr/>
          </p:nvSpPr>
          <p:spPr bwMode="gray">
            <a:xfrm>
              <a:off x="756474" y="6539326"/>
              <a:ext cx="2295650" cy="87696"/>
            </a:xfrm>
            <a:prstGeom prst="rect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91440" tIns="91440" r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hu-HU" sz="11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1192240-DB18-4602-BC96-F713F51F5EA2}"/>
              </a:ext>
            </a:extLst>
          </p:cNvPr>
          <p:cNvGrpSpPr/>
          <p:nvPr/>
        </p:nvGrpSpPr>
        <p:grpSpPr>
          <a:xfrm>
            <a:off x="2023658" y="2400565"/>
            <a:ext cx="850454" cy="1406308"/>
            <a:chOff x="757805" y="1635343"/>
            <a:chExt cx="1185062" cy="2012973"/>
          </a:xfrm>
        </p:grpSpPr>
        <p:sp>
          <p:nvSpPr>
            <p:cNvPr id="19" name="Freeform 36">
              <a:extLst>
                <a:ext uri="{FF2B5EF4-FFF2-40B4-BE49-F238E27FC236}">
                  <a16:creationId xmlns:a16="http://schemas.microsoft.com/office/drawing/2014/main" id="{68DB2047-3620-45A5-8E31-F5A368E64683}"/>
                </a:ext>
              </a:extLst>
            </p:cNvPr>
            <p:cNvSpPr/>
            <p:nvPr/>
          </p:nvSpPr>
          <p:spPr bwMode="gray">
            <a:xfrm>
              <a:off x="757805" y="1635343"/>
              <a:ext cx="1185062" cy="1921248"/>
            </a:xfrm>
            <a:custGeom>
              <a:avLst/>
              <a:gdLst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73050 w 1162050"/>
                <a:gd name="connsiteY26" fmla="*/ 87312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73050 w 1162050"/>
                <a:gd name="connsiteY26" fmla="*/ 87312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73050 w 1162050"/>
                <a:gd name="connsiteY26" fmla="*/ 87312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65112 w 1162050"/>
                <a:gd name="connsiteY26" fmla="*/ 85724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65112 w 1162050"/>
                <a:gd name="connsiteY26" fmla="*/ 85724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65112 w 1162050"/>
                <a:gd name="connsiteY26" fmla="*/ 85724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65112 w 1162050"/>
                <a:gd name="connsiteY26" fmla="*/ 85724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65112 w 1162050"/>
                <a:gd name="connsiteY26" fmla="*/ 85724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65112 w 1162050"/>
                <a:gd name="connsiteY26" fmla="*/ 85724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7518 w 1162418"/>
                <a:gd name="connsiteY21" fmla="*/ 831850 h 1890712"/>
                <a:gd name="connsiteX22" fmla="*/ 21005 w 1162418"/>
                <a:gd name="connsiteY22" fmla="*/ 727075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7518 w 1162418"/>
                <a:gd name="connsiteY21" fmla="*/ 831850 h 1890712"/>
                <a:gd name="connsiteX22" fmla="*/ 21005 w 1162418"/>
                <a:gd name="connsiteY22" fmla="*/ 727075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7518 w 1162418"/>
                <a:gd name="connsiteY21" fmla="*/ 831850 h 1890712"/>
                <a:gd name="connsiteX22" fmla="*/ 21005 w 1162418"/>
                <a:gd name="connsiteY22" fmla="*/ 727075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7518 w 1162418"/>
                <a:gd name="connsiteY21" fmla="*/ 831850 h 1890712"/>
                <a:gd name="connsiteX22" fmla="*/ 21005 w 1162418"/>
                <a:gd name="connsiteY22" fmla="*/ 727075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7518 w 1162418"/>
                <a:gd name="connsiteY21" fmla="*/ 831850 h 1890712"/>
                <a:gd name="connsiteX22" fmla="*/ 21005 w 1162418"/>
                <a:gd name="connsiteY22" fmla="*/ 727075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7518 w 1162418"/>
                <a:gd name="connsiteY21" fmla="*/ 831850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7518 w 1162418"/>
                <a:gd name="connsiteY21" fmla="*/ 831850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83340 w 1162418"/>
                <a:gd name="connsiteY16" fmla="*/ 129262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83340 w 1162418"/>
                <a:gd name="connsiteY16" fmla="*/ 129262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83340 w 1162418"/>
                <a:gd name="connsiteY16" fmla="*/ 129262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83340 w 1162418"/>
                <a:gd name="connsiteY16" fmla="*/ 129262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2938 h 1892938"/>
                <a:gd name="connsiteX1" fmla="*/ 581393 w 1162418"/>
                <a:gd name="connsiteY1" fmla="*/ 1762763 h 1892938"/>
                <a:gd name="connsiteX2" fmla="*/ 508368 w 1162418"/>
                <a:gd name="connsiteY2" fmla="*/ 1718313 h 1892938"/>
                <a:gd name="connsiteX3" fmla="*/ 475030 w 1162418"/>
                <a:gd name="connsiteY3" fmla="*/ 1678626 h 1892938"/>
                <a:gd name="connsiteX4" fmla="*/ 505193 w 1162418"/>
                <a:gd name="connsiteY4" fmla="*/ 1638938 h 1892938"/>
                <a:gd name="connsiteX5" fmla="*/ 717918 w 1162418"/>
                <a:gd name="connsiteY5" fmla="*/ 1638938 h 1892938"/>
                <a:gd name="connsiteX6" fmla="*/ 746493 w 1162418"/>
                <a:gd name="connsiteY6" fmla="*/ 1591313 h 1892938"/>
                <a:gd name="connsiteX7" fmla="*/ 716330 w 1162418"/>
                <a:gd name="connsiteY7" fmla="*/ 1554801 h 1892938"/>
                <a:gd name="connsiteX8" fmla="*/ 398830 w 1162418"/>
                <a:gd name="connsiteY8" fmla="*/ 1554801 h 1892938"/>
                <a:gd name="connsiteX9" fmla="*/ 360730 w 1162418"/>
                <a:gd name="connsiteY9" fmla="*/ 1516701 h 1892938"/>
                <a:gd name="connsiteX10" fmla="*/ 382955 w 1162418"/>
                <a:gd name="connsiteY10" fmla="*/ 1469076 h 1892938"/>
                <a:gd name="connsiteX11" fmla="*/ 797293 w 1162418"/>
                <a:gd name="connsiteY11" fmla="*/ 1469076 h 1892938"/>
                <a:gd name="connsiteX12" fmla="*/ 830630 w 1162418"/>
                <a:gd name="connsiteY12" fmla="*/ 1421451 h 1892938"/>
                <a:gd name="connsiteX13" fmla="*/ 795705 w 1162418"/>
                <a:gd name="connsiteY13" fmla="*/ 1378588 h 1892938"/>
                <a:gd name="connsiteX14" fmla="*/ 386130 w 1162418"/>
                <a:gd name="connsiteY14" fmla="*/ 1378588 h 1892938"/>
                <a:gd name="connsiteX15" fmla="*/ 322630 w 1162418"/>
                <a:gd name="connsiteY15" fmla="*/ 1346838 h 1892938"/>
                <a:gd name="connsiteX16" fmla="*/ 283340 w 1162418"/>
                <a:gd name="connsiteY16" fmla="*/ 1294848 h 1892938"/>
                <a:gd name="connsiteX17" fmla="*/ 271830 w 1162418"/>
                <a:gd name="connsiteY17" fmla="*/ 1202376 h 1892938"/>
                <a:gd name="connsiteX18" fmla="*/ 260718 w 1162418"/>
                <a:gd name="connsiteY18" fmla="*/ 1123001 h 1892938"/>
                <a:gd name="connsiteX19" fmla="*/ 205155 w 1162418"/>
                <a:gd name="connsiteY19" fmla="*/ 1032513 h 1892938"/>
                <a:gd name="connsiteX20" fmla="*/ 130543 w 1162418"/>
                <a:gd name="connsiteY20" fmla="*/ 949963 h 1892938"/>
                <a:gd name="connsiteX21" fmla="*/ 55137 w 1162418"/>
                <a:gd name="connsiteY21" fmla="*/ 840029 h 1892938"/>
                <a:gd name="connsiteX22" fmla="*/ 13861 w 1162418"/>
                <a:gd name="connsiteY22" fmla="*/ 730492 h 1892938"/>
                <a:gd name="connsiteX23" fmla="*/ 368 w 1162418"/>
                <a:gd name="connsiteY23" fmla="*/ 595951 h 1892938"/>
                <a:gd name="connsiteX24" fmla="*/ 11480 w 1162418"/>
                <a:gd name="connsiteY24" fmla="*/ 470538 h 1892938"/>
                <a:gd name="connsiteX25" fmla="*/ 81330 w 1162418"/>
                <a:gd name="connsiteY25" fmla="*/ 280038 h 1892938"/>
                <a:gd name="connsiteX26" fmla="*/ 265480 w 1162418"/>
                <a:gd name="connsiteY26" fmla="*/ 87950 h 1892938"/>
                <a:gd name="connsiteX27" fmla="*/ 519480 w 1162418"/>
                <a:gd name="connsiteY27" fmla="*/ 2226 h 1892938"/>
                <a:gd name="connsiteX28" fmla="*/ 705218 w 1162418"/>
                <a:gd name="connsiteY28" fmla="*/ 5401 h 1892938"/>
                <a:gd name="connsiteX29" fmla="*/ 943343 w 1162418"/>
                <a:gd name="connsiteY29" fmla="*/ 116526 h 1892938"/>
                <a:gd name="connsiteX30" fmla="*/ 1100505 w 1162418"/>
                <a:gd name="connsiteY30" fmla="*/ 305438 h 1892938"/>
                <a:gd name="connsiteX31" fmla="*/ 1162418 w 1162418"/>
                <a:gd name="connsiteY31" fmla="*/ 508638 h 1892938"/>
                <a:gd name="connsiteX32" fmla="*/ 1159243 w 1162418"/>
                <a:gd name="connsiteY32" fmla="*/ 678501 h 1892938"/>
                <a:gd name="connsiteX33" fmla="*/ 1090980 w 1162418"/>
                <a:gd name="connsiteY33" fmla="*/ 884876 h 1892938"/>
                <a:gd name="connsiteX34" fmla="*/ 957630 w 1162418"/>
                <a:gd name="connsiteY34" fmla="*/ 1053151 h 1892938"/>
                <a:gd name="connsiteX35" fmla="*/ 914768 w 1162418"/>
                <a:gd name="connsiteY35" fmla="*/ 1113476 h 1892938"/>
                <a:gd name="connsiteX36" fmla="*/ 905243 w 1162418"/>
                <a:gd name="connsiteY36" fmla="*/ 1170626 h 1892938"/>
                <a:gd name="connsiteX37" fmla="*/ 905243 w 1162418"/>
                <a:gd name="connsiteY37" fmla="*/ 1259526 h 1892938"/>
                <a:gd name="connsiteX38" fmla="*/ 868730 w 1162418"/>
                <a:gd name="connsiteY38" fmla="*/ 1296038 h 1892938"/>
                <a:gd name="connsiteX39" fmla="*/ 641718 w 1162418"/>
                <a:gd name="connsiteY39" fmla="*/ 1296038 h 1892938"/>
                <a:gd name="connsiteX40" fmla="*/ 590918 w 1162418"/>
                <a:gd name="connsiteY40" fmla="*/ 1273813 h 1892938"/>
                <a:gd name="connsiteX41" fmla="*/ 590918 w 1162418"/>
                <a:gd name="connsiteY41" fmla="*/ 1207138 h 1892938"/>
                <a:gd name="connsiteX0" fmla="*/ 584568 w 1162418"/>
                <a:gd name="connsiteY0" fmla="*/ 1895823 h 1895823"/>
                <a:gd name="connsiteX1" fmla="*/ 581393 w 1162418"/>
                <a:gd name="connsiteY1" fmla="*/ 1765648 h 1895823"/>
                <a:gd name="connsiteX2" fmla="*/ 508368 w 1162418"/>
                <a:gd name="connsiteY2" fmla="*/ 1721198 h 1895823"/>
                <a:gd name="connsiteX3" fmla="*/ 475030 w 1162418"/>
                <a:gd name="connsiteY3" fmla="*/ 1681511 h 1895823"/>
                <a:gd name="connsiteX4" fmla="*/ 505193 w 1162418"/>
                <a:gd name="connsiteY4" fmla="*/ 1641823 h 1895823"/>
                <a:gd name="connsiteX5" fmla="*/ 717918 w 1162418"/>
                <a:gd name="connsiteY5" fmla="*/ 1641823 h 1895823"/>
                <a:gd name="connsiteX6" fmla="*/ 746493 w 1162418"/>
                <a:gd name="connsiteY6" fmla="*/ 1594198 h 1895823"/>
                <a:gd name="connsiteX7" fmla="*/ 716330 w 1162418"/>
                <a:gd name="connsiteY7" fmla="*/ 1557686 h 1895823"/>
                <a:gd name="connsiteX8" fmla="*/ 398830 w 1162418"/>
                <a:gd name="connsiteY8" fmla="*/ 1557686 h 1895823"/>
                <a:gd name="connsiteX9" fmla="*/ 360730 w 1162418"/>
                <a:gd name="connsiteY9" fmla="*/ 1519586 h 1895823"/>
                <a:gd name="connsiteX10" fmla="*/ 382955 w 1162418"/>
                <a:gd name="connsiteY10" fmla="*/ 1471961 h 1895823"/>
                <a:gd name="connsiteX11" fmla="*/ 797293 w 1162418"/>
                <a:gd name="connsiteY11" fmla="*/ 1471961 h 1895823"/>
                <a:gd name="connsiteX12" fmla="*/ 830630 w 1162418"/>
                <a:gd name="connsiteY12" fmla="*/ 1424336 h 1895823"/>
                <a:gd name="connsiteX13" fmla="*/ 795705 w 1162418"/>
                <a:gd name="connsiteY13" fmla="*/ 1381473 h 1895823"/>
                <a:gd name="connsiteX14" fmla="*/ 386130 w 1162418"/>
                <a:gd name="connsiteY14" fmla="*/ 1381473 h 1895823"/>
                <a:gd name="connsiteX15" fmla="*/ 322630 w 1162418"/>
                <a:gd name="connsiteY15" fmla="*/ 1349723 h 1895823"/>
                <a:gd name="connsiteX16" fmla="*/ 283340 w 1162418"/>
                <a:gd name="connsiteY16" fmla="*/ 1297733 h 1895823"/>
                <a:gd name="connsiteX17" fmla="*/ 271830 w 1162418"/>
                <a:gd name="connsiteY17" fmla="*/ 1205261 h 1895823"/>
                <a:gd name="connsiteX18" fmla="*/ 260718 w 1162418"/>
                <a:gd name="connsiteY18" fmla="*/ 1125886 h 1895823"/>
                <a:gd name="connsiteX19" fmla="*/ 205155 w 1162418"/>
                <a:gd name="connsiteY19" fmla="*/ 1035398 h 1895823"/>
                <a:gd name="connsiteX20" fmla="*/ 130543 w 1162418"/>
                <a:gd name="connsiteY20" fmla="*/ 952848 h 1895823"/>
                <a:gd name="connsiteX21" fmla="*/ 55137 w 1162418"/>
                <a:gd name="connsiteY21" fmla="*/ 842914 h 1895823"/>
                <a:gd name="connsiteX22" fmla="*/ 13861 w 1162418"/>
                <a:gd name="connsiteY22" fmla="*/ 733377 h 1895823"/>
                <a:gd name="connsiteX23" fmla="*/ 368 w 1162418"/>
                <a:gd name="connsiteY23" fmla="*/ 598836 h 1895823"/>
                <a:gd name="connsiteX24" fmla="*/ 11480 w 1162418"/>
                <a:gd name="connsiteY24" fmla="*/ 473423 h 1895823"/>
                <a:gd name="connsiteX25" fmla="*/ 81330 w 1162418"/>
                <a:gd name="connsiteY25" fmla="*/ 282923 h 1895823"/>
                <a:gd name="connsiteX26" fmla="*/ 265480 w 1162418"/>
                <a:gd name="connsiteY26" fmla="*/ 90835 h 1895823"/>
                <a:gd name="connsiteX27" fmla="*/ 519480 w 1162418"/>
                <a:gd name="connsiteY27" fmla="*/ 5111 h 1895823"/>
                <a:gd name="connsiteX28" fmla="*/ 705218 w 1162418"/>
                <a:gd name="connsiteY28" fmla="*/ 8286 h 1895823"/>
                <a:gd name="connsiteX29" fmla="*/ 943343 w 1162418"/>
                <a:gd name="connsiteY29" fmla="*/ 119411 h 1895823"/>
                <a:gd name="connsiteX30" fmla="*/ 1100505 w 1162418"/>
                <a:gd name="connsiteY30" fmla="*/ 308323 h 1895823"/>
                <a:gd name="connsiteX31" fmla="*/ 1162418 w 1162418"/>
                <a:gd name="connsiteY31" fmla="*/ 511523 h 1895823"/>
                <a:gd name="connsiteX32" fmla="*/ 1159243 w 1162418"/>
                <a:gd name="connsiteY32" fmla="*/ 681386 h 1895823"/>
                <a:gd name="connsiteX33" fmla="*/ 1090980 w 1162418"/>
                <a:gd name="connsiteY33" fmla="*/ 887761 h 1895823"/>
                <a:gd name="connsiteX34" fmla="*/ 957630 w 1162418"/>
                <a:gd name="connsiteY34" fmla="*/ 1056036 h 1895823"/>
                <a:gd name="connsiteX35" fmla="*/ 914768 w 1162418"/>
                <a:gd name="connsiteY35" fmla="*/ 1116361 h 1895823"/>
                <a:gd name="connsiteX36" fmla="*/ 905243 w 1162418"/>
                <a:gd name="connsiteY36" fmla="*/ 1173511 h 1895823"/>
                <a:gd name="connsiteX37" fmla="*/ 905243 w 1162418"/>
                <a:gd name="connsiteY37" fmla="*/ 1262411 h 1895823"/>
                <a:gd name="connsiteX38" fmla="*/ 868730 w 1162418"/>
                <a:gd name="connsiteY38" fmla="*/ 1298923 h 1895823"/>
                <a:gd name="connsiteX39" fmla="*/ 641718 w 1162418"/>
                <a:gd name="connsiteY39" fmla="*/ 1298923 h 1895823"/>
                <a:gd name="connsiteX40" fmla="*/ 590918 w 1162418"/>
                <a:gd name="connsiteY40" fmla="*/ 1276698 h 1895823"/>
                <a:gd name="connsiteX41" fmla="*/ 590918 w 1162418"/>
                <a:gd name="connsiteY41" fmla="*/ 1210023 h 1895823"/>
                <a:gd name="connsiteX0" fmla="*/ 584568 w 1162418"/>
                <a:gd name="connsiteY0" fmla="*/ 1897931 h 1897931"/>
                <a:gd name="connsiteX1" fmla="*/ 581393 w 1162418"/>
                <a:gd name="connsiteY1" fmla="*/ 1767756 h 1897931"/>
                <a:gd name="connsiteX2" fmla="*/ 508368 w 1162418"/>
                <a:gd name="connsiteY2" fmla="*/ 1723306 h 1897931"/>
                <a:gd name="connsiteX3" fmla="*/ 475030 w 1162418"/>
                <a:gd name="connsiteY3" fmla="*/ 1683619 h 1897931"/>
                <a:gd name="connsiteX4" fmla="*/ 505193 w 1162418"/>
                <a:gd name="connsiteY4" fmla="*/ 1643931 h 1897931"/>
                <a:gd name="connsiteX5" fmla="*/ 717918 w 1162418"/>
                <a:gd name="connsiteY5" fmla="*/ 1643931 h 1897931"/>
                <a:gd name="connsiteX6" fmla="*/ 746493 w 1162418"/>
                <a:gd name="connsiteY6" fmla="*/ 1596306 h 1897931"/>
                <a:gd name="connsiteX7" fmla="*/ 716330 w 1162418"/>
                <a:gd name="connsiteY7" fmla="*/ 1559794 h 1897931"/>
                <a:gd name="connsiteX8" fmla="*/ 398830 w 1162418"/>
                <a:gd name="connsiteY8" fmla="*/ 1559794 h 1897931"/>
                <a:gd name="connsiteX9" fmla="*/ 360730 w 1162418"/>
                <a:gd name="connsiteY9" fmla="*/ 1521694 h 1897931"/>
                <a:gd name="connsiteX10" fmla="*/ 382955 w 1162418"/>
                <a:gd name="connsiteY10" fmla="*/ 1474069 h 1897931"/>
                <a:gd name="connsiteX11" fmla="*/ 797293 w 1162418"/>
                <a:gd name="connsiteY11" fmla="*/ 1474069 h 1897931"/>
                <a:gd name="connsiteX12" fmla="*/ 830630 w 1162418"/>
                <a:gd name="connsiteY12" fmla="*/ 1426444 h 1897931"/>
                <a:gd name="connsiteX13" fmla="*/ 795705 w 1162418"/>
                <a:gd name="connsiteY13" fmla="*/ 1383581 h 1897931"/>
                <a:gd name="connsiteX14" fmla="*/ 386130 w 1162418"/>
                <a:gd name="connsiteY14" fmla="*/ 1383581 h 1897931"/>
                <a:gd name="connsiteX15" fmla="*/ 322630 w 1162418"/>
                <a:gd name="connsiteY15" fmla="*/ 1351831 h 1897931"/>
                <a:gd name="connsiteX16" fmla="*/ 283340 w 1162418"/>
                <a:gd name="connsiteY16" fmla="*/ 1299841 h 1897931"/>
                <a:gd name="connsiteX17" fmla="*/ 271830 w 1162418"/>
                <a:gd name="connsiteY17" fmla="*/ 1207369 h 1897931"/>
                <a:gd name="connsiteX18" fmla="*/ 260718 w 1162418"/>
                <a:gd name="connsiteY18" fmla="*/ 1127994 h 1897931"/>
                <a:gd name="connsiteX19" fmla="*/ 205155 w 1162418"/>
                <a:gd name="connsiteY19" fmla="*/ 1037506 h 1897931"/>
                <a:gd name="connsiteX20" fmla="*/ 130543 w 1162418"/>
                <a:gd name="connsiteY20" fmla="*/ 954956 h 1897931"/>
                <a:gd name="connsiteX21" fmla="*/ 55137 w 1162418"/>
                <a:gd name="connsiteY21" fmla="*/ 845022 h 1897931"/>
                <a:gd name="connsiteX22" fmla="*/ 13861 w 1162418"/>
                <a:gd name="connsiteY22" fmla="*/ 735485 h 1897931"/>
                <a:gd name="connsiteX23" fmla="*/ 368 w 1162418"/>
                <a:gd name="connsiteY23" fmla="*/ 600944 h 1897931"/>
                <a:gd name="connsiteX24" fmla="*/ 11480 w 1162418"/>
                <a:gd name="connsiteY24" fmla="*/ 475531 h 1897931"/>
                <a:gd name="connsiteX25" fmla="*/ 81330 w 1162418"/>
                <a:gd name="connsiteY25" fmla="*/ 285031 h 1897931"/>
                <a:gd name="connsiteX26" fmla="*/ 265480 w 1162418"/>
                <a:gd name="connsiteY26" fmla="*/ 92943 h 1897931"/>
                <a:gd name="connsiteX27" fmla="*/ 519480 w 1162418"/>
                <a:gd name="connsiteY27" fmla="*/ 3648 h 1897931"/>
                <a:gd name="connsiteX28" fmla="*/ 705218 w 1162418"/>
                <a:gd name="connsiteY28" fmla="*/ 10394 h 1897931"/>
                <a:gd name="connsiteX29" fmla="*/ 943343 w 1162418"/>
                <a:gd name="connsiteY29" fmla="*/ 121519 h 1897931"/>
                <a:gd name="connsiteX30" fmla="*/ 1100505 w 1162418"/>
                <a:gd name="connsiteY30" fmla="*/ 310431 h 1897931"/>
                <a:gd name="connsiteX31" fmla="*/ 1162418 w 1162418"/>
                <a:gd name="connsiteY31" fmla="*/ 513631 h 1897931"/>
                <a:gd name="connsiteX32" fmla="*/ 1159243 w 1162418"/>
                <a:gd name="connsiteY32" fmla="*/ 683494 h 1897931"/>
                <a:gd name="connsiteX33" fmla="*/ 1090980 w 1162418"/>
                <a:gd name="connsiteY33" fmla="*/ 889869 h 1897931"/>
                <a:gd name="connsiteX34" fmla="*/ 957630 w 1162418"/>
                <a:gd name="connsiteY34" fmla="*/ 1058144 h 1897931"/>
                <a:gd name="connsiteX35" fmla="*/ 914768 w 1162418"/>
                <a:gd name="connsiteY35" fmla="*/ 1118469 h 1897931"/>
                <a:gd name="connsiteX36" fmla="*/ 905243 w 1162418"/>
                <a:gd name="connsiteY36" fmla="*/ 1175619 h 1897931"/>
                <a:gd name="connsiteX37" fmla="*/ 905243 w 1162418"/>
                <a:gd name="connsiteY37" fmla="*/ 1264519 h 1897931"/>
                <a:gd name="connsiteX38" fmla="*/ 868730 w 1162418"/>
                <a:gd name="connsiteY38" fmla="*/ 1301031 h 1897931"/>
                <a:gd name="connsiteX39" fmla="*/ 641718 w 1162418"/>
                <a:gd name="connsiteY39" fmla="*/ 1301031 h 1897931"/>
                <a:gd name="connsiteX40" fmla="*/ 590918 w 1162418"/>
                <a:gd name="connsiteY40" fmla="*/ 1278806 h 1897931"/>
                <a:gd name="connsiteX41" fmla="*/ 590918 w 1162418"/>
                <a:gd name="connsiteY41" fmla="*/ 1212131 h 1897931"/>
                <a:gd name="connsiteX0" fmla="*/ 584568 w 1162418"/>
                <a:gd name="connsiteY0" fmla="*/ 1897931 h 1897931"/>
                <a:gd name="connsiteX1" fmla="*/ 581393 w 1162418"/>
                <a:gd name="connsiteY1" fmla="*/ 1767756 h 1897931"/>
                <a:gd name="connsiteX2" fmla="*/ 508368 w 1162418"/>
                <a:gd name="connsiteY2" fmla="*/ 1723306 h 1897931"/>
                <a:gd name="connsiteX3" fmla="*/ 475030 w 1162418"/>
                <a:gd name="connsiteY3" fmla="*/ 1683619 h 1897931"/>
                <a:gd name="connsiteX4" fmla="*/ 505193 w 1162418"/>
                <a:gd name="connsiteY4" fmla="*/ 1643931 h 1897931"/>
                <a:gd name="connsiteX5" fmla="*/ 717918 w 1162418"/>
                <a:gd name="connsiteY5" fmla="*/ 1643931 h 1897931"/>
                <a:gd name="connsiteX6" fmla="*/ 746493 w 1162418"/>
                <a:gd name="connsiteY6" fmla="*/ 1596306 h 1897931"/>
                <a:gd name="connsiteX7" fmla="*/ 716330 w 1162418"/>
                <a:gd name="connsiteY7" fmla="*/ 1559794 h 1897931"/>
                <a:gd name="connsiteX8" fmla="*/ 398830 w 1162418"/>
                <a:gd name="connsiteY8" fmla="*/ 1559794 h 1897931"/>
                <a:gd name="connsiteX9" fmla="*/ 360730 w 1162418"/>
                <a:gd name="connsiteY9" fmla="*/ 1521694 h 1897931"/>
                <a:gd name="connsiteX10" fmla="*/ 382955 w 1162418"/>
                <a:gd name="connsiteY10" fmla="*/ 1474069 h 1897931"/>
                <a:gd name="connsiteX11" fmla="*/ 797293 w 1162418"/>
                <a:gd name="connsiteY11" fmla="*/ 1474069 h 1897931"/>
                <a:gd name="connsiteX12" fmla="*/ 830630 w 1162418"/>
                <a:gd name="connsiteY12" fmla="*/ 1426444 h 1897931"/>
                <a:gd name="connsiteX13" fmla="*/ 795705 w 1162418"/>
                <a:gd name="connsiteY13" fmla="*/ 1383581 h 1897931"/>
                <a:gd name="connsiteX14" fmla="*/ 386130 w 1162418"/>
                <a:gd name="connsiteY14" fmla="*/ 1383581 h 1897931"/>
                <a:gd name="connsiteX15" fmla="*/ 322630 w 1162418"/>
                <a:gd name="connsiteY15" fmla="*/ 1351831 h 1897931"/>
                <a:gd name="connsiteX16" fmla="*/ 283340 w 1162418"/>
                <a:gd name="connsiteY16" fmla="*/ 1299841 h 1897931"/>
                <a:gd name="connsiteX17" fmla="*/ 271830 w 1162418"/>
                <a:gd name="connsiteY17" fmla="*/ 1207369 h 1897931"/>
                <a:gd name="connsiteX18" fmla="*/ 260718 w 1162418"/>
                <a:gd name="connsiteY18" fmla="*/ 1127994 h 1897931"/>
                <a:gd name="connsiteX19" fmla="*/ 205155 w 1162418"/>
                <a:gd name="connsiteY19" fmla="*/ 1037506 h 1897931"/>
                <a:gd name="connsiteX20" fmla="*/ 130543 w 1162418"/>
                <a:gd name="connsiteY20" fmla="*/ 954956 h 1897931"/>
                <a:gd name="connsiteX21" fmla="*/ 55137 w 1162418"/>
                <a:gd name="connsiteY21" fmla="*/ 845022 h 1897931"/>
                <a:gd name="connsiteX22" fmla="*/ 13861 w 1162418"/>
                <a:gd name="connsiteY22" fmla="*/ 735485 h 1897931"/>
                <a:gd name="connsiteX23" fmla="*/ 368 w 1162418"/>
                <a:gd name="connsiteY23" fmla="*/ 600944 h 1897931"/>
                <a:gd name="connsiteX24" fmla="*/ 11480 w 1162418"/>
                <a:gd name="connsiteY24" fmla="*/ 475531 h 1897931"/>
                <a:gd name="connsiteX25" fmla="*/ 81330 w 1162418"/>
                <a:gd name="connsiteY25" fmla="*/ 285031 h 1897931"/>
                <a:gd name="connsiteX26" fmla="*/ 265480 w 1162418"/>
                <a:gd name="connsiteY26" fmla="*/ 92943 h 1897931"/>
                <a:gd name="connsiteX27" fmla="*/ 519480 w 1162418"/>
                <a:gd name="connsiteY27" fmla="*/ 3648 h 1897931"/>
                <a:gd name="connsiteX28" fmla="*/ 705218 w 1162418"/>
                <a:gd name="connsiteY28" fmla="*/ 10394 h 1897931"/>
                <a:gd name="connsiteX29" fmla="*/ 943343 w 1162418"/>
                <a:gd name="connsiteY29" fmla="*/ 121519 h 1897931"/>
                <a:gd name="connsiteX30" fmla="*/ 1100505 w 1162418"/>
                <a:gd name="connsiteY30" fmla="*/ 310431 h 1897931"/>
                <a:gd name="connsiteX31" fmla="*/ 1162418 w 1162418"/>
                <a:gd name="connsiteY31" fmla="*/ 513631 h 1897931"/>
                <a:gd name="connsiteX32" fmla="*/ 1159243 w 1162418"/>
                <a:gd name="connsiteY32" fmla="*/ 683494 h 1897931"/>
                <a:gd name="connsiteX33" fmla="*/ 1090980 w 1162418"/>
                <a:gd name="connsiteY33" fmla="*/ 889869 h 1897931"/>
                <a:gd name="connsiteX34" fmla="*/ 957630 w 1162418"/>
                <a:gd name="connsiteY34" fmla="*/ 1058144 h 1897931"/>
                <a:gd name="connsiteX35" fmla="*/ 914768 w 1162418"/>
                <a:gd name="connsiteY35" fmla="*/ 1118469 h 1897931"/>
                <a:gd name="connsiteX36" fmla="*/ 905243 w 1162418"/>
                <a:gd name="connsiteY36" fmla="*/ 1175619 h 1897931"/>
                <a:gd name="connsiteX37" fmla="*/ 905243 w 1162418"/>
                <a:gd name="connsiteY37" fmla="*/ 1264519 h 1897931"/>
                <a:gd name="connsiteX38" fmla="*/ 868730 w 1162418"/>
                <a:gd name="connsiteY38" fmla="*/ 1301031 h 1897931"/>
                <a:gd name="connsiteX39" fmla="*/ 641718 w 1162418"/>
                <a:gd name="connsiteY39" fmla="*/ 1301031 h 1897931"/>
                <a:gd name="connsiteX40" fmla="*/ 590918 w 1162418"/>
                <a:gd name="connsiteY40" fmla="*/ 1278806 h 1897931"/>
                <a:gd name="connsiteX41" fmla="*/ 590918 w 1162418"/>
                <a:gd name="connsiteY41" fmla="*/ 1212131 h 1897931"/>
                <a:gd name="connsiteX0" fmla="*/ 584568 w 1162418"/>
                <a:gd name="connsiteY0" fmla="*/ 1894283 h 1894283"/>
                <a:gd name="connsiteX1" fmla="*/ 581393 w 1162418"/>
                <a:gd name="connsiteY1" fmla="*/ 1764108 h 1894283"/>
                <a:gd name="connsiteX2" fmla="*/ 508368 w 1162418"/>
                <a:gd name="connsiteY2" fmla="*/ 1719658 h 1894283"/>
                <a:gd name="connsiteX3" fmla="*/ 475030 w 1162418"/>
                <a:gd name="connsiteY3" fmla="*/ 1679971 h 1894283"/>
                <a:gd name="connsiteX4" fmla="*/ 505193 w 1162418"/>
                <a:gd name="connsiteY4" fmla="*/ 1640283 h 1894283"/>
                <a:gd name="connsiteX5" fmla="*/ 717918 w 1162418"/>
                <a:gd name="connsiteY5" fmla="*/ 1640283 h 1894283"/>
                <a:gd name="connsiteX6" fmla="*/ 746493 w 1162418"/>
                <a:gd name="connsiteY6" fmla="*/ 1592658 h 1894283"/>
                <a:gd name="connsiteX7" fmla="*/ 716330 w 1162418"/>
                <a:gd name="connsiteY7" fmla="*/ 1556146 h 1894283"/>
                <a:gd name="connsiteX8" fmla="*/ 398830 w 1162418"/>
                <a:gd name="connsiteY8" fmla="*/ 1556146 h 1894283"/>
                <a:gd name="connsiteX9" fmla="*/ 360730 w 1162418"/>
                <a:gd name="connsiteY9" fmla="*/ 1518046 h 1894283"/>
                <a:gd name="connsiteX10" fmla="*/ 382955 w 1162418"/>
                <a:gd name="connsiteY10" fmla="*/ 1470421 h 1894283"/>
                <a:gd name="connsiteX11" fmla="*/ 797293 w 1162418"/>
                <a:gd name="connsiteY11" fmla="*/ 1470421 h 1894283"/>
                <a:gd name="connsiteX12" fmla="*/ 830630 w 1162418"/>
                <a:gd name="connsiteY12" fmla="*/ 1422796 h 1894283"/>
                <a:gd name="connsiteX13" fmla="*/ 795705 w 1162418"/>
                <a:gd name="connsiteY13" fmla="*/ 1379933 h 1894283"/>
                <a:gd name="connsiteX14" fmla="*/ 386130 w 1162418"/>
                <a:gd name="connsiteY14" fmla="*/ 1379933 h 1894283"/>
                <a:gd name="connsiteX15" fmla="*/ 322630 w 1162418"/>
                <a:gd name="connsiteY15" fmla="*/ 1348183 h 1894283"/>
                <a:gd name="connsiteX16" fmla="*/ 283340 w 1162418"/>
                <a:gd name="connsiteY16" fmla="*/ 1296193 h 1894283"/>
                <a:gd name="connsiteX17" fmla="*/ 271830 w 1162418"/>
                <a:gd name="connsiteY17" fmla="*/ 1203721 h 1894283"/>
                <a:gd name="connsiteX18" fmla="*/ 260718 w 1162418"/>
                <a:gd name="connsiteY18" fmla="*/ 1124346 h 1894283"/>
                <a:gd name="connsiteX19" fmla="*/ 205155 w 1162418"/>
                <a:gd name="connsiteY19" fmla="*/ 1033858 h 1894283"/>
                <a:gd name="connsiteX20" fmla="*/ 130543 w 1162418"/>
                <a:gd name="connsiteY20" fmla="*/ 951308 h 1894283"/>
                <a:gd name="connsiteX21" fmla="*/ 55137 w 1162418"/>
                <a:gd name="connsiteY21" fmla="*/ 841374 h 1894283"/>
                <a:gd name="connsiteX22" fmla="*/ 13861 w 1162418"/>
                <a:gd name="connsiteY22" fmla="*/ 731837 h 1894283"/>
                <a:gd name="connsiteX23" fmla="*/ 368 w 1162418"/>
                <a:gd name="connsiteY23" fmla="*/ 597296 h 1894283"/>
                <a:gd name="connsiteX24" fmla="*/ 11480 w 1162418"/>
                <a:gd name="connsiteY24" fmla="*/ 471883 h 1894283"/>
                <a:gd name="connsiteX25" fmla="*/ 81330 w 1162418"/>
                <a:gd name="connsiteY25" fmla="*/ 281383 h 1894283"/>
                <a:gd name="connsiteX26" fmla="*/ 265480 w 1162418"/>
                <a:gd name="connsiteY26" fmla="*/ 89295 h 1894283"/>
                <a:gd name="connsiteX27" fmla="*/ 519480 w 1162418"/>
                <a:gd name="connsiteY27" fmla="*/ 0 h 1894283"/>
                <a:gd name="connsiteX28" fmla="*/ 705218 w 1162418"/>
                <a:gd name="connsiteY28" fmla="*/ 6746 h 1894283"/>
                <a:gd name="connsiteX29" fmla="*/ 943343 w 1162418"/>
                <a:gd name="connsiteY29" fmla="*/ 117871 h 1894283"/>
                <a:gd name="connsiteX30" fmla="*/ 1100505 w 1162418"/>
                <a:gd name="connsiteY30" fmla="*/ 306783 h 1894283"/>
                <a:gd name="connsiteX31" fmla="*/ 1162418 w 1162418"/>
                <a:gd name="connsiteY31" fmla="*/ 509983 h 1894283"/>
                <a:gd name="connsiteX32" fmla="*/ 1159243 w 1162418"/>
                <a:gd name="connsiteY32" fmla="*/ 679846 h 1894283"/>
                <a:gd name="connsiteX33" fmla="*/ 1090980 w 1162418"/>
                <a:gd name="connsiteY33" fmla="*/ 886221 h 1894283"/>
                <a:gd name="connsiteX34" fmla="*/ 957630 w 1162418"/>
                <a:gd name="connsiteY34" fmla="*/ 1054496 h 1894283"/>
                <a:gd name="connsiteX35" fmla="*/ 914768 w 1162418"/>
                <a:gd name="connsiteY35" fmla="*/ 1114821 h 1894283"/>
                <a:gd name="connsiteX36" fmla="*/ 905243 w 1162418"/>
                <a:gd name="connsiteY36" fmla="*/ 1171971 h 1894283"/>
                <a:gd name="connsiteX37" fmla="*/ 905243 w 1162418"/>
                <a:gd name="connsiteY37" fmla="*/ 1260871 h 1894283"/>
                <a:gd name="connsiteX38" fmla="*/ 868730 w 1162418"/>
                <a:gd name="connsiteY38" fmla="*/ 1297383 h 1894283"/>
                <a:gd name="connsiteX39" fmla="*/ 641718 w 1162418"/>
                <a:gd name="connsiteY39" fmla="*/ 1297383 h 1894283"/>
                <a:gd name="connsiteX40" fmla="*/ 590918 w 1162418"/>
                <a:gd name="connsiteY40" fmla="*/ 1275158 h 1894283"/>
                <a:gd name="connsiteX41" fmla="*/ 590918 w 1162418"/>
                <a:gd name="connsiteY41" fmla="*/ 1208483 h 1894283"/>
                <a:gd name="connsiteX0" fmla="*/ 584568 w 1162418"/>
                <a:gd name="connsiteY0" fmla="*/ 1896145 h 1896145"/>
                <a:gd name="connsiteX1" fmla="*/ 581393 w 1162418"/>
                <a:gd name="connsiteY1" fmla="*/ 1765970 h 1896145"/>
                <a:gd name="connsiteX2" fmla="*/ 508368 w 1162418"/>
                <a:gd name="connsiteY2" fmla="*/ 1721520 h 1896145"/>
                <a:gd name="connsiteX3" fmla="*/ 475030 w 1162418"/>
                <a:gd name="connsiteY3" fmla="*/ 1681833 h 1896145"/>
                <a:gd name="connsiteX4" fmla="*/ 505193 w 1162418"/>
                <a:gd name="connsiteY4" fmla="*/ 1642145 h 1896145"/>
                <a:gd name="connsiteX5" fmla="*/ 717918 w 1162418"/>
                <a:gd name="connsiteY5" fmla="*/ 1642145 h 1896145"/>
                <a:gd name="connsiteX6" fmla="*/ 746493 w 1162418"/>
                <a:gd name="connsiteY6" fmla="*/ 1594520 h 1896145"/>
                <a:gd name="connsiteX7" fmla="*/ 716330 w 1162418"/>
                <a:gd name="connsiteY7" fmla="*/ 1558008 h 1896145"/>
                <a:gd name="connsiteX8" fmla="*/ 398830 w 1162418"/>
                <a:gd name="connsiteY8" fmla="*/ 1558008 h 1896145"/>
                <a:gd name="connsiteX9" fmla="*/ 360730 w 1162418"/>
                <a:gd name="connsiteY9" fmla="*/ 1519908 h 1896145"/>
                <a:gd name="connsiteX10" fmla="*/ 382955 w 1162418"/>
                <a:gd name="connsiteY10" fmla="*/ 1472283 h 1896145"/>
                <a:gd name="connsiteX11" fmla="*/ 797293 w 1162418"/>
                <a:gd name="connsiteY11" fmla="*/ 1472283 h 1896145"/>
                <a:gd name="connsiteX12" fmla="*/ 830630 w 1162418"/>
                <a:gd name="connsiteY12" fmla="*/ 1424658 h 1896145"/>
                <a:gd name="connsiteX13" fmla="*/ 795705 w 1162418"/>
                <a:gd name="connsiteY13" fmla="*/ 1381795 h 1896145"/>
                <a:gd name="connsiteX14" fmla="*/ 386130 w 1162418"/>
                <a:gd name="connsiteY14" fmla="*/ 1381795 h 1896145"/>
                <a:gd name="connsiteX15" fmla="*/ 322630 w 1162418"/>
                <a:gd name="connsiteY15" fmla="*/ 1350045 h 1896145"/>
                <a:gd name="connsiteX16" fmla="*/ 283340 w 1162418"/>
                <a:gd name="connsiteY16" fmla="*/ 1298055 h 1896145"/>
                <a:gd name="connsiteX17" fmla="*/ 271830 w 1162418"/>
                <a:gd name="connsiteY17" fmla="*/ 1205583 h 1896145"/>
                <a:gd name="connsiteX18" fmla="*/ 260718 w 1162418"/>
                <a:gd name="connsiteY18" fmla="*/ 1126208 h 1896145"/>
                <a:gd name="connsiteX19" fmla="*/ 205155 w 1162418"/>
                <a:gd name="connsiteY19" fmla="*/ 1035720 h 1896145"/>
                <a:gd name="connsiteX20" fmla="*/ 130543 w 1162418"/>
                <a:gd name="connsiteY20" fmla="*/ 953170 h 1896145"/>
                <a:gd name="connsiteX21" fmla="*/ 55137 w 1162418"/>
                <a:gd name="connsiteY21" fmla="*/ 843236 h 1896145"/>
                <a:gd name="connsiteX22" fmla="*/ 13861 w 1162418"/>
                <a:gd name="connsiteY22" fmla="*/ 733699 h 1896145"/>
                <a:gd name="connsiteX23" fmla="*/ 368 w 1162418"/>
                <a:gd name="connsiteY23" fmla="*/ 599158 h 1896145"/>
                <a:gd name="connsiteX24" fmla="*/ 11480 w 1162418"/>
                <a:gd name="connsiteY24" fmla="*/ 473745 h 1896145"/>
                <a:gd name="connsiteX25" fmla="*/ 81330 w 1162418"/>
                <a:gd name="connsiteY25" fmla="*/ 283245 h 1896145"/>
                <a:gd name="connsiteX26" fmla="*/ 265480 w 1162418"/>
                <a:gd name="connsiteY26" fmla="*/ 91157 h 1896145"/>
                <a:gd name="connsiteX27" fmla="*/ 519480 w 1162418"/>
                <a:gd name="connsiteY27" fmla="*/ 1862 h 1896145"/>
                <a:gd name="connsiteX28" fmla="*/ 705218 w 1162418"/>
                <a:gd name="connsiteY28" fmla="*/ 8608 h 1896145"/>
                <a:gd name="connsiteX29" fmla="*/ 943343 w 1162418"/>
                <a:gd name="connsiteY29" fmla="*/ 119733 h 1896145"/>
                <a:gd name="connsiteX30" fmla="*/ 1100505 w 1162418"/>
                <a:gd name="connsiteY30" fmla="*/ 308645 h 1896145"/>
                <a:gd name="connsiteX31" fmla="*/ 1162418 w 1162418"/>
                <a:gd name="connsiteY31" fmla="*/ 511845 h 1896145"/>
                <a:gd name="connsiteX32" fmla="*/ 1159243 w 1162418"/>
                <a:gd name="connsiteY32" fmla="*/ 681708 h 1896145"/>
                <a:gd name="connsiteX33" fmla="*/ 1090980 w 1162418"/>
                <a:gd name="connsiteY33" fmla="*/ 888083 h 1896145"/>
                <a:gd name="connsiteX34" fmla="*/ 957630 w 1162418"/>
                <a:gd name="connsiteY34" fmla="*/ 1056358 h 1896145"/>
                <a:gd name="connsiteX35" fmla="*/ 914768 w 1162418"/>
                <a:gd name="connsiteY35" fmla="*/ 1116683 h 1896145"/>
                <a:gd name="connsiteX36" fmla="*/ 905243 w 1162418"/>
                <a:gd name="connsiteY36" fmla="*/ 1173833 h 1896145"/>
                <a:gd name="connsiteX37" fmla="*/ 905243 w 1162418"/>
                <a:gd name="connsiteY37" fmla="*/ 1262733 h 1896145"/>
                <a:gd name="connsiteX38" fmla="*/ 868730 w 1162418"/>
                <a:gd name="connsiteY38" fmla="*/ 1299245 h 1896145"/>
                <a:gd name="connsiteX39" fmla="*/ 641718 w 1162418"/>
                <a:gd name="connsiteY39" fmla="*/ 1299245 h 1896145"/>
                <a:gd name="connsiteX40" fmla="*/ 590918 w 1162418"/>
                <a:gd name="connsiteY40" fmla="*/ 1277020 h 1896145"/>
                <a:gd name="connsiteX41" fmla="*/ 590918 w 1162418"/>
                <a:gd name="connsiteY41" fmla="*/ 1210345 h 1896145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6196"/>
                <a:gd name="connsiteY0" fmla="*/ 1898273 h 1898273"/>
                <a:gd name="connsiteX1" fmla="*/ 581393 w 1166196"/>
                <a:gd name="connsiteY1" fmla="*/ 1768098 h 1898273"/>
                <a:gd name="connsiteX2" fmla="*/ 508368 w 1166196"/>
                <a:gd name="connsiteY2" fmla="*/ 1723648 h 1898273"/>
                <a:gd name="connsiteX3" fmla="*/ 475030 w 1166196"/>
                <a:gd name="connsiteY3" fmla="*/ 1683961 h 1898273"/>
                <a:gd name="connsiteX4" fmla="*/ 505193 w 1166196"/>
                <a:gd name="connsiteY4" fmla="*/ 1644273 h 1898273"/>
                <a:gd name="connsiteX5" fmla="*/ 717918 w 1166196"/>
                <a:gd name="connsiteY5" fmla="*/ 1644273 h 1898273"/>
                <a:gd name="connsiteX6" fmla="*/ 746493 w 1166196"/>
                <a:gd name="connsiteY6" fmla="*/ 1596648 h 1898273"/>
                <a:gd name="connsiteX7" fmla="*/ 716330 w 1166196"/>
                <a:gd name="connsiteY7" fmla="*/ 1560136 h 1898273"/>
                <a:gd name="connsiteX8" fmla="*/ 398830 w 1166196"/>
                <a:gd name="connsiteY8" fmla="*/ 1560136 h 1898273"/>
                <a:gd name="connsiteX9" fmla="*/ 360730 w 1166196"/>
                <a:gd name="connsiteY9" fmla="*/ 1522036 h 1898273"/>
                <a:gd name="connsiteX10" fmla="*/ 382955 w 1166196"/>
                <a:gd name="connsiteY10" fmla="*/ 1474411 h 1898273"/>
                <a:gd name="connsiteX11" fmla="*/ 797293 w 1166196"/>
                <a:gd name="connsiteY11" fmla="*/ 1474411 h 1898273"/>
                <a:gd name="connsiteX12" fmla="*/ 830630 w 1166196"/>
                <a:gd name="connsiteY12" fmla="*/ 1426786 h 1898273"/>
                <a:gd name="connsiteX13" fmla="*/ 795705 w 1166196"/>
                <a:gd name="connsiteY13" fmla="*/ 1383923 h 1898273"/>
                <a:gd name="connsiteX14" fmla="*/ 386130 w 1166196"/>
                <a:gd name="connsiteY14" fmla="*/ 1383923 h 1898273"/>
                <a:gd name="connsiteX15" fmla="*/ 322630 w 1166196"/>
                <a:gd name="connsiteY15" fmla="*/ 1352173 h 1898273"/>
                <a:gd name="connsiteX16" fmla="*/ 283340 w 1166196"/>
                <a:gd name="connsiteY16" fmla="*/ 1300183 h 1898273"/>
                <a:gd name="connsiteX17" fmla="*/ 271830 w 1166196"/>
                <a:gd name="connsiteY17" fmla="*/ 1207711 h 1898273"/>
                <a:gd name="connsiteX18" fmla="*/ 260718 w 1166196"/>
                <a:gd name="connsiteY18" fmla="*/ 1128336 h 1898273"/>
                <a:gd name="connsiteX19" fmla="*/ 205155 w 1166196"/>
                <a:gd name="connsiteY19" fmla="*/ 1037848 h 1898273"/>
                <a:gd name="connsiteX20" fmla="*/ 130543 w 1166196"/>
                <a:gd name="connsiteY20" fmla="*/ 955298 h 1898273"/>
                <a:gd name="connsiteX21" fmla="*/ 55137 w 1166196"/>
                <a:gd name="connsiteY21" fmla="*/ 845364 h 1898273"/>
                <a:gd name="connsiteX22" fmla="*/ 13861 w 1166196"/>
                <a:gd name="connsiteY22" fmla="*/ 735827 h 1898273"/>
                <a:gd name="connsiteX23" fmla="*/ 368 w 1166196"/>
                <a:gd name="connsiteY23" fmla="*/ 601286 h 1898273"/>
                <a:gd name="connsiteX24" fmla="*/ 11480 w 1166196"/>
                <a:gd name="connsiteY24" fmla="*/ 475873 h 1898273"/>
                <a:gd name="connsiteX25" fmla="*/ 81330 w 1166196"/>
                <a:gd name="connsiteY25" fmla="*/ 285373 h 1898273"/>
                <a:gd name="connsiteX26" fmla="*/ 265480 w 1166196"/>
                <a:gd name="connsiteY26" fmla="*/ 93285 h 1898273"/>
                <a:gd name="connsiteX27" fmla="*/ 519480 w 1166196"/>
                <a:gd name="connsiteY27" fmla="*/ 3990 h 1898273"/>
                <a:gd name="connsiteX28" fmla="*/ 705218 w 1166196"/>
                <a:gd name="connsiteY28" fmla="*/ 10736 h 1898273"/>
                <a:gd name="connsiteX29" fmla="*/ 943343 w 1166196"/>
                <a:gd name="connsiteY29" fmla="*/ 121861 h 1898273"/>
                <a:gd name="connsiteX30" fmla="*/ 1100505 w 1166196"/>
                <a:gd name="connsiteY30" fmla="*/ 310773 h 1898273"/>
                <a:gd name="connsiteX31" fmla="*/ 1162418 w 1166196"/>
                <a:gd name="connsiteY31" fmla="*/ 513973 h 1898273"/>
                <a:gd name="connsiteX32" fmla="*/ 1159243 w 1166196"/>
                <a:gd name="connsiteY32" fmla="*/ 683836 h 1898273"/>
                <a:gd name="connsiteX33" fmla="*/ 1090980 w 1166196"/>
                <a:gd name="connsiteY33" fmla="*/ 890211 h 1898273"/>
                <a:gd name="connsiteX34" fmla="*/ 957630 w 1166196"/>
                <a:gd name="connsiteY34" fmla="*/ 1058486 h 1898273"/>
                <a:gd name="connsiteX35" fmla="*/ 914768 w 1166196"/>
                <a:gd name="connsiteY35" fmla="*/ 1118811 h 1898273"/>
                <a:gd name="connsiteX36" fmla="*/ 905243 w 1166196"/>
                <a:gd name="connsiteY36" fmla="*/ 1175961 h 1898273"/>
                <a:gd name="connsiteX37" fmla="*/ 905243 w 1166196"/>
                <a:gd name="connsiteY37" fmla="*/ 1264861 h 1898273"/>
                <a:gd name="connsiteX38" fmla="*/ 868730 w 1166196"/>
                <a:gd name="connsiteY38" fmla="*/ 1301373 h 1898273"/>
                <a:gd name="connsiteX39" fmla="*/ 641718 w 1166196"/>
                <a:gd name="connsiteY39" fmla="*/ 1301373 h 1898273"/>
                <a:gd name="connsiteX40" fmla="*/ 590918 w 1166196"/>
                <a:gd name="connsiteY40" fmla="*/ 1279148 h 1898273"/>
                <a:gd name="connsiteX41" fmla="*/ 590918 w 1166196"/>
                <a:gd name="connsiteY41" fmla="*/ 1212473 h 1898273"/>
                <a:gd name="connsiteX0" fmla="*/ 584568 w 1170207"/>
                <a:gd name="connsiteY0" fmla="*/ 1898273 h 1898273"/>
                <a:gd name="connsiteX1" fmla="*/ 581393 w 1170207"/>
                <a:gd name="connsiteY1" fmla="*/ 1768098 h 1898273"/>
                <a:gd name="connsiteX2" fmla="*/ 508368 w 1170207"/>
                <a:gd name="connsiteY2" fmla="*/ 1723648 h 1898273"/>
                <a:gd name="connsiteX3" fmla="*/ 475030 w 1170207"/>
                <a:gd name="connsiteY3" fmla="*/ 1683961 h 1898273"/>
                <a:gd name="connsiteX4" fmla="*/ 505193 w 1170207"/>
                <a:gd name="connsiteY4" fmla="*/ 1644273 h 1898273"/>
                <a:gd name="connsiteX5" fmla="*/ 717918 w 1170207"/>
                <a:gd name="connsiteY5" fmla="*/ 1644273 h 1898273"/>
                <a:gd name="connsiteX6" fmla="*/ 746493 w 1170207"/>
                <a:gd name="connsiteY6" fmla="*/ 1596648 h 1898273"/>
                <a:gd name="connsiteX7" fmla="*/ 716330 w 1170207"/>
                <a:gd name="connsiteY7" fmla="*/ 1560136 h 1898273"/>
                <a:gd name="connsiteX8" fmla="*/ 398830 w 1170207"/>
                <a:gd name="connsiteY8" fmla="*/ 1560136 h 1898273"/>
                <a:gd name="connsiteX9" fmla="*/ 360730 w 1170207"/>
                <a:gd name="connsiteY9" fmla="*/ 1522036 h 1898273"/>
                <a:gd name="connsiteX10" fmla="*/ 382955 w 1170207"/>
                <a:gd name="connsiteY10" fmla="*/ 1474411 h 1898273"/>
                <a:gd name="connsiteX11" fmla="*/ 797293 w 1170207"/>
                <a:gd name="connsiteY11" fmla="*/ 1474411 h 1898273"/>
                <a:gd name="connsiteX12" fmla="*/ 830630 w 1170207"/>
                <a:gd name="connsiteY12" fmla="*/ 1426786 h 1898273"/>
                <a:gd name="connsiteX13" fmla="*/ 795705 w 1170207"/>
                <a:gd name="connsiteY13" fmla="*/ 1383923 h 1898273"/>
                <a:gd name="connsiteX14" fmla="*/ 386130 w 1170207"/>
                <a:gd name="connsiteY14" fmla="*/ 1383923 h 1898273"/>
                <a:gd name="connsiteX15" fmla="*/ 322630 w 1170207"/>
                <a:gd name="connsiteY15" fmla="*/ 1352173 h 1898273"/>
                <a:gd name="connsiteX16" fmla="*/ 283340 w 1170207"/>
                <a:gd name="connsiteY16" fmla="*/ 1300183 h 1898273"/>
                <a:gd name="connsiteX17" fmla="*/ 271830 w 1170207"/>
                <a:gd name="connsiteY17" fmla="*/ 1207711 h 1898273"/>
                <a:gd name="connsiteX18" fmla="*/ 260718 w 1170207"/>
                <a:gd name="connsiteY18" fmla="*/ 1128336 h 1898273"/>
                <a:gd name="connsiteX19" fmla="*/ 205155 w 1170207"/>
                <a:gd name="connsiteY19" fmla="*/ 1037848 h 1898273"/>
                <a:gd name="connsiteX20" fmla="*/ 130543 w 1170207"/>
                <a:gd name="connsiteY20" fmla="*/ 955298 h 1898273"/>
                <a:gd name="connsiteX21" fmla="*/ 55137 w 1170207"/>
                <a:gd name="connsiteY21" fmla="*/ 845364 h 1898273"/>
                <a:gd name="connsiteX22" fmla="*/ 13861 w 1170207"/>
                <a:gd name="connsiteY22" fmla="*/ 735827 h 1898273"/>
                <a:gd name="connsiteX23" fmla="*/ 368 w 1170207"/>
                <a:gd name="connsiteY23" fmla="*/ 601286 h 1898273"/>
                <a:gd name="connsiteX24" fmla="*/ 11480 w 1170207"/>
                <a:gd name="connsiteY24" fmla="*/ 475873 h 1898273"/>
                <a:gd name="connsiteX25" fmla="*/ 81330 w 1170207"/>
                <a:gd name="connsiteY25" fmla="*/ 285373 h 1898273"/>
                <a:gd name="connsiteX26" fmla="*/ 265480 w 1170207"/>
                <a:gd name="connsiteY26" fmla="*/ 93285 h 1898273"/>
                <a:gd name="connsiteX27" fmla="*/ 519480 w 1170207"/>
                <a:gd name="connsiteY27" fmla="*/ 3990 h 1898273"/>
                <a:gd name="connsiteX28" fmla="*/ 705218 w 1170207"/>
                <a:gd name="connsiteY28" fmla="*/ 10736 h 1898273"/>
                <a:gd name="connsiteX29" fmla="*/ 943343 w 1170207"/>
                <a:gd name="connsiteY29" fmla="*/ 121861 h 1898273"/>
                <a:gd name="connsiteX30" fmla="*/ 1100505 w 1170207"/>
                <a:gd name="connsiteY30" fmla="*/ 310773 h 1898273"/>
                <a:gd name="connsiteX31" fmla="*/ 1162418 w 1170207"/>
                <a:gd name="connsiteY31" fmla="*/ 513973 h 1898273"/>
                <a:gd name="connsiteX32" fmla="*/ 1159243 w 1170207"/>
                <a:gd name="connsiteY32" fmla="*/ 683836 h 1898273"/>
                <a:gd name="connsiteX33" fmla="*/ 1090980 w 1170207"/>
                <a:gd name="connsiteY33" fmla="*/ 890211 h 1898273"/>
                <a:gd name="connsiteX34" fmla="*/ 957630 w 1170207"/>
                <a:gd name="connsiteY34" fmla="*/ 1058486 h 1898273"/>
                <a:gd name="connsiteX35" fmla="*/ 914768 w 1170207"/>
                <a:gd name="connsiteY35" fmla="*/ 1118811 h 1898273"/>
                <a:gd name="connsiteX36" fmla="*/ 905243 w 1170207"/>
                <a:gd name="connsiteY36" fmla="*/ 1175961 h 1898273"/>
                <a:gd name="connsiteX37" fmla="*/ 905243 w 1170207"/>
                <a:gd name="connsiteY37" fmla="*/ 1264861 h 1898273"/>
                <a:gd name="connsiteX38" fmla="*/ 868730 w 1170207"/>
                <a:gd name="connsiteY38" fmla="*/ 1301373 h 1898273"/>
                <a:gd name="connsiteX39" fmla="*/ 641718 w 1170207"/>
                <a:gd name="connsiteY39" fmla="*/ 1301373 h 1898273"/>
                <a:gd name="connsiteX40" fmla="*/ 590918 w 1170207"/>
                <a:gd name="connsiteY40" fmla="*/ 1279148 h 1898273"/>
                <a:gd name="connsiteX41" fmla="*/ 590918 w 1170207"/>
                <a:gd name="connsiteY41" fmla="*/ 1212473 h 1898273"/>
                <a:gd name="connsiteX0" fmla="*/ 584568 w 1167505"/>
                <a:gd name="connsiteY0" fmla="*/ 1898273 h 1898273"/>
                <a:gd name="connsiteX1" fmla="*/ 581393 w 1167505"/>
                <a:gd name="connsiteY1" fmla="*/ 1768098 h 1898273"/>
                <a:gd name="connsiteX2" fmla="*/ 508368 w 1167505"/>
                <a:gd name="connsiteY2" fmla="*/ 1723648 h 1898273"/>
                <a:gd name="connsiteX3" fmla="*/ 475030 w 1167505"/>
                <a:gd name="connsiteY3" fmla="*/ 1683961 h 1898273"/>
                <a:gd name="connsiteX4" fmla="*/ 505193 w 1167505"/>
                <a:gd name="connsiteY4" fmla="*/ 1644273 h 1898273"/>
                <a:gd name="connsiteX5" fmla="*/ 717918 w 1167505"/>
                <a:gd name="connsiteY5" fmla="*/ 1644273 h 1898273"/>
                <a:gd name="connsiteX6" fmla="*/ 746493 w 1167505"/>
                <a:gd name="connsiteY6" fmla="*/ 1596648 h 1898273"/>
                <a:gd name="connsiteX7" fmla="*/ 716330 w 1167505"/>
                <a:gd name="connsiteY7" fmla="*/ 1560136 h 1898273"/>
                <a:gd name="connsiteX8" fmla="*/ 398830 w 1167505"/>
                <a:gd name="connsiteY8" fmla="*/ 1560136 h 1898273"/>
                <a:gd name="connsiteX9" fmla="*/ 360730 w 1167505"/>
                <a:gd name="connsiteY9" fmla="*/ 1522036 h 1898273"/>
                <a:gd name="connsiteX10" fmla="*/ 382955 w 1167505"/>
                <a:gd name="connsiteY10" fmla="*/ 1474411 h 1898273"/>
                <a:gd name="connsiteX11" fmla="*/ 797293 w 1167505"/>
                <a:gd name="connsiteY11" fmla="*/ 1474411 h 1898273"/>
                <a:gd name="connsiteX12" fmla="*/ 830630 w 1167505"/>
                <a:gd name="connsiteY12" fmla="*/ 1426786 h 1898273"/>
                <a:gd name="connsiteX13" fmla="*/ 795705 w 1167505"/>
                <a:gd name="connsiteY13" fmla="*/ 1383923 h 1898273"/>
                <a:gd name="connsiteX14" fmla="*/ 386130 w 1167505"/>
                <a:gd name="connsiteY14" fmla="*/ 1383923 h 1898273"/>
                <a:gd name="connsiteX15" fmla="*/ 322630 w 1167505"/>
                <a:gd name="connsiteY15" fmla="*/ 1352173 h 1898273"/>
                <a:gd name="connsiteX16" fmla="*/ 283340 w 1167505"/>
                <a:gd name="connsiteY16" fmla="*/ 1300183 h 1898273"/>
                <a:gd name="connsiteX17" fmla="*/ 271830 w 1167505"/>
                <a:gd name="connsiteY17" fmla="*/ 1207711 h 1898273"/>
                <a:gd name="connsiteX18" fmla="*/ 260718 w 1167505"/>
                <a:gd name="connsiteY18" fmla="*/ 1128336 h 1898273"/>
                <a:gd name="connsiteX19" fmla="*/ 205155 w 1167505"/>
                <a:gd name="connsiteY19" fmla="*/ 1037848 h 1898273"/>
                <a:gd name="connsiteX20" fmla="*/ 130543 w 1167505"/>
                <a:gd name="connsiteY20" fmla="*/ 955298 h 1898273"/>
                <a:gd name="connsiteX21" fmla="*/ 55137 w 1167505"/>
                <a:gd name="connsiteY21" fmla="*/ 845364 h 1898273"/>
                <a:gd name="connsiteX22" fmla="*/ 13861 w 1167505"/>
                <a:gd name="connsiteY22" fmla="*/ 735827 h 1898273"/>
                <a:gd name="connsiteX23" fmla="*/ 368 w 1167505"/>
                <a:gd name="connsiteY23" fmla="*/ 601286 h 1898273"/>
                <a:gd name="connsiteX24" fmla="*/ 11480 w 1167505"/>
                <a:gd name="connsiteY24" fmla="*/ 475873 h 1898273"/>
                <a:gd name="connsiteX25" fmla="*/ 81330 w 1167505"/>
                <a:gd name="connsiteY25" fmla="*/ 285373 h 1898273"/>
                <a:gd name="connsiteX26" fmla="*/ 265480 w 1167505"/>
                <a:gd name="connsiteY26" fmla="*/ 93285 h 1898273"/>
                <a:gd name="connsiteX27" fmla="*/ 519480 w 1167505"/>
                <a:gd name="connsiteY27" fmla="*/ 3990 h 1898273"/>
                <a:gd name="connsiteX28" fmla="*/ 705218 w 1167505"/>
                <a:gd name="connsiteY28" fmla="*/ 10736 h 1898273"/>
                <a:gd name="connsiteX29" fmla="*/ 943343 w 1167505"/>
                <a:gd name="connsiteY29" fmla="*/ 121861 h 1898273"/>
                <a:gd name="connsiteX30" fmla="*/ 1100505 w 1167505"/>
                <a:gd name="connsiteY30" fmla="*/ 310773 h 1898273"/>
                <a:gd name="connsiteX31" fmla="*/ 1162418 w 1167505"/>
                <a:gd name="connsiteY31" fmla="*/ 513973 h 1898273"/>
                <a:gd name="connsiteX32" fmla="*/ 1159243 w 1167505"/>
                <a:gd name="connsiteY32" fmla="*/ 683836 h 1898273"/>
                <a:gd name="connsiteX33" fmla="*/ 1090980 w 1167505"/>
                <a:gd name="connsiteY33" fmla="*/ 890211 h 1898273"/>
                <a:gd name="connsiteX34" fmla="*/ 957630 w 1167505"/>
                <a:gd name="connsiteY34" fmla="*/ 1058486 h 1898273"/>
                <a:gd name="connsiteX35" fmla="*/ 914768 w 1167505"/>
                <a:gd name="connsiteY35" fmla="*/ 1118811 h 1898273"/>
                <a:gd name="connsiteX36" fmla="*/ 905243 w 1167505"/>
                <a:gd name="connsiteY36" fmla="*/ 1175961 h 1898273"/>
                <a:gd name="connsiteX37" fmla="*/ 905243 w 1167505"/>
                <a:gd name="connsiteY37" fmla="*/ 1264861 h 1898273"/>
                <a:gd name="connsiteX38" fmla="*/ 868730 w 1167505"/>
                <a:gd name="connsiteY38" fmla="*/ 1301373 h 1898273"/>
                <a:gd name="connsiteX39" fmla="*/ 641718 w 1167505"/>
                <a:gd name="connsiteY39" fmla="*/ 1301373 h 1898273"/>
                <a:gd name="connsiteX40" fmla="*/ 590918 w 1167505"/>
                <a:gd name="connsiteY40" fmla="*/ 1279148 h 1898273"/>
                <a:gd name="connsiteX41" fmla="*/ 590918 w 1167505"/>
                <a:gd name="connsiteY41" fmla="*/ 1212473 h 1898273"/>
                <a:gd name="connsiteX0" fmla="*/ 584568 w 1167505"/>
                <a:gd name="connsiteY0" fmla="*/ 1898273 h 1898273"/>
                <a:gd name="connsiteX1" fmla="*/ 581393 w 1167505"/>
                <a:gd name="connsiteY1" fmla="*/ 1768098 h 1898273"/>
                <a:gd name="connsiteX2" fmla="*/ 508368 w 1167505"/>
                <a:gd name="connsiteY2" fmla="*/ 1723648 h 1898273"/>
                <a:gd name="connsiteX3" fmla="*/ 475030 w 1167505"/>
                <a:gd name="connsiteY3" fmla="*/ 1683961 h 1898273"/>
                <a:gd name="connsiteX4" fmla="*/ 505193 w 1167505"/>
                <a:gd name="connsiteY4" fmla="*/ 1644273 h 1898273"/>
                <a:gd name="connsiteX5" fmla="*/ 717918 w 1167505"/>
                <a:gd name="connsiteY5" fmla="*/ 1644273 h 1898273"/>
                <a:gd name="connsiteX6" fmla="*/ 746493 w 1167505"/>
                <a:gd name="connsiteY6" fmla="*/ 1596648 h 1898273"/>
                <a:gd name="connsiteX7" fmla="*/ 716330 w 1167505"/>
                <a:gd name="connsiteY7" fmla="*/ 1560136 h 1898273"/>
                <a:gd name="connsiteX8" fmla="*/ 398830 w 1167505"/>
                <a:gd name="connsiteY8" fmla="*/ 1560136 h 1898273"/>
                <a:gd name="connsiteX9" fmla="*/ 360730 w 1167505"/>
                <a:gd name="connsiteY9" fmla="*/ 1522036 h 1898273"/>
                <a:gd name="connsiteX10" fmla="*/ 382955 w 1167505"/>
                <a:gd name="connsiteY10" fmla="*/ 1474411 h 1898273"/>
                <a:gd name="connsiteX11" fmla="*/ 797293 w 1167505"/>
                <a:gd name="connsiteY11" fmla="*/ 1474411 h 1898273"/>
                <a:gd name="connsiteX12" fmla="*/ 830630 w 1167505"/>
                <a:gd name="connsiteY12" fmla="*/ 1426786 h 1898273"/>
                <a:gd name="connsiteX13" fmla="*/ 795705 w 1167505"/>
                <a:gd name="connsiteY13" fmla="*/ 1383923 h 1898273"/>
                <a:gd name="connsiteX14" fmla="*/ 386130 w 1167505"/>
                <a:gd name="connsiteY14" fmla="*/ 1383923 h 1898273"/>
                <a:gd name="connsiteX15" fmla="*/ 322630 w 1167505"/>
                <a:gd name="connsiteY15" fmla="*/ 1352173 h 1898273"/>
                <a:gd name="connsiteX16" fmla="*/ 283340 w 1167505"/>
                <a:gd name="connsiteY16" fmla="*/ 1300183 h 1898273"/>
                <a:gd name="connsiteX17" fmla="*/ 271830 w 1167505"/>
                <a:gd name="connsiteY17" fmla="*/ 1207711 h 1898273"/>
                <a:gd name="connsiteX18" fmla="*/ 260718 w 1167505"/>
                <a:gd name="connsiteY18" fmla="*/ 1128336 h 1898273"/>
                <a:gd name="connsiteX19" fmla="*/ 205155 w 1167505"/>
                <a:gd name="connsiteY19" fmla="*/ 1037848 h 1898273"/>
                <a:gd name="connsiteX20" fmla="*/ 130543 w 1167505"/>
                <a:gd name="connsiteY20" fmla="*/ 955298 h 1898273"/>
                <a:gd name="connsiteX21" fmla="*/ 55137 w 1167505"/>
                <a:gd name="connsiteY21" fmla="*/ 845364 h 1898273"/>
                <a:gd name="connsiteX22" fmla="*/ 13861 w 1167505"/>
                <a:gd name="connsiteY22" fmla="*/ 735827 h 1898273"/>
                <a:gd name="connsiteX23" fmla="*/ 368 w 1167505"/>
                <a:gd name="connsiteY23" fmla="*/ 601286 h 1898273"/>
                <a:gd name="connsiteX24" fmla="*/ 11480 w 1167505"/>
                <a:gd name="connsiteY24" fmla="*/ 475873 h 1898273"/>
                <a:gd name="connsiteX25" fmla="*/ 81330 w 1167505"/>
                <a:gd name="connsiteY25" fmla="*/ 285373 h 1898273"/>
                <a:gd name="connsiteX26" fmla="*/ 265480 w 1167505"/>
                <a:gd name="connsiteY26" fmla="*/ 93285 h 1898273"/>
                <a:gd name="connsiteX27" fmla="*/ 519480 w 1167505"/>
                <a:gd name="connsiteY27" fmla="*/ 3990 h 1898273"/>
                <a:gd name="connsiteX28" fmla="*/ 705218 w 1167505"/>
                <a:gd name="connsiteY28" fmla="*/ 10736 h 1898273"/>
                <a:gd name="connsiteX29" fmla="*/ 943343 w 1167505"/>
                <a:gd name="connsiteY29" fmla="*/ 121861 h 1898273"/>
                <a:gd name="connsiteX30" fmla="*/ 1100505 w 1167505"/>
                <a:gd name="connsiteY30" fmla="*/ 310773 h 1898273"/>
                <a:gd name="connsiteX31" fmla="*/ 1162418 w 1167505"/>
                <a:gd name="connsiteY31" fmla="*/ 513973 h 1898273"/>
                <a:gd name="connsiteX32" fmla="*/ 1159243 w 1167505"/>
                <a:gd name="connsiteY32" fmla="*/ 683836 h 1898273"/>
                <a:gd name="connsiteX33" fmla="*/ 1090980 w 1167505"/>
                <a:gd name="connsiteY33" fmla="*/ 890211 h 1898273"/>
                <a:gd name="connsiteX34" fmla="*/ 957630 w 1167505"/>
                <a:gd name="connsiteY34" fmla="*/ 1058486 h 1898273"/>
                <a:gd name="connsiteX35" fmla="*/ 914768 w 1167505"/>
                <a:gd name="connsiteY35" fmla="*/ 1118811 h 1898273"/>
                <a:gd name="connsiteX36" fmla="*/ 905243 w 1167505"/>
                <a:gd name="connsiteY36" fmla="*/ 1175961 h 1898273"/>
                <a:gd name="connsiteX37" fmla="*/ 905243 w 1167505"/>
                <a:gd name="connsiteY37" fmla="*/ 1264861 h 1898273"/>
                <a:gd name="connsiteX38" fmla="*/ 868730 w 1167505"/>
                <a:gd name="connsiteY38" fmla="*/ 1301373 h 1898273"/>
                <a:gd name="connsiteX39" fmla="*/ 641718 w 1167505"/>
                <a:gd name="connsiteY39" fmla="*/ 1301373 h 1898273"/>
                <a:gd name="connsiteX40" fmla="*/ 590918 w 1167505"/>
                <a:gd name="connsiteY40" fmla="*/ 1279148 h 1898273"/>
                <a:gd name="connsiteX41" fmla="*/ 590918 w 1167505"/>
                <a:gd name="connsiteY41" fmla="*/ 1212473 h 1898273"/>
                <a:gd name="connsiteX0" fmla="*/ 584568 w 1167505"/>
                <a:gd name="connsiteY0" fmla="*/ 1898273 h 1898273"/>
                <a:gd name="connsiteX1" fmla="*/ 581393 w 1167505"/>
                <a:gd name="connsiteY1" fmla="*/ 1768098 h 1898273"/>
                <a:gd name="connsiteX2" fmla="*/ 508368 w 1167505"/>
                <a:gd name="connsiteY2" fmla="*/ 1723648 h 1898273"/>
                <a:gd name="connsiteX3" fmla="*/ 475030 w 1167505"/>
                <a:gd name="connsiteY3" fmla="*/ 1683961 h 1898273"/>
                <a:gd name="connsiteX4" fmla="*/ 505193 w 1167505"/>
                <a:gd name="connsiteY4" fmla="*/ 1644273 h 1898273"/>
                <a:gd name="connsiteX5" fmla="*/ 717918 w 1167505"/>
                <a:gd name="connsiteY5" fmla="*/ 1644273 h 1898273"/>
                <a:gd name="connsiteX6" fmla="*/ 746493 w 1167505"/>
                <a:gd name="connsiteY6" fmla="*/ 1596648 h 1898273"/>
                <a:gd name="connsiteX7" fmla="*/ 716330 w 1167505"/>
                <a:gd name="connsiteY7" fmla="*/ 1560136 h 1898273"/>
                <a:gd name="connsiteX8" fmla="*/ 398830 w 1167505"/>
                <a:gd name="connsiteY8" fmla="*/ 1560136 h 1898273"/>
                <a:gd name="connsiteX9" fmla="*/ 360730 w 1167505"/>
                <a:gd name="connsiteY9" fmla="*/ 1522036 h 1898273"/>
                <a:gd name="connsiteX10" fmla="*/ 382955 w 1167505"/>
                <a:gd name="connsiteY10" fmla="*/ 1474411 h 1898273"/>
                <a:gd name="connsiteX11" fmla="*/ 797293 w 1167505"/>
                <a:gd name="connsiteY11" fmla="*/ 1474411 h 1898273"/>
                <a:gd name="connsiteX12" fmla="*/ 830630 w 1167505"/>
                <a:gd name="connsiteY12" fmla="*/ 1426786 h 1898273"/>
                <a:gd name="connsiteX13" fmla="*/ 795705 w 1167505"/>
                <a:gd name="connsiteY13" fmla="*/ 1383923 h 1898273"/>
                <a:gd name="connsiteX14" fmla="*/ 386130 w 1167505"/>
                <a:gd name="connsiteY14" fmla="*/ 1383923 h 1898273"/>
                <a:gd name="connsiteX15" fmla="*/ 322630 w 1167505"/>
                <a:gd name="connsiteY15" fmla="*/ 1352173 h 1898273"/>
                <a:gd name="connsiteX16" fmla="*/ 283340 w 1167505"/>
                <a:gd name="connsiteY16" fmla="*/ 1300183 h 1898273"/>
                <a:gd name="connsiteX17" fmla="*/ 271830 w 1167505"/>
                <a:gd name="connsiteY17" fmla="*/ 1207711 h 1898273"/>
                <a:gd name="connsiteX18" fmla="*/ 260718 w 1167505"/>
                <a:gd name="connsiteY18" fmla="*/ 1128336 h 1898273"/>
                <a:gd name="connsiteX19" fmla="*/ 205155 w 1167505"/>
                <a:gd name="connsiteY19" fmla="*/ 1037848 h 1898273"/>
                <a:gd name="connsiteX20" fmla="*/ 130543 w 1167505"/>
                <a:gd name="connsiteY20" fmla="*/ 955298 h 1898273"/>
                <a:gd name="connsiteX21" fmla="*/ 55137 w 1167505"/>
                <a:gd name="connsiteY21" fmla="*/ 845364 h 1898273"/>
                <a:gd name="connsiteX22" fmla="*/ 13861 w 1167505"/>
                <a:gd name="connsiteY22" fmla="*/ 735827 h 1898273"/>
                <a:gd name="connsiteX23" fmla="*/ 368 w 1167505"/>
                <a:gd name="connsiteY23" fmla="*/ 601286 h 1898273"/>
                <a:gd name="connsiteX24" fmla="*/ 11480 w 1167505"/>
                <a:gd name="connsiteY24" fmla="*/ 475873 h 1898273"/>
                <a:gd name="connsiteX25" fmla="*/ 81330 w 1167505"/>
                <a:gd name="connsiteY25" fmla="*/ 285373 h 1898273"/>
                <a:gd name="connsiteX26" fmla="*/ 265480 w 1167505"/>
                <a:gd name="connsiteY26" fmla="*/ 93285 h 1898273"/>
                <a:gd name="connsiteX27" fmla="*/ 519480 w 1167505"/>
                <a:gd name="connsiteY27" fmla="*/ 3990 h 1898273"/>
                <a:gd name="connsiteX28" fmla="*/ 705218 w 1167505"/>
                <a:gd name="connsiteY28" fmla="*/ 10736 h 1898273"/>
                <a:gd name="connsiteX29" fmla="*/ 943343 w 1167505"/>
                <a:gd name="connsiteY29" fmla="*/ 121861 h 1898273"/>
                <a:gd name="connsiteX30" fmla="*/ 1100505 w 1167505"/>
                <a:gd name="connsiteY30" fmla="*/ 310773 h 1898273"/>
                <a:gd name="connsiteX31" fmla="*/ 1162418 w 1167505"/>
                <a:gd name="connsiteY31" fmla="*/ 513973 h 1898273"/>
                <a:gd name="connsiteX32" fmla="*/ 1159243 w 1167505"/>
                <a:gd name="connsiteY32" fmla="*/ 683836 h 1898273"/>
                <a:gd name="connsiteX33" fmla="*/ 1090980 w 1167505"/>
                <a:gd name="connsiteY33" fmla="*/ 890211 h 1898273"/>
                <a:gd name="connsiteX34" fmla="*/ 957630 w 1167505"/>
                <a:gd name="connsiteY34" fmla="*/ 1058486 h 1898273"/>
                <a:gd name="connsiteX35" fmla="*/ 914768 w 1167505"/>
                <a:gd name="connsiteY35" fmla="*/ 1118811 h 1898273"/>
                <a:gd name="connsiteX36" fmla="*/ 905243 w 1167505"/>
                <a:gd name="connsiteY36" fmla="*/ 1175961 h 1898273"/>
                <a:gd name="connsiteX37" fmla="*/ 905243 w 1167505"/>
                <a:gd name="connsiteY37" fmla="*/ 1264861 h 1898273"/>
                <a:gd name="connsiteX38" fmla="*/ 868730 w 1167505"/>
                <a:gd name="connsiteY38" fmla="*/ 1301373 h 1898273"/>
                <a:gd name="connsiteX39" fmla="*/ 641718 w 1167505"/>
                <a:gd name="connsiteY39" fmla="*/ 1301373 h 1898273"/>
                <a:gd name="connsiteX40" fmla="*/ 590918 w 1167505"/>
                <a:gd name="connsiteY40" fmla="*/ 1279148 h 1898273"/>
                <a:gd name="connsiteX41" fmla="*/ 590918 w 1167505"/>
                <a:gd name="connsiteY41" fmla="*/ 1212473 h 1898273"/>
                <a:gd name="connsiteX0" fmla="*/ 584568 w 1170104"/>
                <a:gd name="connsiteY0" fmla="*/ 1898273 h 1898273"/>
                <a:gd name="connsiteX1" fmla="*/ 581393 w 1170104"/>
                <a:gd name="connsiteY1" fmla="*/ 1768098 h 1898273"/>
                <a:gd name="connsiteX2" fmla="*/ 508368 w 1170104"/>
                <a:gd name="connsiteY2" fmla="*/ 1723648 h 1898273"/>
                <a:gd name="connsiteX3" fmla="*/ 475030 w 1170104"/>
                <a:gd name="connsiteY3" fmla="*/ 1683961 h 1898273"/>
                <a:gd name="connsiteX4" fmla="*/ 505193 w 1170104"/>
                <a:gd name="connsiteY4" fmla="*/ 1644273 h 1898273"/>
                <a:gd name="connsiteX5" fmla="*/ 717918 w 1170104"/>
                <a:gd name="connsiteY5" fmla="*/ 1644273 h 1898273"/>
                <a:gd name="connsiteX6" fmla="*/ 746493 w 1170104"/>
                <a:gd name="connsiteY6" fmla="*/ 1596648 h 1898273"/>
                <a:gd name="connsiteX7" fmla="*/ 716330 w 1170104"/>
                <a:gd name="connsiteY7" fmla="*/ 1560136 h 1898273"/>
                <a:gd name="connsiteX8" fmla="*/ 398830 w 1170104"/>
                <a:gd name="connsiteY8" fmla="*/ 1560136 h 1898273"/>
                <a:gd name="connsiteX9" fmla="*/ 360730 w 1170104"/>
                <a:gd name="connsiteY9" fmla="*/ 1522036 h 1898273"/>
                <a:gd name="connsiteX10" fmla="*/ 382955 w 1170104"/>
                <a:gd name="connsiteY10" fmla="*/ 1474411 h 1898273"/>
                <a:gd name="connsiteX11" fmla="*/ 797293 w 1170104"/>
                <a:gd name="connsiteY11" fmla="*/ 1474411 h 1898273"/>
                <a:gd name="connsiteX12" fmla="*/ 830630 w 1170104"/>
                <a:gd name="connsiteY12" fmla="*/ 1426786 h 1898273"/>
                <a:gd name="connsiteX13" fmla="*/ 795705 w 1170104"/>
                <a:gd name="connsiteY13" fmla="*/ 1383923 h 1898273"/>
                <a:gd name="connsiteX14" fmla="*/ 386130 w 1170104"/>
                <a:gd name="connsiteY14" fmla="*/ 1383923 h 1898273"/>
                <a:gd name="connsiteX15" fmla="*/ 322630 w 1170104"/>
                <a:gd name="connsiteY15" fmla="*/ 1352173 h 1898273"/>
                <a:gd name="connsiteX16" fmla="*/ 283340 w 1170104"/>
                <a:gd name="connsiteY16" fmla="*/ 1300183 h 1898273"/>
                <a:gd name="connsiteX17" fmla="*/ 271830 w 1170104"/>
                <a:gd name="connsiteY17" fmla="*/ 1207711 h 1898273"/>
                <a:gd name="connsiteX18" fmla="*/ 260718 w 1170104"/>
                <a:gd name="connsiteY18" fmla="*/ 1128336 h 1898273"/>
                <a:gd name="connsiteX19" fmla="*/ 205155 w 1170104"/>
                <a:gd name="connsiteY19" fmla="*/ 1037848 h 1898273"/>
                <a:gd name="connsiteX20" fmla="*/ 130543 w 1170104"/>
                <a:gd name="connsiteY20" fmla="*/ 955298 h 1898273"/>
                <a:gd name="connsiteX21" fmla="*/ 55137 w 1170104"/>
                <a:gd name="connsiteY21" fmla="*/ 845364 h 1898273"/>
                <a:gd name="connsiteX22" fmla="*/ 13861 w 1170104"/>
                <a:gd name="connsiteY22" fmla="*/ 735827 h 1898273"/>
                <a:gd name="connsiteX23" fmla="*/ 368 w 1170104"/>
                <a:gd name="connsiteY23" fmla="*/ 601286 h 1898273"/>
                <a:gd name="connsiteX24" fmla="*/ 11480 w 1170104"/>
                <a:gd name="connsiteY24" fmla="*/ 475873 h 1898273"/>
                <a:gd name="connsiteX25" fmla="*/ 81330 w 1170104"/>
                <a:gd name="connsiteY25" fmla="*/ 285373 h 1898273"/>
                <a:gd name="connsiteX26" fmla="*/ 265480 w 1170104"/>
                <a:gd name="connsiteY26" fmla="*/ 93285 h 1898273"/>
                <a:gd name="connsiteX27" fmla="*/ 519480 w 1170104"/>
                <a:gd name="connsiteY27" fmla="*/ 3990 h 1898273"/>
                <a:gd name="connsiteX28" fmla="*/ 705218 w 1170104"/>
                <a:gd name="connsiteY28" fmla="*/ 10736 h 1898273"/>
                <a:gd name="connsiteX29" fmla="*/ 943343 w 1170104"/>
                <a:gd name="connsiteY29" fmla="*/ 121861 h 1898273"/>
                <a:gd name="connsiteX30" fmla="*/ 1100505 w 1170104"/>
                <a:gd name="connsiteY30" fmla="*/ 310773 h 1898273"/>
                <a:gd name="connsiteX31" fmla="*/ 1162418 w 1170104"/>
                <a:gd name="connsiteY31" fmla="*/ 513973 h 1898273"/>
                <a:gd name="connsiteX32" fmla="*/ 1165196 w 1170104"/>
                <a:gd name="connsiteY32" fmla="*/ 683836 h 1898273"/>
                <a:gd name="connsiteX33" fmla="*/ 1090980 w 1170104"/>
                <a:gd name="connsiteY33" fmla="*/ 890211 h 1898273"/>
                <a:gd name="connsiteX34" fmla="*/ 957630 w 1170104"/>
                <a:gd name="connsiteY34" fmla="*/ 1058486 h 1898273"/>
                <a:gd name="connsiteX35" fmla="*/ 914768 w 1170104"/>
                <a:gd name="connsiteY35" fmla="*/ 1118811 h 1898273"/>
                <a:gd name="connsiteX36" fmla="*/ 905243 w 1170104"/>
                <a:gd name="connsiteY36" fmla="*/ 1175961 h 1898273"/>
                <a:gd name="connsiteX37" fmla="*/ 905243 w 1170104"/>
                <a:gd name="connsiteY37" fmla="*/ 1264861 h 1898273"/>
                <a:gd name="connsiteX38" fmla="*/ 868730 w 1170104"/>
                <a:gd name="connsiteY38" fmla="*/ 1301373 h 1898273"/>
                <a:gd name="connsiteX39" fmla="*/ 641718 w 1170104"/>
                <a:gd name="connsiteY39" fmla="*/ 1301373 h 1898273"/>
                <a:gd name="connsiteX40" fmla="*/ 590918 w 1170104"/>
                <a:gd name="connsiteY40" fmla="*/ 1279148 h 1898273"/>
                <a:gd name="connsiteX41" fmla="*/ 590918 w 1170104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90980 w 1167899"/>
                <a:gd name="connsiteY33" fmla="*/ 890211 h 1898273"/>
                <a:gd name="connsiteX34" fmla="*/ 957630 w 1167899"/>
                <a:gd name="connsiteY34" fmla="*/ 1058486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90980 w 1167899"/>
                <a:gd name="connsiteY33" fmla="*/ 890211 h 1898273"/>
                <a:gd name="connsiteX34" fmla="*/ 957630 w 1167899"/>
                <a:gd name="connsiteY34" fmla="*/ 1058486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90980 w 1167899"/>
                <a:gd name="connsiteY33" fmla="*/ 890211 h 1898273"/>
                <a:gd name="connsiteX34" fmla="*/ 957630 w 1167899"/>
                <a:gd name="connsiteY34" fmla="*/ 1058486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7630 w 1167899"/>
                <a:gd name="connsiteY34" fmla="*/ 1058486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7630 w 1167899"/>
                <a:gd name="connsiteY34" fmla="*/ 1058486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7630 w 1167899"/>
                <a:gd name="connsiteY34" fmla="*/ 1058486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7630 w 1167899"/>
                <a:gd name="connsiteY34" fmla="*/ 1058486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2862 w 1167899"/>
                <a:gd name="connsiteY37" fmla="*/ 1261289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0033 w 1167899"/>
                <a:gd name="connsiteY2" fmla="*/ 1728411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0033 w 1167899"/>
                <a:gd name="connsiteY2" fmla="*/ 1728411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9527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28249 w 1167899"/>
                <a:gd name="connsiteY12" fmla="*/ 1425595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28249 w 1167899"/>
                <a:gd name="connsiteY12" fmla="*/ 1425595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28249 w 1167899"/>
                <a:gd name="connsiteY12" fmla="*/ 1425595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28249 w 1167899"/>
                <a:gd name="connsiteY12" fmla="*/ 1425595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1327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28249 w 1167899"/>
                <a:gd name="connsiteY12" fmla="*/ 1425595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1327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28249 w 1167899"/>
                <a:gd name="connsiteY12" fmla="*/ 1425595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58014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1327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28249 w 1167899"/>
                <a:gd name="connsiteY12" fmla="*/ 1425595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58014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1327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28249 w 1167899"/>
                <a:gd name="connsiteY12" fmla="*/ 1425595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0487 w 1167899"/>
                <a:gd name="connsiteY34" fmla="*/ 1054914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58014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9166"/>
                <a:gd name="connsiteY0" fmla="*/ 1898273 h 1898273"/>
                <a:gd name="connsiteX1" fmla="*/ 581393 w 1169166"/>
                <a:gd name="connsiteY1" fmla="*/ 1768098 h 1898273"/>
                <a:gd name="connsiteX2" fmla="*/ 513130 w 1169166"/>
                <a:gd name="connsiteY2" fmla="*/ 1726030 h 1898273"/>
                <a:gd name="connsiteX3" fmla="*/ 470268 w 1169166"/>
                <a:gd name="connsiteY3" fmla="*/ 1680389 h 1898273"/>
                <a:gd name="connsiteX4" fmla="*/ 505193 w 1169166"/>
                <a:gd name="connsiteY4" fmla="*/ 1644273 h 1898273"/>
                <a:gd name="connsiteX5" fmla="*/ 717918 w 1169166"/>
                <a:gd name="connsiteY5" fmla="*/ 1644273 h 1898273"/>
                <a:gd name="connsiteX6" fmla="*/ 748874 w 1169166"/>
                <a:gd name="connsiteY6" fmla="*/ 1603792 h 1898273"/>
                <a:gd name="connsiteX7" fmla="*/ 716330 w 1169166"/>
                <a:gd name="connsiteY7" fmla="*/ 1561327 h 1898273"/>
                <a:gd name="connsiteX8" fmla="*/ 398830 w 1169166"/>
                <a:gd name="connsiteY8" fmla="*/ 1560136 h 1898273"/>
                <a:gd name="connsiteX9" fmla="*/ 360730 w 1169166"/>
                <a:gd name="connsiteY9" fmla="*/ 1522036 h 1898273"/>
                <a:gd name="connsiteX10" fmla="*/ 387717 w 1169166"/>
                <a:gd name="connsiteY10" fmla="*/ 1476793 h 1898273"/>
                <a:gd name="connsiteX11" fmla="*/ 797293 w 1169166"/>
                <a:gd name="connsiteY11" fmla="*/ 1474411 h 1898273"/>
                <a:gd name="connsiteX12" fmla="*/ 828249 w 1169166"/>
                <a:gd name="connsiteY12" fmla="*/ 1425595 h 1898273"/>
                <a:gd name="connsiteX13" fmla="*/ 795705 w 1169166"/>
                <a:gd name="connsiteY13" fmla="*/ 1383923 h 1898273"/>
                <a:gd name="connsiteX14" fmla="*/ 386130 w 1169166"/>
                <a:gd name="connsiteY14" fmla="*/ 1383923 h 1898273"/>
                <a:gd name="connsiteX15" fmla="*/ 322630 w 1169166"/>
                <a:gd name="connsiteY15" fmla="*/ 1352173 h 1898273"/>
                <a:gd name="connsiteX16" fmla="*/ 283340 w 1169166"/>
                <a:gd name="connsiteY16" fmla="*/ 1300183 h 1898273"/>
                <a:gd name="connsiteX17" fmla="*/ 271830 w 1169166"/>
                <a:gd name="connsiteY17" fmla="*/ 1207711 h 1898273"/>
                <a:gd name="connsiteX18" fmla="*/ 255955 w 1169166"/>
                <a:gd name="connsiteY18" fmla="*/ 1128336 h 1898273"/>
                <a:gd name="connsiteX19" fmla="*/ 205155 w 1169166"/>
                <a:gd name="connsiteY19" fmla="*/ 1037848 h 1898273"/>
                <a:gd name="connsiteX20" fmla="*/ 130543 w 1169166"/>
                <a:gd name="connsiteY20" fmla="*/ 955298 h 1898273"/>
                <a:gd name="connsiteX21" fmla="*/ 55137 w 1169166"/>
                <a:gd name="connsiteY21" fmla="*/ 845364 h 1898273"/>
                <a:gd name="connsiteX22" fmla="*/ 13861 w 1169166"/>
                <a:gd name="connsiteY22" fmla="*/ 735827 h 1898273"/>
                <a:gd name="connsiteX23" fmla="*/ 368 w 1169166"/>
                <a:gd name="connsiteY23" fmla="*/ 601286 h 1898273"/>
                <a:gd name="connsiteX24" fmla="*/ 11480 w 1169166"/>
                <a:gd name="connsiteY24" fmla="*/ 475873 h 1898273"/>
                <a:gd name="connsiteX25" fmla="*/ 81330 w 1169166"/>
                <a:gd name="connsiteY25" fmla="*/ 285373 h 1898273"/>
                <a:gd name="connsiteX26" fmla="*/ 265480 w 1169166"/>
                <a:gd name="connsiteY26" fmla="*/ 93285 h 1898273"/>
                <a:gd name="connsiteX27" fmla="*/ 519480 w 1169166"/>
                <a:gd name="connsiteY27" fmla="*/ 3990 h 1898273"/>
                <a:gd name="connsiteX28" fmla="*/ 705218 w 1169166"/>
                <a:gd name="connsiteY28" fmla="*/ 10736 h 1898273"/>
                <a:gd name="connsiteX29" fmla="*/ 943343 w 1169166"/>
                <a:gd name="connsiteY29" fmla="*/ 121861 h 1898273"/>
                <a:gd name="connsiteX30" fmla="*/ 1100505 w 1169166"/>
                <a:gd name="connsiteY30" fmla="*/ 310773 h 1898273"/>
                <a:gd name="connsiteX31" fmla="*/ 1162418 w 1169166"/>
                <a:gd name="connsiteY31" fmla="*/ 513973 h 1898273"/>
                <a:gd name="connsiteX32" fmla="*/ 1165196 w 1169166"/>
                <a:gd name="connsiteY32" fmla="*/ 683836 h 1898273"/>
                <a:gd name="connsiteX33" fmla="*/ 1085027 w 1169166"/>
                <a:gd name="connsiteY33" fmla="*/ 889020 h 1898273"/>
                <a:gd name="connsiteX34" fmla="*/ 950487 w 1169166"/>
                <a:gd name="connsiteY34" fmla="*/ 1054914 h 1898273"/>
                <a:gd name="connsiteX35" fmla="*/ 914768 w 1169166"/>
                <a:gd name="connsiteY35" fmla="*/ 1118811 h 1898273"/>
                <a:gd name="connsiteX36" fmla="*/ 900480 w 1169166"/>
                <a:gd name="connsiteY36" fmla="*/ 1177152 h 1898273"/>
                <a:gd name="connsiteX37" fmla="*/ 898100 w 1169166"/>
                <a:gd name="connsiteY37" fmla="*/ 1258908 h 1898273"/>
                <a:gd name="connsiteX38" fmla="*/ 858014 w 1169166"/>
                <a:gd name="connsiteY38" fmla="*/ 1301373 h 1898273"/>
                <a:gd name="connsiteX39" fmla="*/ 641718 w 1169166"/>
                <a:gd name="connsiteY39" fmla="*/ 1301373 h 1898273"/>
                <a:gd name="connsiteX40" fmla="*/ 590918 w 1169166"/>
                <a:gd name="connsiteY40" fmla="*/ 1279148 h 1898273"/>
                <a:gd name="connsiteX41" fmla="*/ 590918 w 1169166"/>
                <a:gd name="connsiteY41" fmla="*/ 1212473 h 1898273"/>
                <a:gd name="connsiteX0" fmla="*/ 584568 w 1169166"/>
                <a:gd name="connsiteY0" fmla="*/ 1898273 h 1898273"/>
                <a:gd name="connsiteX1" fmla="*/ 581393 w 1169166"/>
                <a:gd name="connsiteY1" fmla="*/ 1768098 h 1898273"/>
                <a:gd name="connsiteX2" fmla="*/ 513130 w 1169166"/>
                <a:gd name="connsiteY2" fmla="*/ 1726030 h 1898273"/>
                <a:gd name="connsiteX3" fmla="*/ 470268 w 1169166"/>
                <a:gd name="connsiteY3" fmla="*/ 1680389 h 1898273"/>
                <a:gd name="connsiteX4" fmla="*/ 505193 w 1169166"/>
                <a:gd name="connsiteY4" fmla="*/ 1644273 h 1898273"/>
                <a:gd name="connsiteX5" fmla="*/ 717918 w 1169166"/>
                <a:gd name="connsiteY5" fmla="*/ 1644273 h 1898273"/>
                <a:gd name="connsiteX6" fmla="*/ 748874 w 1169166"/>
                <a:gd name="connsiteY6" fmla="*/ 1603792 h 1898273"/>
                <a:gd name="connsiteX7" fmla="*/ 716330 w 1169166"/>
                <a:gd name="connsiteY7" fmla="*/ 1561327 h 1898273"/>
                <a:gd name="connsiteX8" fmla="*/ 398830 w 1169166"/>
                <a:gd name="connsiteY8" fmla="*/ 1560136 h 1898273"/>
                <a:gd name="connsiteX9" fmla="*/ 360730 w 1169166"/>
                <a:gd name="connsiteY9" fmla="*/ 1522036 h 1898273"/>
                <a:gd name="connsiteX10" fmla="*/ 387717 w 1169166"/>
                <a:gd name="connsiteY10" fmla="*/ 1476793 h 1898273"/>
                <a:gd name="connsiteX11" fmla="*/ 797293 w 1169166"/>
                <a:gd name="connsiteY11" fmla="*/ 1474411 h 1898273"/>
                <a:gd name="connsiteX12" fmla="*/ 828249 w 1169166"/>
                <a:gd name="connsiteY12" fmla="*/ 1425595 h 1898273"/>
                <a:gd name="connsiteX13" fmla="*/ 795705 w 1169166"/>
                <a:gd name="connsiteY13" fmla="*/ 1383923 h 1898273"/>
                <a:gd name="connsiteX14" fmla="*/ 386130 w 1169166"/>
                <a:gd name="connsiteY14" fmla="*/ 1383923 h 1898273"/>
                <a:gd name="connsiteX15" fmla="*/ 322630 w 1169166"/>
                <a:gd name="connsiteY15" fmla="*/ 1352173 h 1898273"/>
                <a:gd name="connsiteX16" fmla="*/ 283340 w 1169166"/>
                <a:gd name="connsiteY16" fmla="*/ 1300183 h 1898273"/>
                <a:gd name="connsiteX17" fmla="*/ 271830 w 1169166"/>
                <a:gd name="connsiteY17" fmla="*/ 1207711 h 1898273"/>
                <a:gd name="connsiteX18" fmla="*/ 255955 w 1169166"/>
                <a:gd name="connsiteY18" fmla="*/ 1128336 h 1898273"/>
                <a:gd name="connsiteX19" fmla="*/ 205155 w 1169166"/>
                <a:gd name="connsiteY19" fmla="*/ 1037848 h 1898273"/>
                <a:gd name="connsiteX20" fmla="*/ 130543 w 1169166"/>
                <a:gd name="connsiteY20" fmla="*/ 955298 h 1898273"/>
                <a:gd name="connsiteX21" fmla="*/ 55137 w 1169166"/>
                <a:gd name="connsiteY21" fmla="*/ 845364 h 1898273"/>
                <a:gd name="connsiteX22" fmla="*/ 13861 w 1169166"/>
                <a:gd name="connsiteY22" fmla="*/ 735827 h 1898273"/>
                <a:gd name="connsiteX23" fmla="*/ 368 w 1169166"/>
                <a:gd name="connsiteY23" fmla="*/ 601286 h 1898273"/>
                <a:gd name="connsiteX24" fmla="*/ 11480 w 1169166"/>
                <a:gd name="connsiteY24" fmla="*/ 475873 h 1898273"/>
                <a:gd name="connsiteX25" fmla="*/ 81330 w 1169166"/>
                <a:gd name="connsiteY25" fmla="*/ 285373 h 1898273"/>
                <a:gd name="connsiteX26" fmla="*/ 265480 w 1169166"/>
                <a:gd name="connsiteY26" fmla="*/ 93285 h 1898273"/>
                <a:gd name="connsiteX27" fmla="*/ 519480 w 1169166"/>
                <a:gd name="connsiteY27" fmla="*/ 3990 h 1898273"/>
                <a:gd name="connsiteX28" fmla="*/ 705218 w 1169166"/>
                <a:gd name="connsiteY28" fmla="*/ 10736 h 1898273"/>
                <a:gd name="connsiteX29" fmla="*/ 943343 w 1169166"/>
                <a:gd name="connsiteY29" fmla="*/ 121861 h 1898273"/>
                <a:gd name="connsiteX30" fmla="*/ 1100505 w 1169166"/>
                <a:gd name="connsiteY30" fmla="*/ 310773 h 1898273"/>
                <a:gd name="connsiteX31" fmla="*/ 1162418 w 1169166"/>
                <a:gd name="connsiteY31" fmla="*/ 513973 h 1898273"/>
                <a:gd name="connsiteX32" fmla="*/ 1165196 w 1169166"/>
                <a:gd name="connsiteY32" fmla="*/ 683836 h 1898273"/>
                <a:gd name="connsiteX33" fmla="*/ 1085027 w 1169166"/>
                <a:gd name="connsiteY33" fmla="*/ 889020 h 1898273"/>
                <a:gd name="connsiteX34" fmla="*/ 950487 w 1169166"/>
                <a:gd name="connsiteY34" fmla="*/ 1054914 h 1898273"/>
                <a:gd name="connsiteX35" fmla="*/ 914768 w 1169166"/>
                <a:gd name="connsiteY35" fmla="*/ 1118811 h 1898273"/>
                <a:gd name="connsiteX36" fmla="*/ 900480 w 1169166"/>
                <a:gd name="connsiteY36" fmla="*/ 1177152 h 1898273"/>
                <a:gd name="connsiteX37" fmla="*/ 898100 w 1169166"/>
                <a:gd name="connsiteY37" fmla="*/ 1258908 h 1898273"/>
                <a:gd name="connsiteX38" fmla="*/ 858014 w 1169166"/>
                <a:gd name="connsiteY38" fmla="*/ 1301373 h 1898273"/>
                <a:gd name="connsiteX39" fmla="*/ 641718 w 1169166"/>
                <a:gd name="connsiteY39" fmla="*/ 1301373 h 1898273"/>
                <a:gd name="connsiteX40" fmla="*/ 590918 w 1169166"/>
                <a:gd name="connsiteY40" fmla="*/ 1279148 h 1898273"/>
                <a:gd name="connsiteX41" fmla="*/ 590918 w 1169166"/>
                <a:gd name="connsiteY41" fmla="*/ 1212473 h 1898273"/>
                <a:gd name="connsiteX0" fmla="*/ 584568 w 1170467"/>
                <a:gd name="connsiteY0" fmla="*/ 1898273 h 1898273"/>
                <a:gd name="connsiteX1" fmla="*/ 581393 w 1170467"/>
                <a:gd name="connsiteY1" fmla="*/ 1768098 h 1898273"/>
                <a:gd name="connsiteX2" fmla="*/ 513130 w 1170467"/>
                <a:gd name="connsiteY2" fmla="*/ 1726030 h 1898273"/>
                <a:gd name="connsiteX3" fmla="*/ 470268 w 1170467"/>
                <a:gd name="connsiteY3" fmla="*/ 1680389 h 1898273"/>
                <a:gd name="connsiteX4" fmla="*/ 505193 w 1170467"/>
                <a:gd name="connsiteY4" fmla="*/ 1644273 h 1898273"/>
                <a:gd name="connsiteX5" fmla="*/ 717918 w 1170467"/>
                <a:gd name="connsiteY5" fmla="*/ 1644273 h 1898273"/>
                <a:gd name="connsiteX6" fmla="*/ 748874 w 1170467"/>
                <a:gd name="connsiteY6" fmla="*/ 1603792 h 1898273"/>
                <a:gd name="connsiteX7" fmla="*/ 716330 w 1170467"/>
                <a:gd name="connsiteY7" fmla="*/ 1561327 h 1898273"/>
                <a:gd name="connsiteX8" fmla="*/ 398830 w 1170467"/>
                <a:gd name="connsiteY8" fmla="*/ 1560136 h 1898273"/>
                <a:gd name="connsiteX9" fmla="*/ 360730 w 1170467"/>
                <a:gd name="connsiteY9" fmla="*/ 1522036 h 1898273"/>
                <a:gd name="connsiteX10" fmla="*/ 387717 w 1170467"/>
                <a:gd name="connsiteY10" fmla="*/ 1476793 h 1898273"/>
                <a:gd name="connsiteX11" fmla="*/ 797293 w 1170467"/>
                <a:gd name="connsiteY11" fmla="*/ 1474411 h 1898273"/>
                <a:gd name="connsiteX12" fmla="*/ 828249 w 1170467"/>
                <a:gd name="connsiteY12" fmla="*/ 1425595 h 1898273"/>
                <a:gd name="connsiteX13" fmla="*/ 795705 w 1170467"/>
                <a:gd name="connsiteY13" fmla="*/ 1383923 h 1898273"/>
                <a:gd name="connsiteX14" fmla="*/ 386130 w 1170467"/>
                <a:gd name="connsiteY14" fmla="*/ 1383923 h 1898273"/>
                <a:gd name="connsiteX15" fmla="*/ 322630 w 1170467"/>
                <a:gd name="connsiteY15" fmla="*/ 1352173 h 1898273"/>
                <a:gd name="connsiteX16" fmla="*/ 283340 w 1170467"/>
                <a:gd name="connsiteY16" fmla="*/ 1300183 h 1898273"/>
                <a:gd name="connsiteX17" fmla="*/ 271830 w 1170467"/>
                <a:gd name="connsiteY17" fmla="*/ 1207711 h 1898273"/>
                <a:gd name="connsiteX18" fmla="*/ 255955 w 1170467"/>
                <a:gd name="connsiteY18" fmla="*/ 1128336 h 1898273"/>
                <a:gd name="connsiteX19" fmla="*/ 205155 w 1170467"/>
                <a:gd name="connsiteY19" fmla="*/ 1037848 h 1898273"/>
                <a:gd name="connsiteX20" fmla="*/ 130543 w 1170467"/>
                <a:gd name="connsiteY20" fmla="*/ 955298 h 1898273"/>
                <a:gd name="connsiteX21" fmla="*/ 55137 w 1170467"/>
                <a:gd name="connsiteY21" fmla="*/ 845364 h 1898273"/>
                <a:gd name="connsiteX22" fmla="*/ 13861 w 1170467"/>
                <a:gd name="connsiteY22" fmla="*/ 735827 h 1898273"/>
                <a:gd name="connsiteX23" fmla="*/ 368 w 1170467"/>
                <a:gd name="connsiteY23" fmla="*/ 601286 h 1898273"/>
                <a:gd name="connsiteX24" fmla="*/ 11480 w 1170467"/>
                <a:gd name="connsiteY24" fmla="*/ 475873 h 1898273"/>
                <a:gd name="connsiteX25" fmla="*/ 81330 w 1170467"/>
                <a:gd name="connsiteY25" fmla="*/ 285373 h 1898273"/>
                <a:gd name="connsiteX26" fmla="*/ 265480 w 1170467"/>
                <a:gd name="connsiteY26" fmla="*/ 93285 h 1898273"/>
                <a:gd name="connsiteX27" fmla="*/ 519480 w 1170467"/>
                <a:gd name="connsiteY27" fmla="*/ 3990 h 1898273"/>
                <a:gd name="connsiteX28" fmla="*/ 705218 w 1170467"/>
                <a:gd name="connsiteY28" fmla="*/ 10736 h 1898273"/>
                <a:gd name="connsiteX29" fmla="*/ 943343 w 1170467"/>
                <a:gd name="connsiteY29" fmla="*/ 121861 h 1898273"/>
                <a:gd name="connsiteX30" fmla="*/ 1100505 w 1170467"/>
                <a:gd name="connsiteY30" fmla="*/ 310773 h 1898273"/>
                <a:gd name="connsiteX31" fmla="*/ 1164799 w 1170467"/>
                <a:gd name="connsiteY31" fmla="*/ 512783 h 1898273"/>
                <a:gd name="connsiteX32" fmla="*/ 1165196 w 1170467"/>
                <a:gd name="connsiteY32" fmla="*/ 683836 h 1898273"/>
                <a:gd name="connsiteX33" fmla="*/ 1085027 w 1170467"/>
                <a:gd name="connsiteY33" fmla="*/ 889020 h 1898273"/>
                <a:gd name="connsiteX34" fmla="*/ 950487 w 1170467"/>
                <a:gd name="connsiteY34" fmla="*/ 1054914 h 1898273"/>
                <a:gd name="connsiteX35" fmla="*/ 914768 w 1170467"/>
                <a:gd name="connsiteY35" fmla="*/ 1118811 h 1898273"/>
                <a:gd name="connsiteX36" fmla="*/ 900480 w 1170467"/>
                <a:gd name="connsiteY36" fmla="*/ 1177152 h 1898273"/>
                <a:gd name="connsiteX37" fmla="*/ 898100 w 1170467"/>
                <a:gd name="connsiteY37" fmla="*/ 1258908 h 1898273"/>
                <a:gd name="connsiteX38" fmla="*/ 858014 w 1170467"/>
                <a:gd name="connsiteY38" fmla="*/ 1301373 h 1898273"/>
                <a:gd name="connsiteX39" fmla="*/ 641718 w 1170467"/>
                <a:gd name="connsiteY39" fmla="*/ 1301373 h 1898273"/>
                <a:gd name="connsiteX40" fmla="*/ 590918 w 1170467"/>
                <a:gd name="connsiteY40" fmla="*/ 1279148 h 1898273"/>
                <a:gd name="connsiteX41" fmla="*/ 590918 w 1170467"/>
                <a:gd name="connsiteY41" fmla="*/ 1212473 h 1898273"/>
                <a:gd name="connsiteX0" fmla="*/ 584993 w 1170892"/>
                <a:gd name="connsiteY0" fmla="*/ 1898273 h 1898273"/>
                <a:gd name="connsiteX1" fmla="*/ 581818 w 1170892"/>
                <a:gd name="connsiteY1" fmla="*/ 1768098 h 1898273"/>
                <a:gd name="connsiteX2" fmla="*/ 513555 w 1170892"/>
                <a:gd name="connsiteY2" fmla="*/ 1726030 h 1898273"/>
                <a:gd name="connsiteX3" fmla="*/ 470693 w 1170892"/>
                <a:gd name="connsiteY3" fmla="*/ 1680389 h 1898273"/>
                <a:gd name="connsiteX4" fmla="*/ 505618 w 1170892"/>
                <a:gd name="connsiteY4" fmla="*/ 1644273 h 1898273"/>
                <a:gd name="connsiteX5" fmla="*/ 718343 w 1170892"/>
                <a:gd name="connsiteY5" fmla="*/ 1644273 h 1898273"/>
                <a:gd name="connsiteX6" fmla="*/ 749299 w 1170892"/>
                <a:gd name="connsiteY6" fmla="*/ 1603792 h 1898273"/>
                <a:gd name="connsiteX7" fmla="*/ 716755 w 1170892"/>
                <a:gd name="connsiteY7" fmla="*/ 1561327 h 1898273"/>
                <a:gd name="connsiteX8" fmla="*/ 399255 w 1170892"/>
                <a:gd name="connsiteY8" fmla="*/ 1560136 h 1898273"/>
                <a:gd name="connsiteX9" fmla="*/ 361155 w 1170892"/>
                <a:gd name="connsiteY9" fmla="*/ 1522036 h 1898273"/>
                <a:gd name="connsiteX10" fmla="*/ 388142 w 1170892"/>
                <a:gd name="connsiteY10" fmla="*/ 1476793 h 1898273"/>
                <a:gd name="connsiteX11" fmla="*/ 797718 w 1170892"/>
                <a:gd name="connsiteY11" fmla="*/ 1474411 h 1898273"/>
                <a:gd name="connsiteX12" fmla="*/ 828674 w 1170892"/>
                <a:gd name="connsiteY12" fmla="*/ 1425595 h 1898273"/>
                <a:gd name="connsiteX13" fmla="*/ 796130 w 1170892"/>
                <a:gd name="connsiteY13" fmla="*/ 1383923 h 1898273"/>
                <a:gd name="connsiteX14" fmla="*/ 386555 w 1170892"/>
                <a:gd name="connsiteY14" fmla="*/ 1383923 h 1898273"/>
                <a:gd name="connsiteX15" fmla="*/ 323055 w 1170892"/>
                <a:gd name="connsiteY15" fmla="*/ 1352173 h 1898273"/>
                <a:gd name="connsiteX16" fmla="*/ 283765 w 1170892"/>
                <a:gd name="connsiteY16" fmla="*/ 1300183 h 1898273"/>
                <a:gd name="connsiteX17" fmla="*/ 272255 w 1170892"/>
                <a:gd name="connsiteY17" fmla="*/ 1207711 h 1898273"/>
                <a:gd name="connsiteX18" fmla="*/ 256380 w 1170892"/>
                <a:gd name="connsiteY18" fmla="*/ 1128336 h 1898273"/>
                <a:gd name="connsiteX19" fmla="*/ 205580 w 1170892"/>
                <a:gd name="connsiteY19" fmla="*/ 1037848 h 1898273"/>
                <a:gd name="connsiteX20" fmla="*/ 130968 w 1170892"/>
                <a:gd name="connsiteY20" fmla="*/ 955298 h 1898273"/>
                <a:gd name="connsiteX21" fmla="*/ 55562 w 1170892"/>
                <a:gd name="connsiteY21" fmla="*/ 845364 h 1898273"/>
                <a:gd name="connsiteX22" fmla="*/ 14286 w 1170892"/>
                <a:gd name="connsiteY22" fmla="*/ 735827 h 1898273"/>
                <a:gd name="connsiteX23" fmla="*/ 793 w 1170892"/>
                <a:gd name="connsiteY23" fmla="*/ 601286 h 1898273"/>
                <a:gd name="connsiteX24" fmla="*/ 9524 w 1170892"/>
                <a:gd name="connsiteY24" fmla="*/ 475873 h 1898273"/>
                <a:gd name="connsiteX25" fmla="*/ 81755 w 1170892"/>
                <a:gd name="connsiteY25" fmla="*/ 285373 h 1898273"/>
                <a:gd name="connsiteX26" fmla="*/ 265905 w 1170892"/>
                <a:gd name="connsiteY26" fmla="*/ 93285 h 1898273"/>
                <a:gd name="connsiteX27" fmla="*/ 519905 w 1170892"/>
                <a:gd name="connsiteY27" fmla="*/ 3990 h 1898273"/>
                <a:gd name="connsiteX28" fmla="*/ 705643 w 1170892"/>
                <a:gd name="connsiteY28" fmla="*/ 10736 h 1898273"/>
                <a:gd name="connsiteX29" fmla="*/ 943768 w 1170892"/>
                <a:gd name="connsiteY29" fmla="*/ 121861 h 1898273"/>
                <a:gd name="connsiteX30" fmla="*/ 1100930 w 1170892"/>
                <a:gd name="connsiteY30" fmla="*/ 310773 h 1898273"/>
                <a:gd name="connsiteX31" fmla="*/ 1165224 w 1170892"/>
                <a:gd name="connsiteY31" fmla="*/ 512783 h 1898273"/>
                <a:gd name="connsiteX32" fmla="*/ 1165621 w 1170892"/>
                <a:gd name="connsiteY32" fmla="*/ 683836 h 1898273"/>
                <a:gd name="connsiteX33" fmla="*/ 1085452 w 1170892"/>
                <a:gd name="connsiteY33" fmla="*/ 889020 h 1898273"/>
                <a:gd name="connsiteX34" fmla="*/ 950912 w 1170892"/>
                <a:gd name="connsiteY34" fmla="*/ 1054914 h 1898273"/>
                <a:gd name="connsiteX35" fmla="*/ 915193 w 1170892"/>
                <a:gd name="connsiteY35" fmla="*/ 1118811 h 1898273"/>
                <a:gd name="connsiteX36" fmla="*/ 900905 w 1170892"/>
                <a:gd name="connsiteY36" fmla="*/ 1177152 h 1898273"/>
                <a:gd name="connsiteX37" fmla="*/ 898525 w 1170892"/>
                <a:gd name="connsiteY37" fmla="*/ 1258908 h 1898273"/>
                <a:gd name="connsiteX38" fmla="*/ 858439 w 1170892"/>
                <a:gd name="connsiteY38" fmla="*/ 1301373 h 1898273"/>
                <a:gd name="connsiteX39" fmla="*/ 642143 w 1170892"/>
                <a:gd name="connsiteY39" fmla="*/ 1301373 h 1898273"/>
                <a:gd name="connsiteX40" fmla="*/ 591343 w 1170892"/>
                <a:gd name="connsiteY40" fmla="*/ 1279148 h 1898273"/>
                <a:gd name="connsiteX41" fmla="*/ 591343 w 1170892"/>
                <a:gd name="connsiteY41" fmla="*/ 1212473 h 1898273"/>
                <a:gd name="connsiteX0" fmla="*/ 584993 w 1170892"/>
                <a:gd name="connsiteY0" fmla="*/ 1898273 h 1898273"/>
                <a:gd name="connsiteX1" fmla="*/ 581818 w 1170892"/>
                <a:gd name="connsiteY1" fmla="*/ 1768098 h 1898273"/>
                <a:gd name="connsiteX2" fmla="*/ 513555 w 1170892"/>
                <a:gd name="connsiteY2" fmla="*/ 1726030 h 1898273"/>
                <a:gd name="connsiteX3" fmla="*/ 470693 w 1170892"/>
                <a:gd name="connsiteY3" fmla="*/ 1680389 h 1898273"/>
                <a:gd name="connsiteX4" fmla="*/ 505618 w 1170892"/>
                <a:gd name="connsiteY4" fmla="*/ 1644273 h 1898273"/>
                <a:gd name="connsiteX5" fmla="*/ 718343 w 1170892"/>
                <a:gd name="connsiteY5" fmla="*/ 1644273 h 1898273"/>
                <a:gd name="connsiteX6" fmla="*/ 749299 w 1170892"/>
                <a:gd name="connsiteY6" fmla="*/ 1603792 h 1898273"/>
                <a:gd name="connsiteX7" fmla="*/ 716755 w 1170892"/>
                <a:gd name="connsiteY7" fmla="*/ 1561327 h 1898273"/>
                <a:gd name="connsiteX8" fmla="*/ 399255 w 1170892"/>
                <a:gd name="connsiteY8" fmla="*/ 1560136 h 1898273"/>
                <a:gd name="connsiteX9" fmla="*/ 361155 w 1170892"/>
                <a:gd name="connsiteY9" fmla="*/ 1522036 h 1898273"/>
                <a:gd name="connsiteX10" fmla="*/ 394095 w 1170892"/>
                <a:gd name="connsiteY10" fmla="*/ 1476793 h 1898273"/>
                <a:gd name="connsiteX11" fmla="*/ 797718 w 1170892"/>
                <a:gd name="connsiteY11" fmla="*/ 1474411 h 1898273"/>
                <a:gd name="connsiteX12" fmla="*/ 828674 w 1170892"/>
                <a:gd name="connsiteY12" fmla="*/ 1425595 h 1898273"/>
                <a:gd name="connsiteX13" fmla="*/ 796130 w 1170892"/>
                <a:gd name="connsiteY13" fmla="*/ 1383923 h 1898273"/>
                <a:gd name="connsiteX14" fmla="*/ 386555 w 1170892"/>
                <a:gd name="connsiteY14" fmla="*/ 1383923 h 1898273"/>
                <a:gd name="connsiteX15" fmla="*/ 323055 w 1170892"/>
                <a:gd name="connsiteY15" fmla="*/ 1352173 h 1898273"/>
                <a:gd name="connsiteX16" fmla="*/ 283765 w 1170892"/>
                <a:gd name="connsiteY16" fmla="*/ 1300183 h 1898273"/>
                <a:gd name="connsiteX17" fmla="*/ 272255 w 1170892"/>
                <a:gd name="connsiteY17" fmla="*/ 1207711 h 1898273"/>
                <a:gd name="connsiteX18" fmla="*/ 256380 w 1170892"/>
                <a:gd name="connsiteY18" fmla="*/ 1128336 h 1898273"/>
                <a:gd name="connsiteX19" fmla="*/ 205580 w 1170892"/>
                <a:gd name="connsiteY19" fmla="*/ 1037848 h 1898273"/>
                <a:gd name="connsiteX20" fmla="*/ 130968 w 1170892"/>
                <a:gd name="connsiteY20" fmla="*/ 955298 h 1898273"/>
                <a:gd name="connsiteX21" fmla="*/ 55562 w 1170892"/>
                <a:gd name="connsiteY21" fmla="*/ 845364 h 1898273"/>
                <a:gd name="connsiteX22" fmla="*/ 14286 w 1170892"/>
                <a:gd name="connsiteY22" fmla="*/ 735827 h 1898273"/>
                <a:gd name="connsiteX23" fmla="*/ 793 w 1170892"/>
                <a:gd name="connsiteY23" fmla="*/ 601286 h 1898273"/>
                <a:gd name="connsiteX24" fmla="*/ 9524 w 1170892"/>
                <a:gd name="connsiteY24" fmla="*/ 475873 h 1898273"/>
                <a:gd name="connsiteX25" fmla="*/ 81755 w 1170892"/>
                <a:gd name="connsiteY25" fmla="*/ 285373 h 1898273"/>
                <a:gd name="connsiteX26" fmla="*/ 265905 w 1170892"/>
                <a:gd name="connsiteY26" fmla="*/ 93285 h 1898273"/>
                <a:gd name="connsiteX27" fmla="*/ 519905 w 1170892"/>
                <a:gd name="connsiteY27" fmla="*/ 3990 h 1898273"/>
                <a:gd name="connsiteX28" fmla="*/ 705643 w 1170892"/>
                <a:gd name="connsiteY28" fmla="*/ 10736 h 1898273"/>
                <a:gd name="connsiteX29" fmla="*/ 943768 w 1170892"/>
                <a:gd name="connsiteY29" fmla="*/ 121861 h 1898273"/>
                <a:gd name="connsiteX30" fmla="*/ 1100930 w 1170892"/>
                <a:gd name="connsiteY30" fmla="*/ 310773 h 1898273"/>
                <a:gd name="connsiteX31" fmla="*/ 1165224 w 1170892"/>
                <a:gd name="connsiteY31" fmla="*/ 512783 h 1898273"/>
                <a:gd name="connsiteX32" fmla="*/ 1165621 w 1170892"/>
                <a:gd name="connsiteY32" fmla="*/ 683836 h 1898273"/>
                <a:gd name="connsiteX33" fmla="*/ 1085452 w 1170892"/>
                <a:gd name="connsiteY33" fmla="*/ 889020 h 1898273"/>
                <a:gd name="connsiteX34" fmla="*/ 950912 w 1170892"/>
                <a:gd name="connsiteY34" fmla="*/ 1054914 h 1898273"/>
                <a:gd name="connsiteX35" fmla="*/ 915193 w 1170892"/>
                <a:gd name="connsiteY35" fmla="*/ 1118811 h 1898273"/>
                <a:gd name="connsiteX36" fmla="*/ 900905 w 1170892"/>
                <a:gd name="connsiteY36" fmla="*/ 1177152 h 1898273"/>
                <a:gd name="connsiteX37" fmla="*/ 898525 w 1170892"/>
                <a:gd name="connsiteY37" fmla="*/ 1258908 h 1898273"/>
                <a:gd name="connsiteX38" fmla="*/ 858439 w 1170892"/>
                <a:gd name="connsiteY38" fmla="*/ 1301373 h 1898273"/>
                <a:gd name="connsiteX39" fmla="*/ 642143 w 1170892"/>
                <a:gd name="connsiteY39" fmla="*/ 1301373 h 1898273"/>
                <a:gd name="connsiteX40" fmla="*/ 591343 w 1170892"/>
                <a:gd name="connsiteY40" fmla="*/ 1279148 h 1898273"/>
                <a:gd name="connsiteX41" fmla="*/ 591343 w 1170892"/>
                <a:gd name="connsiteY41" fmla="*/ 1212473 h 1898273"/>
                <a:gd name="connsiteX0" fmla="*/ 584993 w 1170892"/>
                <a:gd name="connsiteY0" fmla="*/ 1898273 h 1898273"/>
                <a:gd name="connsiteX1" fmla="*/ 581818 w 1170892"/>
                <a:gd name="connsiteY1" fmla="*/ 1768098 h 1898273"/>
                <a:gd name="connsiteX2" fmla="*/ 513555 w 1170892"/>
                <a:gd name="connsiteY2" fmla="*/ 1726030 h 1898273"/>
                <a:gd name="connsiteX3" fmla="*/ 470693 w 1170892"/>
                <a:gd name="connsiteY3" fmla="*/ 1680389 h 1898273"/>
                <a:gd name="connsiteX4" fmla="*/ 505618 w 1170892"/>
                <a:gd name="connsiteY4" fmla="*/ 1644273 h 1898273"/>
                <a:gd name="connsiteX5" fmla="*/ 718343 w 1170892"/>
                <a:gd name="connsiteY5" fmla="*/ 1644273 h 1898273"/>
                <a:gd name="connsiteX6" fmla="*/ 749299 w 1170892"/>
                <a:gd name="connsiteY6" fmla="*/ 1603792 h 1898273"/>
                <a:gd name="connsiteX7" fmla="*/ 716755 w 1170892"/>
                <a:gd name="connsiteY7" fmla="*/ 1561327 h 1898273"/>
                <a:gd name="connsiteX8" fmla="*/ 399255 w 1170892"/>
                <a:gd name="connsiteY8" fmla="*/ 1560136 h 1898273"/>
                <a:gd name="connsiteX9" fmla="*/ 361155 w 1170892"/>
                <a:gd name="connsiteY9" fmla="*/ 1522036 h 1898273"/>
                <a:gd name="connsiteX10" fmla="*/ 394095 w 1170892"/>
                <a:gd name="connsiteY10" fmla="*/ 1476793 h 1898273"/>
                <a:gd name="connsiteX11" fmla="*/ 797718 w 1170892"/>
                <a:gd name="connsiteY11" fmla="*/ 1474411 h 1898273"/>
                <a:gd name="connsiteX12" fmla="*/ 828674 w 1170892"/>
                <a:gd name="connsiteY12" fmla="*/ 1425595 h 1898273"/>
                <a:gd name="connsiteX13" fmla="*/ 796130 w 1170892"/>
                <a:gd name="connsiteY13" fmla="*/ 1383923 h 1898273"/>
                <a:gd name="connsiteX14" fmla="*/ 386555 w 1170892"/>
                <a:gd name="connsiteY14" fmla="*/ 1383923 h 1898273"/>
                <a:gd name="connsiteX15" fmla="*/ 323055 w 1170892"/>
                <a:gd name="connsiteY15" fmla="*/ 1352173 h 1898273"/>
                <a:gd name="connsiteX16" fmla="*/ 283765 w 1170892"/>
                <a:gd name="connsiteY16" fmla="*/ 1300183 h 1898273"/>
                <a:gd name="connsiteX17" fmla="*/ 272255 w 1170892"/>
                <a:gd name="connsiteY17" fmla="*/ 1207711 h 1898273"/>
                <a:gd name="connsiteX18" fmla="*/ 256380 w 1170892"/>
                <a:gd name="connsiteY18" fmla="*/ 1128336 h 1898273"/>
                <a:gd name="connsiteX19" fmla="*/ 205580 w 1170892"/>
                <a:gd name="connsiteY19" fmla="*/ 1037848 h 1898273"/>
                <a:gd name="connsiteX20" fmla="*/ 130968 w 1170892"/>
                <a:gd name="connsiteY20" fmla="*/ 955298 h 1898273"/>
                <a:gd name="connsiteX21" fmla="*/ 55562 w 1170892"/>
                <a:gd name="connsiteY21" fmla="*/ 845364 h 1898273"/>
                <a:gd name="connsiteX22" fmla="*/ 14286 w 1170892"/>
                <a:gd name="connsiteY22" fmla="*/ 735827 h 1898273"/>
                <a:gd name="connsiteX23" fmla="*/ 793 w 1170892"/>
                <a:gd name="connsiteY23" fmla="*/ 601286 h 1898273"/>
                <a:gd name="connsiteX24" fmla="*/ 9524 w 1170892"/>
                <a:gd name="connsiteY24" fmla="*/ 475873 h 1898273"/>
                <a:gd name="connsiteX25" fmla="*/ 81755 w 1170892"/>
                <a:gd name="connsiteY25" fmla="*/ 285373 h 1898273"/>
                <a:gd name="connsiteX26" fmla="*/ 265905 w 1170892"/>
                <a:gd name="connsiteY26" fmla="*/ 93285 h 1898273"/>
                <a:gd name="connsiteX27" fmla="*/ 519905 w 1170892"/>
                <a:gd name="connsiteY27" fmla="*/ 3990 h 1898273"/>
                <a:gd name="connsiteX28" fmla="*/ 705643 w 1170892"/>
                <a:gd name="connsiteY28" fmla="*/ 10736 h 1898273"/>
                <a:gd name="connsiteX29" fmla="*/ 943768 w 1170892"/>
                <a:gd name="connsiteY29" fmla="*/ 121861 h 1898273"/>
                <a:gd name="connsiteX30" fmla="*/ 1100930 w 1170892"/>
                <a:gd name="connsiteY30" fmla="*/ 310773 h 1898273"/>
                <a:gd name="connsiteX31" fmla="*/ 1165224 w 1170892"/>
                <a:gd name="connsiteY31" fmla="*/ 512783 h 1898273"/>
                <a:gd name="connsiteX32" fmla="*/ 1165621 w 1170892"/>
                <a:gd name="connsiteY32" fmla="*/ 683836 h 1898273"/>
                <a:gd name="connsiteX33" fmla="*/ 1085452 w 1170892"/>
                <a:gd name="connsiteY33" fmla="*/ 889020 h 1898273"/>
                <a:gd name="connsiteX34" fmla="*/ 950912 w 1170892"/>
                <a:gd name="connsiteY34" fmla="*/ 1054914 h 1898273"/>
                <a:gd name="connsiteX35" fmla="*/ 915193 w 1170892"/>
                <a:gd name="connsiteY35" fmla="*/ 1118811 h 1898273"/>
                <a:gd name="connsiteX36" fmla="*/ 900905 w 1170892"/>
                <a:gd name="connsiteY36" fmla="*/ 1177152 h 1898273"/>
                <a:gd name="connsiteX37" fmla="*/ 898525 w 1170892"/>
                <a:gd name="connsiteY37" fmla="*/ 1258908 h 1898273"/>
                <a:gd name="connsiteX38" fmla="*/ 858439 w 1170892"/>
                <a:gd name="connsiteY38" fmla="*/ 1301373 h 1898273"/>
                <a:gd name="connsiteX39" fmla="*/ 642143 w 1170892"/>
                <a:gd name="connsiteY39" fmla="*/ 1301373 h 1898273"/>
                <a:gd name="connsiteX40" fmla="*/ 591343 w 1170892"/>
                <a:gd name="connsiteY40" fmla="*/ 1279148 h 1898273"/>
                <a:gd name="connsiteX41" fmla="*/ 591343 w 1170892"/>
                <a:gd name="connsiteY41" fmla="*/ 1212473 h 1898273"/>
                <a:gd name="connsiteX0" fmla="*/ 584993 w 1170892"/>
                <a:gd name="connsiteY0" fmla="*/ 1898273 h 1898273"/>
                <a:gd name="connsiteX1" fmla="*/ 581818 w 1170892"/>
                <a:gd name="connsiteY1" fmla="*/ 1768098 h 1898273"/>
                <a:gd name="connsiteX2" fmla="*/ 513555 w 1170892"/>
                <a:gd name="connsiteY2" fmla="*/ 1726030 h 1898273"/>
                <a:gd name="connsiteX3" fmla="*/ 470693 w 1170892"/>
                <a:gd name="connsiteY3" fmla="*/ 1680389 h 1898273"/>
                <a:gd name="connsiteX4" fmla="*/ 505618 w 1170892"/>
                <a:gd name="connsiteY4" fmla="*/ 1644273 h 1898273"/>
                <a:gd name="connsiteX5" fmla="*/ 718343 w 1170892"/>
                <a:gd name="connsiteY5" fmla="*/ 1644273 h 1898273"/>
                <a:gd name="connsiteX6" fmla="*/ 749299 w 1170892"/>
                <a:gd name="connsiteY6" fmla="*/ 1603792 h 1898273"/>
                <a:gd name="connsiteX7" fmla="*/ 716755 w 1170892"/>
                <a:gd name="connsiteY7" fmla="*/ 1561327 h 1898273"/>
                <a:gd name="connsiteX8" fmla="*/ 399255 w 1170892"/>
                <a:gd name="connsiteY8" fmla="*/ 1560136 h 1898273"/>
                <a:gd name="connsiteX9" fmla="*/ 361155 w 1170892"/>
                <a:gd name="connsiteY9" fmla="*/ 1522036 h 1898273"/>
                <a:gd name="connsiteX10" fmla="*/ 394095 w 1170892"/>
                <a:gd name="connsiteY10" fmla="*/ 1476793 h 1898273"/>
                <a:gd name="connsiteX11" fmla="*/ 797718 w 1170892"/>
                <a:gd name="connsiteY11" fmla="*/ 1474411 h 1898273"/>
                <a:gd name="connsiteX12" fmla="*/ 828674 w 1170892"/>
                <a:gd name="connsiteY12" fmla="*/ 1425595 h 1898273"/>
                <a:gd name="connsiteX13" fmla="*/ 796130 w 1170892"/>
                <a:gd name="connsiteY13" fmla="*/ 1383923 h 1898273"/>
                <a:gd name="connsiteX14" fmla="*/ 386555 w 1170892"/>
                <a:gd name="connsiteY14" fmla="*/ 1383923 h 1898273"/>
                <a:gd name="connsiteX15" fmla="*/ 323055 w 1170892"/>
                <a:gd name="connsiteY15" fmla="*/ 1352173 h 1898273"/>
                <a:gd name="connsiteX16" fmla="*/ 283765 w 1170892"/>
                <a:gd name="connsiteY16" fmla="*/ 1300183 h 1898273"/>
                <a:gd name="connsiteX17" fmla="*/ 272255 w 1170892"/>
                <a:gd name="connsiteY17" fmla="*/ 1207711 h 1898273"/>
                <a:gd name="connsiteX18" fmla="*/ 256380 w 1170892"/>
                <a:gd name="connsiteY18" fmla="*/ 1128336 h 1898273"/>
                <a:gd name="connsiteX19" fmla="*/ 205580 w 1170892"/>
                <a:gd name="connsiteY19" fmla="*/ 1037848 h 1898273"/>
                <a:gd name="connsiteX20" fmla="*/ 130968 w 1170892"/>
                <a:gd name="connsiteY20" fmla="*/ 955298 h 1898273"/>
                <a:gd name="connsiteX21" fmla="*/ 55562 w 1170892"/>
                <a:gd name="connsiteY21" fmla="*/ 845364 h 1898273"/>
                <a:gd name="connsiteX22" fmla="*/ 14286 w 1170892"/>
                <a:gd name="connsiteY22" fmla="*/ 735827 h 1898273"/>
                <a:gd name="connsiteX23" fmla="*/ 793 w 1170892"/>
                <a:gd name="connsiteY23" fmla="*/ 601286 h 1898273"/>
                <a:gd name="connsiteX24" fmla="*/ 9524 w 1170892"/>
                <a:gd name="connsiteY24" fmla="*/ 475873 h 1898273"/>
                <a:gd name="connsiteX25" fmla="*/ 81755 w 1170892"/>
                <a:gd name="connsiteY25" fmla="*/ 285373 h 1898273"/>
                <a:gd name="connsiteX26" fmla="*/ 265905 w 1170892"/>
                <a:gd name="connsiteY26" fmla="*/ 93285 h 1898273"/>
                <a:gd name="connsiteX27" fmla="*/ 519905 w 1170892"/>
                <a:gd name="connsiteY27" fmla="*/ 3990 h 1898273"/>
                <a:gd name="connsiteX28" fmla="*/ 705643 w 1170892"/>
                <a:gd name="connsiteY28" fmla="*/ 10736 h 1898273"/>
                <a:gd name="connsiteX29" fmla="*/ 943768 w 1170892"/>
                <a:gd name="connsiteY29" fmla="*/ 121861 h 1898273"/>
                <a:gd name="connsiteX30" fmla="*/ 1100930 w 1170892"/>
                <a:gd name="connsiteY30" fmla="*/ 310773 h 1898273"/>
                <a:gd name="connsiteX31" fmla="*/ 1165224 w 1170892"/>
                <a:gd name="connsiteY31" fmla="*/ 512783 h 1898273"/>
                <a:gd name="connsiteX32" fmla="*/ 1165621 w 1170892"/>
                <a:gd name="connsiteY32" fmla="*/ 683836 h 1898273"/>
                <a:gd name="connsiteX33" fmla="*/ 1085452 w 1170892"/>
                <a:gd name="connsiteY33" fmla="*/ 889020 h 1898273"/>
                <a:gd name="connsiteX34" fmla="*/ 950912 w 1170892"/>
                <a:gd name="connsiteY34" fmla="*/ 1054914 h 1898273"/>
                <a:gd name="connsiteX35" fmla="*/ 915193 w 1170892"/>
                <a:gd name="connsiteY35" fmla="*/ 1118811 h 1898273"/>
                <a:gd name="connsiteX36" fmla="*/ 900905 w 1170892"/>
                <a:gd name="connsiteY36" fmla="*/ 1177152 h 1898273"/>
                <a:gd name="connsiteX37" fmla="*/ 898525 w 1170892"/>
                <a:gd name="connsiteY37" fmla="*/ 1258908 h 1898273"/>
                <a:gd name="connsiteX38" fmla="*/ 858439 w 1170892"/>
                <a:gd name="connsiteY38" fmla="*/ 1301373 h 1898273"/>
                <a:gd name="connsiteX39" fmla="*/ 642143 w 1170892"/>
                <a:gd name="connsiteY39" fmla="*/ 1301373 h 1898273"/>
                <a:gd name="connsiteX40" fmla="*/ 591343 w 1170892"/>
                <a:gd name="connsiteY40" fmla="*/ 1279148 h 1898273"/>
                <a:gd name="connsiteX41" fmla="*/ 591343 w 1170892"/>
                <a:gd name="connsiteY41" fmla="*/ 1212473 h 1898273"/>
                <a:gd name="connsiteX0" fmla="*/ 584993 w 1170892"/>
                <a:gd name="connsiteY0" fmla="*/ 1898273 h 1898273"/>
                <a:gd name="connsiteX1" fmla="*/ 581818 w 1170892"/>
                <a:gd name="connsiteY1" fmla="*/ 1768098 h 1898273"/>
                <a:gd name="connsiteX2" fmla="*/ 513555 w 1170892"/>
                <a:gd name="connsiteY2" fmla="*/ 1726030 h 1898273"/>
                <a:gd name="connsiteX3" fmla="*/ 470693 w 1170892"/>
                <a:gd name="connsiteY3" fmla="*/ 1680389 h 1898273"/>
                <a:gd name="connsiteX4" fmla="*/ 505618 w 1170892"/>
                <a:gd name="connsiteY4" fmla="*/ 1644273 h 1898273"/>
                <a:gd name="connsiteX5" fmla="*/ 718343 w 1170892"/>
                <a:gd name="connsiteY5" fmla="*/ 1644273 h 1898273"/>
                <a:gd name="connsiteX6" fmla="*/ 749299 w 1170892"/>
                <a:gd name="connsiteY6" fmla="*/ 1603792 h 1898273"/>
                <a:gd name="connsiteX7" fmla="*/ 716755 w 1170892"/>
                <a:gd name="connsiteY7" fmla="*/ 1561327 h 1898273"/>
                <a:gd name="connsiteX8" fmla="*/ 399255 w 1170892"/>
                <a:gd name="connsiteY8" fmla="*/ 1560136 h 1898273"/>
                <a:gd name="connsiteX9" fmla="*/ 361155 w 1170892"/>
                <a:gd name="connsiteY9" fmla="*/ 1522036 h 1898273"/>
                <a:gd name="connsiteX10" fmla="*/ 394095 w 1170892"/>
                <a:gd name="connsiteY10" fmla="*/ 1476793 h 1898273"/>
                <a:gd name="connsiteX11" fmla="*/ 797718 w 1170892"/>
                <a:gd name="connsiteY11" fmla="*/ 1474411 h 1898273"/>
                <a:gd name="connsiteX12" fmla="*/ 828674 w 1170892"/>
                <a:gd name="connsiteY12" fmla="*/ 1425595 h 1898273"/>
                <a:gd name="connsiteX13" fmla="*/ 796130 w 1170892"/>
                <a:gd name="connsiteY13" fmla="*/ 1383923 h 1898273"/>
                <a:gd name="connsiteX14" fmla="*/ 386555 w 1170892"/>
                <a:gd name="connsiteY14" fmla="*/ 1383923 h 1898273"/>
                <a:gd name="connsiteX15" fmla="*/ 323055 w 1170892"/>
                <a:gd name="connsiteY15" fmla="*/ 1352173 h 1898273"/>
                <a:gd name="connsiteX16" fmla="*/ 283765 w 1170892"/>
                <a:gd name="connsiteY16" fmla="*/ 1300183 h 1898273"/>
                <a:gd name="connsiteX17" fmla="*/ 272255 w 1170892"/>
                <a:gd name="connsiteY17" fmla="*/ 1207711 h 1898273"/>
                <a:gd name="connsiteX18" fmla="*/ 256380 w 1170892"/>
                <a:gd name="connsiteY18" fmla="*/ 1128336 h 1898273"/>
                <a:gd name="connsiteX19" fmla="*/ 205580 w 1170892"/>
                <a:gd name="connsiteY19" fmla="*/ 1037848 h 1898273"/>
                <a:gd name="connsiteX20" fmla="*/ 130968 w 1170892"/>
                <a:gd name="connsiteY20" fmla="*/ 955298 h 1898273"/>
                <a:gd name="connsiteX21" fmla="*/ 55562 w 1170892"/>
                <a:gd name="connsiteY21" fmla="*/ 845364 h 1898273"/>
                <a:gd name="connsiteX22" fmla="*/ 14286 w 1170892"/>
                <a:gd name="connsiteY22" fmla="*/ 735827 h 1898273"/>
                <a:gd name="connsiteX23" fmla="*/ 793 w 1170892"/>
                <a:gd name="connsiteY23" fmla="*/ 601286 h 1898273"/>
                <a:gd name="connsiteX24" fmla="*/ 9524 w 1170892"/>
                <a:gd name="connsiteY24" fmla="*/ 475873 h 1898273"/>
                <a:gd name="connsiteX25" fmla="*/ 81755 w 1170892"/>
                <a:gd name="connsiteY25" fmla="*/ 285373 h 1898273"/>
                <a:gd name="connsiteX26" fmla="*/ 265905 w 1170892"/>
                <a:gd name="connsiteY26" fmla="*/ 93285 h 1898273"/>
                <a:gd name="connsiteX27" fmla="*/ 519905 w 1170892"/>
                <a:gd name="connsiteY27" fmla="*/ 3990 h 1898273"/>
                <a:gd name="connsiteX28" fmla="*/ 705643 w 1170892"/>
                <a:gd name="connsiteY28" fmla="*/ 10736 h 1898273"/>
                <a:gd name="connsiteX29" fmla="*/ 943768 w 1170892"/>
                <a:gd name="connsiteY29" fmla="*/ 121861 h 1898273"/>
                <a:gd name="connsiteX30" fmla="*/ 1100930 w 1170892"/>
                <a:gd name="connsiteY30" fmla="*/ 310773 h 1898273"/>
                <a:gd name="connsiteX31" fmla="*/ 1165224 w 1170892"/>
                <a:gd name="connsiteY31" fmla="*/ 512783 h 1898273"/>
                <a:gd name="connsiteX32" fmla="*/ 1165621 w 1170892"/>
                <a:gd name="connsiteY32" fmla="*/ 683836 h 1898273"/>
                <a:gd name="connsiteX33" fmla="*/ 1085452 w 1170892"/>
                <a:gd name="connsiteY33" fmla="*/ 889020 h 1898273"/>
                <a:gd name="connsiteX34" fmla="*/ 950912 w 1170892"/>
                <a:gd name="connsiteY34" fmla="*/ 1054914 h 1898273"/>
                <a:gd name="connsiteX35" fmla="*/ 915193 w 1170892"/>
                <a:gd name="connsiteY35" fmla="*/ 1118811 h 1898273"/>
                <a:gd name="connsiteX36" fmla="*/ 900905 w 1170892"/>
                <a:gd name="connsiteY36" fmla="*/ 1177152 h 1898273"/>
                <a:gd name="connsiteX37" fmla="*/ 898525 w 1170892"/>
                <a:gd name="connsiteY37" fmla="*/ 1258908 h 1898273"/>
                <a:gd name="connsiteX38" fmla="*/ 858439 w 1170892"/>
                <a:gd name="connsiteY38" fmla="*/ 1301373 h 1898273"/>
                <a:gd name="connsiteX39" fmla="*/ 642143 w 1170892"/>
                <a:gd name="connsiteY39" fmla="*/ 1301373 h 1898273"/>
                <a:gd name="connsiteX40" fmla="*/ 591343 w 1170892"/>
                <a:gd name="connsiteY40" fmla="*/ 1279148 h 1898273"/>
                <a:gd name="connsiteX41" fmla="*/ 591343 w 1170892"/>
                <a:gd name="connsiteY41" fmla="*/ 1212473 h 1898273"/>
                <a:gd name="connsiteX0" fmla="*/ 584993 w 1170892"/>
                <a:gd name="connsiteY0" fmla="*/ 1898273 h 1898273"/>
                <a:gd name="connsiteX1" fmla="*/ 581818 w 1170892"/>
                <a:gd name="connsiteY1" fmla="*/ 1768098 h 1898273"/>
                <a:gd name="connsiteX2" fmla="*/ 513555 w 1170892"/>
                <a:gd name="connsiteY2" fmla="*/ 1726030 h 1898273"/>
                <a:gd name="connsiteX3" fmla="*/ 470693 w 1170892"/>
                <a:gd name="connsiteY3" fmla="*/ 1680389 h 1898273"/>
                <a:gd name="connsiteX4" fmla="*/ 505618 w 1170892"/>
                <a:gd name="connsiteY4" fmla="*/ 1644273 h 1898273"/>
                <a:gd name="connsiteX5" fmla="*/ 718343 w 1170892"/>
                <a:gd name="connsiteY5" fmla="*/ 1644273 h 1898273"/>
                <a:gd name="connsiteX6" fmla="*/ 749299 w 1170892"/>
                <a:gd name="connsiteY6" fmla="*/ 1603792 h 1898273"/>
                <a:gd name="connsiteX7" fmla="*/ 716755 w 1170892"/>
                <a:gd name="connsiteY7" fmla="*/ 1561327 h 1898273"/>
                <a:gd name="connsiteX8" fmla="*/ 399255 w 1170892"/>
                <a:gd name="connsiteY8" fmla="*/ 1560136 h 1898273"/>
                <a:gd name="connsiteX9" fmla="*/ 361155 w 1170892"/>
                <a:gd name="connsiteY9" fmla="*/ 1522036 h 1898273"/>
                <a:gd name="connsiteX10" fmla="*/ 394095 w 1170892"/>
                <a:gd name="connsiteY10" fmla="*/ 1476793 h 1898273"/>
                <a:gd name="connsiteX11" fmla="*/ 797718 w 1170892"/>
                <a:gd name="connsiteY11" fmla="*/ 1474411 h 1898273"/>
                <a:gd name="connsiteX12" fmla="*/ 828674 w 1170892"/>
                <a:gd name="connsiteY12" fmla="*/ 1425595 h 1898273"/>
                <a:gd name="connsiteX13" fmla="*/ 796130 w 1170892"/>
                <a:gd name="connsiteY13" fmla="*/ 1383923 h 1898273"/>
                <a:gd name="connsiteX14" fmla="*/ 386555 w 1170892"/>
                <a:gd name="connsiteY14" fmla="*/ 1383923 h 1898273"/>
                <a:gd name="connsiteX15" fmla="*/ 323055 w 1170892"/>
                <a:gd name="connsiteY15" fmla="*/ 1352173 h 1898273"/>
                <a:gd name="connsiteX16" fmla="*/ 283765 w 1170892"/>
                <a:gd name="connsiteY16" fmla="*/ 1300183 h 1898273"/>
                <a:gd name="connsiteX17" fmla="*/ 272255 w 1170892"/>
                <a:gd name="connsiteY17" fmla="*/ 1207711 h 1898273"/>
                <a:gd name="connsiteX18" fmla="*/ 256380 w 1170892"/>
                <a:gd name="connsiteY18" fmla="*/ 1128336 h 1898273"/>
                <a:gd name="connsiteX19" fmla="*/ 205580 w 1170892"/>
                <a:gd name="connsiteY19" fmla="*/ 1037848 h 1898273"/>
                <a:gd name="connsiteX20" fmla="*/ 130968 w 1170892"/>
                <a:gd name="connsiteY20" fmla="*/ 955298 h 1898273"/>
                <a:gd name="connsiteX21" fmla="*/ 55562 w 1170892"/>
                <a:gd name="connsiteY21" fmla="*/ 845364 h 1898273"/>
                <a:gd name="connsiteX22" fmla="*/ 14286 w 1170892"/>
                <a:gd name="connsiteY22" fmla="*/ 735827 h 1898273"/>
                <a:gd name="connsiteX23" fmla="*/ 793 w 1170892"/>
                <a:gd name="connsiteY23" fmla="*/ 601286 h 1898273"/>
                <a:gd name="connsiteX24" fmla="*/ 9524 w 1170892"/>
                <a:gd name="connsiteY24" fmla="*/ 475873 h 1898273"/>
                <a:gd name="connsiteX25" fmla="*/ 81755 w 1170892"/>
                <a:gd name="connsiteY25" fmla="*/ 285373 h 1898273"/>
                <a:gd name="connsiteX26" fmla="*/ 265905 w 1170892"/>
                <a:gd name="connsiteY26" fmla="*/ 93285 h 1898273"/>
                <a:gd name="connsiteX27" fmla="*/ 519905 w 1170892"/>
                <a:gd name="connsiteY27" fmla="*/ 3990 h 1898273"/>
                <a:gd name="connsiteX28" fmla="*/ 705643 w 1170892"/>
                <a:gd name="connsiteY28" fmla="*/ 10736 h 1898273"/>
                <a:gd name="connsiteX29" fmla="*/ 943768 w 1170892"/>
                <a:gd name="connsiteY29" fmla="*/ 121861 h 1898273"/>
                <a:gd name="connsiteX30" fmla="*/ 1100930 w 1170892"/>
                <a:gd name="connsiteY30" fmla="*/ 310773 h 1898273"/>
                <a:gd name="connsiteX31" fmla="*/ 1165224 w 1170892"/>
                <a:gd name="connsiteY31" fmla="*/ 512783 h 1898273"/>
                <a:gd name="connsiteX32" fmla="*/ 1165621 w 1170892"/>
                <a:gd name="connsiteY32" fmla="*/ 683836 h 1898273"/>
                <a:gd name="connsiteX33" fmla="*/ 1085452 w 1170892"/>
                <a:gd name="connsiteY33" fmla="*/ 889020 h 1898273"/>
                <a:gd name="connsiteX34" fmla="*/ 950912 w 1170892"/>
                <a:gd name="connsiteY34" fmla="*/ 1054914 h 1898273"/>
                <a:gd name="connsiteX35" fmla="*/ 915193 w 1170892"/>
                <a:gd name="connsiteY35" fmla="*/ 1118811 h 1898273"/>
                <a:gd name="connsiteX36" fmla="*/ 900905 w 1170892"/>
                <a:gd name="connsiteY36" fmla="*/ 1177152 h 1898273"/>
                <a:gd name="connsiteX37" fmla="*/ 898525 w 1170892"/>
                <a:gd name="connsiteY37" fmla="*/ 1258908 h 1898273"/>
                <a:gd name="connsiteX38" fmla="*/ 858439 w 1170892"/>
                <a:gd name="connsiteY38" fmla="*/ 1301373 h 1898273"/>
                <a:gd name="connsiteX39" fmla="*/ 642143 w 1170892"/>
                <a:gd name="connsiteY39" fmla="*/ 1301373 h 1898273"/>
                <a:gd name="connsiteX40" fmla="*/ 591343 w 1170892"/>
                <a:gd name="connsiteY40" fmla="*/ 1279148 h 1898273"/>
                <a:gd name="connsiteX41" fmla="*/ 591343 w 1170892"/>
                <a:gd name="connsiteY41" fmla="*/ 1212473 h 1898273"/>
                <a:gd name="connsiteX0" fmla="*/ 584993 w 1170892"/>
                <a:gd name="connsiteY0" fmla="*/ 1898273 h 1898273"/>
                <a:gd name="connsiteX1" fmla="*/ 581818 w 1170892"/>
                <a:gd name="connsiteY1" fmla="*/ 1768098 h 1898273"/>
                <a:gd name="connsiteX2" fmla="*/ 513555 w 1170892"/>
                <a:gd name="connsiteY2" fmla="*/ 1726030 h 1898273"/>
                <a:gd name="connsiteX3" fmla="*/ 470693 w 1170892"/>
                <a:gd name="connsiteY3" fmla="*/ 1680389 h 1898273"/>
                <a:gd name="connsiteX4" fmla="*/ 505618 w 1170892"/>
                <a:gd name="connsiteY4" fmla="*/ 1644273 h 1898273"/>
                <a:gd name="connsiteX5" fmla="*/ 718343 w 1170892"/>
                <a:gd name="connsiteY5" fmla="*/ 1644273 h 1898273"/>
                <a:gd name="connsiteX6" fmla="*/ 749299 w 1170892"/>
                <a:gd name="connsiteY6" fmla="*/ 1603792 h 1898273"/>
                <a:gd name="connsiteX7" fmla="*/ 716755 w 1170892"/>
                <a:gd name="connsiteY7" fmla="*/ 1561327 h 1898273"/>
                <a:gd name="connsiteX8" fmla="*/ 399255 w 1170892"/>
                <a:gd name="connsiteY8" fmla="*/ 1560136 h 1898273"/>
                <a:gd name="connsiteX9" fmla="*/ 361155 w 1170892"/>
                <a:gd name="connsiteY9" fmla="*/ 1522036 h 1898273"/>
                <a:gd name="connsiteX10" fmla="*/ 394095 w 1170892"/>
                <a:gd name="connsiteY10" fmla="*/ 1476793 h 1898273"/>
                <a:gd name="connsiteX11" fmla="*/ 797718 w 1170892"/>
                <a:gd name="connsiteY11" fmla="*/ 1474411 h 1898273"/>
                <a:gd name="connsiteX12" fmla="*/ 828674 w 1170892"/>
                <a:gd name="connsiteY12" fmla="*/ 1425595 h 1898273"/>
                <a:gd name="connsiteX13" fmla="*/ 796130 w 1170892"/>
                <a:gd name="connsiteY13" fmla="*/ 1383923 h 1898273"/>
                <a:gd name="connsiteX14" fmla="*/ 386555 w 1170892"/>
                <a:gd name="connsiteY14" fmla="*/ 1383923 h 1898273"/>
                <a:gd name="connsiteX15" fmla="*/ 323055 w 1170892"/>
                <a:gd name="connsiteY15" fmla="*/ 1352173 h 1898273"/>
                <a:gd name="connsiteX16" fmla="*/ 283765 w 1170892"/>
                <a:gd name="connsiteY16" fmla="*/ 1300183 h 1898273"/>
                <a:gd name="connsiteX17" fmla="*/ 272255 w 1170892"/>
                <a:gd name="connsiteY17" fmla="*/ 1207711 h 1898273"/>
                <a:gd name="connsiteX18" fmla="*/ 256380 w 1170892"/>
                <a:gd name="connsiteY18" fmla="*/ 1128336 h 1898273"/>
                <a:gd name="connsiteX19" fmla="*/ 205580 w 1170892"/>
                <a:gd name="connsiteY19" fmla="*/ 1037848 h 1898273"/>
                <a:gd name="connsiteX20" fmla="*/ 130968 w 1170892"/>
                <a:gd name="connsiteY20" fmla="*/ 955298 h 1898273"/>
                <a:gd name="connsiteX21" fmla="*/ 55562 w 1170892"/>
                <a:gd name="connsiteY21" fmla="*/ 845364 h 1898273"/>
                <a:gd name="connsiteX22" fmla="*/ 14286 w 1170892"/>
                <a:gd name="connsiteY22" fmla="*/ 735827 h 1898273"/>
                <a:gd name="connsiteX23" fmla="*/ 793 w 1170892"/>
                <a:gd name="connsiteY23" fmla="*/ 601286 h 1898273"/>
                <a:gd name="connsiteX24" fmla="*/ 9524 w 1170892"/>
                <a:gd name="connsiteY24" fmla="*/ 475873 h 1898273"/>
                <a:gd name="connsiteX25" fmla="*/ 81755 w 1170892"/>
                <a:gd name="connsiteY25" fmla="*/ 285373 h 1898273"/>
                <a:gd name="connsiteX26" fmla="*/ 265905 w 1170892"/>
                <a:gd name="connsiteY26" fmla="*/ 93285 h 1898273"/>
                <a:gd name="connsiteX27" fmla="*/ 519905 w 1170892"/>
                <a:gd name="connsiteY27" fmla="*/ 3990 h 1898273"/>
                <a:gd name="connsiteX28" fmla="*/ 705643 w 1170892"/>
                <a:gd name="connsiteY28" fmla="*/ 10736 h 1898273"/>
                <a:gd name="connsiteX29" fmla="*/ 943768 w 1170892"/>
                <a:gd name="connsiteY29" fmla="*/ 121861 h 1898273"/>
                <a:gd name="connsiteX30" fmla="*/ 1100930 w 1170892"/>
                <a:gd name="connsiteY30" fmla="*/ 310773 h 1898273"/>
                <a:gd name="connsiteX31" fmla="*/ 1165224 w 1170892"/>
                <a:gd name="connsiteY31" fmla="*/ 512783 h 1898273"/>
                <a:gd name="connsiteX32" fmla="*/ 1165621 w 1170892"/>
                <a:gd name="connsiteY32" fmla="*/ 683836 h 1898273"/>
                <a:gd name="connsiteX33" fmla="*/ 1085452 w 1170892"/>
                <a:gd name="connsiteY33" fmla="*/ 889020 h 1898273"/>
                <a:gd name="connsiteX34" fmla="*/ 950912 w 1170892"/>
                <a:gd name="connsiteY34" fmla="*/ 1054914 h 1898273"/>
                <a:gd name="connsiteX35" fmla="*/ 915193 w 1170892"/>
                <a:gd name="connsiteY35" fmla="*/ 1118811 h 1898273"/>
                <a:gd name="connsiteX36" fmla="*/ 900905 w 1170892"/>
                <a:gd name="connsiteY36" fmla="*/ 1177152 h 1898273"/>
                <a:gd name="connsiteX37" fmla="*/ 898525 w 1170892"/>
                <a:gd name="connsiteY37" fmla="*/ 1258908 h 1898273"/>
                <a:gd name="connsiteX38" fmla="*/ 858439 w 1170892"/>
                <a:gd name="connsiteY38" fmla="*/ 1301373 h 1898273"/>
                <a:gd name="connsiteX39" fmla="*/ 642143 w 1170892"/>
                <a:gd name="connsiteY39" fmla="*/ 1301373 h 1898273"/>
                <a:gd name="connsiteX40" fmla="*/ 591343 w 1170892"/>
                <a:gd name="connsiteY40" fmla="*/ 1279148 h 1898273"/>
                <a:gd name="connsiteX41" fmla="*/ 591343 w 1170892"/>
                <a:gd name="connsiteY41" fmla="*/ 1212473 h 1898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170892" h="1898273">
                  <a:moveTo>
                    <a:pt x="584993" y="1898273"/>
                  </a:moveTo>
                  <a:cubicBezTo>
                    <a:pt x="583935" y="1854881"/>
                    <a:pt x="582876" y="1811490"/>
                    <a:pt x="581818" y="1768098"/>
                  </a:cubicBezTo>
                  <a:cubicBezTo>
                    <a:pt x="573352" y="1746931"/>
                    <a:pt x="562503" y="1729338"/>
                    <a:pt x="513555" y="1726030"/>
                  </a:cubicBezTo>
                  <a:cubicBezTo>
                    <a:pt x="487759" y="1721135"/>
                    <a:pt x="471487" y="1707906"/>
                    <a:pt x="470693" y="1680389"/>
                  </a:cubicBezTo>
                  <a:cubicBezTo>
                    <a:pt x="474793" y="1662398"/>
                    <a:pt x="478895" y="1650358"/>
                    <a:pt x="505618" y="1644273"/>
                  </a:cubicBezTo>
                  <a:lnTo>
                    <a:pt x="718343" y="1644273"/>
                  </a:lnTo>
                  <a:cubicBezTo>
                    <a:pt x="736202" y="1631970"/>
                    <a:pt x="744536" y="1626810"/>
                    <a:pt x="749299" y="1603792"/>
                  </a:cubicBezTo>
                  <a:cubicBezTo>
                    <a:pt x="745198" y="1586858"/>
                    <a:pt x="741097" y="1572308"/>
                    <a:pt x="716755" y="1561327"/>
                  </a:cubicBezTo>
                  <a:lnTo>
                    <a:pt x="399255" y="1560136"/>
                  </a:lnTo>
                  <a:cubicBezTo>
                    <a:pt x="375839" y="1555770"/>
                    <a:pt x="367902" y="1546642"/>
                    <a:pt x="361155" y="1522036"/>
                  </a:cubicBezTo>
                  <a:cubicBezTo>
                    <a:pt x="362610" y="1506161"/>
                    <a:pt x="365255" y="1491478"/>
                    <a:pt x="394095" y="1476793"/>
                  </a:cubicBezTo>
                  <a:lnTo>
                    <a:pt x="797718" y="1474411"/>
                  </a:lnTo>
                  <a:cubicBezTo>
                    <a:pt x="819546" y="1463299"/>
                    <a:pt x="827088" y="1449805"/>
                    <a:pt x="828674" y="1425595"/>
                  </a:cubicBezTo>
                  <a:cubicBezTo>
                    <a:pt x="824177" y="1402972"/>
                    <a:pt x="825632" y="1399402"/>
                    <a:pt x="796130" y="1383923"/>
                  </a:cubicBezTo>
                  <a:lnTo>
                    <a:pt x="386555" y="1383923"/>
                  </a:lnTo>
                  <a:cubicBezTo>
                    <a:pt x="360625" y="1374530"/>
                    <a:pt x="343031" y="1368709"/>
                    <a:pt x="323055" y="1352173"/>
                  </a:cubicBezTo>
                  <a:cubicBezTo>
                    <a:pt x="314721" y="1341193"/>
                    <a:pt x="295670" y="1327832"/>
                    <a:pt x="283765" y="1300183"/>
                  </a:cubicBezTo>
                  <a:cubicBezTo>
                    <a:pt x="275166" y="1267772"/>
                    <a:pt x="274901" y="1238932"/>
                    <a:pt x="272255" y="1207711"/>
                  </a:cubicBezTo>
                  <a:lnTo>
                    <a:pt x="256380" y="1128336"/>
                  </a:lnTo>
                  <a:cubicBezTo>
                    <a:pt x="240241" y="1093410"/>
                    <a:pt x="227673" y="1070392"/>
                    <a:pt x="205580" y="1037848"/>
                  </a:cubicBezTo>
                  <a:cubicBezTo>
                    <a:pt x="184281" y="1006760"/>
                    <a:pt x="162982" y="981625"/>
                    <a:pt x="130968" y="955298"/>
                  </a:cubicBezTo>
                  <a:cubicBezTo>
                    <a:pt x="101071" y="924606"/>
                    <a:pt x="77125" y="886771"/>
                    <a:pt x="55562" y="845364"/>
                  </a:cubicBezTo>
                  <a:cubicBezTo>
                    <a:pt x="23150" y="783054"/>
                    <a:pt x="26457" y="770752"/>
                    <a:pt x="14286" y="735827"/>
                  </a:cubicBezTo>
                  <a:cubicBezTo>
                    <a:pt x="6217" y="686615"/>
                    <a:pt x="1322" y="648911"/>
                    <a:pt x="793" y="601286"/>
                  </a:cubicBezTo>
                  <a:cubicBezTo>
                    <a:pt x="-265" y="557894"/>
                    <a:pt x="-2118" y="514502"/>
                    <a:pt x="9524" y="475873"/>
                  </a:cubicBezTo>
                  <a:cubicBezTo>
                    <a:pt x="20107" y="409198"/>
                    <a:pt x="44184" y="347286"/>
                    <a:pt x="81755" y="285373"/>
                  </a:cubicBezTo>
                  <a:cubicBezTo>
                    <a:pt x="130438" y="213406"/>
                    <a:pt x="185472" y="143027"/>
                    <a:pt x="265905" y="93285"/>
                  </a:cubicBezTo>
                  <a:cubicBezTo>
                    <a:pt x="333638" y="48306"/>
                    <a:pt x="420819" y="15632"/>
                    <a:pt x="519905" y="3990"/>
                  </a:cubicBezTo>
                  <a:cubicBezTo>
                    <a:pt x="584200" y="-2095"/>
                    <a:pt x="644921" y="-2228"/>
                    <a:pt x="705643" y="10736"/>
                  </a:cubicBezTo>
                  <a:cubicBezTo>
                    <a:pt x="805259" y="37062"/>
                    <a:pt x="872727" y="72912"/>
                    <a:pt x="943768" y="121861"/>
                  </a:cubicBezTo>
                  <a:cubicBezTo>
                    <a:pt x="1009252" y="178879"/>
                    <a:pt x="1058067" y="229942"/>
                    <a:pt x="1100930" y="310773"/>
                  </a:cubicBezTo>
                  <a:cubicBezTo>
                    <a:pt x="1137046" y="378506"/>
                    <a:pt x="1160063" y="439096"/>
                    <a:pt x="1165224" y="512783"/>
                  </a:cubicBezTo>
                  <a:cubicBezTo>
                    <a:pt x="1174881" y="568213"/>
                    <a:pt x="1170250" y="629597"/>
                    <a:pt x="1165621" y="683836"/>
                  </a:cubicBezTo>
                  <a:cubicBezTo>
                    <a:pt x="1151202" y="755009"/>
                    <a:pt x="1129637" y="822609"/>
                    <a:pt x="1085452" y="889020"/>
                  </a:cubicBezTo>
                  <a:cubicBezTo>
                    <a:pt x="1047749" y="946699"/>
                    <a:pt x="994569" y="992472"/>
                    <a:pt x="950912" y="1054914"/>
                  </a:cubicBezTo>
                  <a:cubicBezTo>
                    <a:pt x="937021" y="1078197"/>
                    <a:pt x="923130" y="1091956"/>
                    <a:pt x="915193" y="1118811"/>
                  </a:cubicBezTo>
                  <a:cubicBezTo>
                    <a:pt x="906065" y="1147386"/>
                    <a:pt x="904080" y="1158102"/>
                    <a:pt x="900905" y="1177152"/>
                  </a:cubicBezTo>
                  <a:cubicBezTo>
                    <a:pt x="898920" y="1217501"/>
                    <a:pt x="899319" y="1230465"/>
                    <a:pt x="898525" y="1258908"/>
                  </a:cubicBezTo>
                  <a:cubicBezTo>
                    <a:pt x="898260" y="1276635"/>
                    <a:pt x="886089" y="1291981"/>
                    <a:pt x="858439" y="1301373"/>
                  </a:cubicBezTo>
                  <a:lnTo>
                    <a:pt x="642143" y="1301373"/>
                  </a:lnTo>
                  <a:cubicBezTo>
                    <a:pt x="604968" y="1298728"/>
                    <a:pt x="601133" y="1297271"/>
                    <a:pt x="591343" y="1279148"/>
                  </a:cubicBezTo>
                  <a:lnTo>
                    <a:pt x="591343" y="1212473"/>
                  </a:lnTo>
                </a:path>
              </a:pathLst>
            </a:custGeom>
            <a:noFill/>
            <a:ln w="25400" algn="ctr">
              <a:solidFill>
                <a:schemeClr val="accent1"/>
              </a:solidFill>
              <a:miter lim="800000"/>
              <a:headEnd type="none" w="sm" len="sm"/>
              <a:tailEnd type="oval" w="sm" len="sm"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11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0" name="Round Same Side Corner Rectangle 37">
              <a:extLst>
                <a:ext uri="{FF2B5EF4-FFF2-40B4-BE49-F238E27FC236}">
                  <a16:creationId xmlns:a16="http://schemas.microsoft.com/office/drawing/2014/main" id="{226606D2-0E15-4F08-959B-39AC659D24D8}"/>
                </a:ext>
              </a:extLst>
            </p:cNvPr>
            <p:cNvSpPr/>
            <p:nvPr/>
          </p:nvSpPr>
          <p:spPr bwMode="gray">
            <a:xfrm>
              <a:off x="1289779" y="3495046"/>
              <a:ext cx="116350" cy="108039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hu-HU" sz="11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1" name="Round Same Side Corner Rectangle 38">
              <a:extLst>
                <a:ext uri="{FF2B5EF4-FFF2-40B4-BE49-F238E27FC236}">
                  <a16:creationId xmlns:a16="http://schemas.microsoft.com/office/drawing/2014/main" id="{1A9107EB-116E-43C6-8BF0-1B951A4E8FBE}"/>
                </a:ext>
              </a:extLst>
            </p:cNvPr>
            <p:cNvSpPr/>
            <p:nvPr/>
          </p:nvSpPr>
          <p:spPr bwMode="gray">
            <a:xfrm flipV="1">
              <a:off x="1312850" y="3603085"/>
              <a:ext cx="21108" cy="45231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hu-HU" sz="11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2" name="Round Same Side Corner Rectangle 39">
              <a:extLst>
                <a:ext uri="{FF2B5EF4-FFF2-40B4-BE49-F238E27FC236}">
                  <a16:creationId xmlns:a16="http://schemas.microsoft.com/office/drawing/2014/main" id="{E5978045-D442-4BBC-85F5-15BAD92B52C6}"/>
                </a:ext>
              </a:extLst>
            </p:cNvPr>
            <p:cNvSpPr/>
            <p:nvPr/>
          </p:nvSpPr>
          <p:spPr bwMode="gray">
            <a:xfrm flipV="1">
              <a:off x="1362714" y="3603085"/>
              <a:ext cx="21108" cy="45231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hu-HU" sz="11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AAA32C12-EC01-4C5A-A527-B7D8D8AE00DB}"/>
                </a:ext>
              </a:extLst>
            </p:cNvPr>
            <p:cNvSpPr/>
            <p:nvPr/>
          </p:nvSpPr>
          <p:spPr bwMode="gray">
            <a:xfrm>
              <a:off x="1329954" y="3531065"/>
              <a:ext cx="36000" cy="36000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hu-HU" sz="11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4C096D6-9225-47B1-BFFD-8BEF50232340}"/>
              </a:ext>
            </a:extLst>
          </p:cNvPr>
          <p:cNvGrpSpPr/>
          <p:nvPr/>
        </p:nvGrpSpPr>
        <p:grpSpPr>
          <a:xfrm>
            <a:off x="4814023" y="3839648"/>
            <a:ext cx="2593097" cy="2149218"/>
            <a:chOff x="582910" y="4047069"/>
            <a:chExt cx="2642778" cy="2579953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E41F92B-813E-43D6-B4EF-EBB54FF154B3}"/>
                </a:ext>
              </a:extLst>
            </p:cNvPr>
            <p:cNvSpPr/>
            <p:nvPr/>
          </p:nvSpPr>
          <p:spPr bwMode="gray">
            <a:xfrm>
              <a:off x="582910" y="4047069"/>
              <a:ext cx="2642778" cy="255534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91440" tIns="91440" rIns="91440" bIns="91440" rtlCol="0" anchor="t"/>
            <a:lstStyle/>
            <a:p>
              <a:pPr algn="l"/>
              <a:r>
                <a:rPr lang="hu-HU" sz="1600" dirty="0">
                  <a:latin typeface="Calibri" panose="020F0502020204030204" pitchFamily="34" charset="0"/>
                </a:rPr>
                <a:t>Az összetevők szerkezete, azok egymás közötti kapcsolatai, a tervezésükre vonatkozó irányelvek és azok fejlődésének követése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6896661A-997A-4EF9-85B9-EB21D6EE5824}"/>
                </a:ext>
              </a:extLst>
            </p:cNvPr>
            <p:cNvSpPr/>
            <p:nvPr/>
          </p:nvSpPr>
          <p:spPr bwMode="gray">
            <a:xfrm>
              <a:off x="756474" y="6539326"/>
              <a:ext cx="2295650" cy="87696"/>
            </a:xfrm>
            <a:prstGeom prst="rect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91440" tIns="91440" r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hu-HU" sz="11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F172FDE-EB05-4D90-A754-B15132CD7012}"/>
              </a:ext>
            </a:extLst>
          </p:cNvPr>
          <p:cNvGrpSpPr/>
          <p:nvPr/>
        </p:nvGrpSpPr>
        <p:grpSpPr>
          <a:xfrm>
            <a:off x="5685344" y="2400565"/>
            <a:ext cx="850454" cy="1406308"/>
            <a:chOff x="757805" y="1635343"/>
            <a:chExt cx="1185062" cy="2012973"/>
          </a:xfrm>
        </p:grpSpPr>
        <p:sp>
          <p:nvSpPr>
            <p:cNvPr id="32" name="Freeform 36">
              <a:extLst>
                <a:ext uri="{FF2B5EF4-FFF2-40B4-BE49-F238E27FC236}">
                  <a16:creationId xmlns:a16="http://schemas.microsoft.com/office/drawing/2014/main" id="{724A29E2-8A47-4F31-9236-E47ACD3BA472}"/>
                </a:ext>
              </a:extLst>
            </p:cNvPr>
            <p:cNvSpPr/>
            <p:nvPr/>
          </p:nvSpPr>
          <p:spPr bwMode="gray">
            <a:xfrm>
              <a:off x="757805" y="1635343"/>
              <a:ext cx="1185062" cy="1921248"/>
            </a:xfrm>
            <a:custGeom>
              <a:avLst/>
              <a:gdLst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73050 w 1162050"/>
                <a:gd name="connsiteY26" fmla="*/ 87312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73050 w 1162050"/>
                <a:gd name="connsiteY26" fmla="*/ 87312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73050 w 1162050"/>
                <a:gd name="connsiteY26" fmla="*/ 87312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65112 w 1162050"/>
                <a:gd name="connsiteY26" fmla="*/ 85724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65112 w 1162050"/>
                <a:gd name="connsiteY26" fmla="*/ 85724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65112 w 1162050"/>
                <a:gd name="connsiteY26" fmla="*/ 85724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65112 w 1162050"/>
                <a:gd name="connsiteY26" fmla="*/ 85724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65112 w 1162050"/>
                <a:gd name="connsiteY26" fmla="*/ 85724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65112 w 1162050"/>
                <a:gd name="connsiteY26" fmla="*/ 85724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7518 w 1162418"/>
                <a:gd name="connsiteY21" fmla="*/ 831850 h 1890712"/>
                <a:gd name="connsiteX22" fmla="*/ 21005 w 1162418"/>
                <a:gd name="connsiteY22" fmla="*/ 727075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7518 w 1162418"/>
                <a:gd name="connsiteY21" fmla="*/ 831850 h 1890712"/>
                <a:gd name="connsiteX22" fmla="*/ 21005 w 1162418"/>
                <a:gd name="connsiteY22" fmla="*/ 727075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7518 w 1162418"/>
                <a:gd name="connsiteY21" fmla="*/ 831850 h 1890712"/>
                <a:gd name="connsiteX22" fmla="*/ 21005 w 1162418"/>
                <a:gd name="connsiteY22" fmla="*/ 727075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7518 w 1162418"/>
                <a:gd name="connsiteY21" fmla="*/ 831850 h 1890712"/>
                <a:gd name="connsiteX22" fmla="*/ 21005 w 1162418"/>
                <a:gd name="connsiteY22" fmla="*/ 727075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7518 w 1162418"/>
                <a:gd name="connsiteY21" fmla="*/ 831850 h 1890712"/>
                <a:gd name="connsiteX22" fmla="*/ 21005 w 1162418"/>
                <a:gd name="connsiteY22" fmla="*/ 727075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7518 w 1162418"/>
                <a:gd name="connsiteY21" fmla="*/ 831850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7518 w 1162418"/>
                <a:gd name="connsiteY21" fmla="*/ 831850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83340 w 1162418"/>
                <a:gd name="connsiteY16" fmla="*/ 129262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83340 w 1162418"/>
                <a:gd name="connsiteY16" fmla="*/ 129262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83340 w 1162418"/>
                <a:gd name="connsiteY16" fmla="*/ 129262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83340 w 1162418"/>
                <a:gd name="connsiteY16" fmla="*/ 129262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2938 h 1892938"/>
                <a:gd name="connsiteX1" fmla="*/ 581393 w 1162418"/>
                <a:gd name="connsiteY1" fmla="*/ 1762763 h 1892938"/>
                <a:gd name="connsiteX2" fmla="*/ 508368 w 1162418"/>
                <a:gd name="connsiteY2" fmla="*/ 1718313 h 1892938"/>
                <a:gd name="connsiteX3" fmla="*/ 475030 w 1162418"/>
                <a:gd name="connsiteY3" fmla="*/ 1678626 h 1892938"/>
                <a:gd name="connsiteX4" fmla="*/ 505193 w 1162418"/>
                <a:gd name="connsiteY4" fmla="*/ 1638938 h 1892938"/>
                <a:gd name="connsiteX5" fmla="*/ 717918 w 1162418"/>
                <a:gd name="connsiteY5" fmla="*/ 1638938 h 1892938"/>
                <a:gd name="connsiteX6" fmla="*/ 746493 w 1162418"/>
                <a:gd name="connsiteY6" fmla="*/ 1591313 h 1892938"/>
                <a:gd name="connsiteX7" fmla="*/ 716330 w 1162418"/>
                <a:gd name="connsiteY7" fmla="*/ 1554801 h 1892938"/>
                <a:gd name="connsiteX8" fmla="*/ 398830 w 1162418"/>
                <a:gd name="connsiteY8" fmla="*/ 1554801 h 1892938"/>
                <a:gd name="connsiteX9" fmla="*/ 360730 w 1162418"/>
                <a:gd name="connsiteY9" fmla="*/ 1516701 h 1892938"/>
                <a:gd name="connsiteX10" fmla="*/ 382955 w 1162418"/>
                <a:gd name="connsiteY10" fmla="*/ 1469076 h 1892938"/>
                <a:gd name="connsiteX11" fmla="*/ 797293 w 1162418"/>
                <a:gd name="connsiteY11" fmla="*/ 1469076 h 1892938"/>
                <a:gd name="connsiteX12" fmla="*/ 830630 w 1162418"/>
                <a:gd name="connsiteY12" fmla="*/ 1421451 h 1892938"/>
                <a:gd name="connsiteX13" fmla="*/ 795705 w 1162418"/>
                <a:gd name="connsiteY13" fmla="*/ 1378588 h 1892938"/>
                <a:gd name="connsiteX14" fmla="*/ 386130 w 1162418"/>
                <a:gd name="connsiteY14" fmla="*/ 1378588 h 1892938"/>
                <a:gd name="connsiteX15" fmla="*/ 322630 w 1162418"/>
                <a:gd name="connsiteY15" fmla="*/ 1346838 h 1892938"/>
                <a:gd name="connsiteX16" fmla="*/ 283340 w 1162418"/>
                <a:gd name="connsiteY16" fmla="*/ 1294848 h 1892938"/>
                <a:gd name="connsiteX17" fmla="*/ 271830 w 1162418"/>
                <a:gd name="connsiteY17" fmla="*/ 1202376 h 1892938"/>
                <a:gd name="connsiteX18" fmla="*/ 260718 w 1162418"/>
                <a:gd name="connsiteY18" fmla="*/ 1123001 h 1892938"/>
                <a:gd name="connsiteX19" fmla="*/ 205155 w 1162418"/>
                <a:gd name="connsiteY19" fmla="*/ 1032513 h 1892938"/>
                <a:gd name="connsiteX20" fmla="*/ 130543 w 1162418"/>
                <a:gd name="connsiteY20" fmla="*/ 949963 h 1892938"/>
                <a:gd name="connsiteX21" fmla="*/ 55137 w 1162418"/>
                <a:gd name="connsiteY21" fmla="*/ 840029 h 1892938"/>
                <a:gd name="connsiteX22" fmla="*/ 13861 w 1162418"/>
                <a:gd name="connsiteY22" fmla="*/ 730492 h 1892938"/>
                <a:gd name="connsiteX23" fmla="*/ 368 w 1162418"/>
                <a:gd name="connsiteY23" fmla="*/ 595951 h 1892938"/>
                <a:gd name="connsiteX24" fmla="*/ 11480 w 1162418"/>
                <a:gd name="connsiteY24" fmla="*/ 470538 h 1892938"/>
                <a:gd name="connsiteX25" fmla="*/ 81330 w 1162418"/>
                <a:gd name="connsiteY25" fmla="*/ 280038 h 1892938"/>
                <a:gd name="connsiteX26" fmla="*/ 265480 w 1162418"/>
                <a:gd name="connsiteY26" fmla="*/ 87950 h 1892938"/>
                <a:gd name="connsiteX27" fmla="*/ 519480 w 1162418"/>
                <a:gd name="connsiteY27" fmla="*/ 2226 h 1892938"/>
                <a:gd name="connsiteX28" fmla="*/ 705218 w 1162418"/>
                <a:gd name="connsiteY28" fmla="*/ 5401 h 1892938"/>
                <a:gd name="connsiteX29" fmla="*/ 943343 w 1162418"/>
                <a:gd name="connsiteY29" fmla="*/ 116526 h 1892938"/>
                <a:gd name="connsiteX30" fmla="*/ 1100505 w 1162418"/>
                <a:gd name="connsiteY30" fmla="*/ 305438 h 1892938"/>
                <a:gd name="connsiteX31" fmla="*/ 1162418 w 1162418"/>
                <a:gd name="connsiteY31" fmla="*/ 508638 h 1892938"/>
                <a:gd name="connsiteX32" fmla="*/ 1159243 w 1162418"/>
                <a:gd name="connsiteY32" fmla="*/ 678501 h 1892938"/>
                <a:gd name="connsiteX33" fmla="*/ 1090980 w 1162418"/>
                <a:gd name="connsiteY33" fmla="*/ 884876 h 1892938"/>
                <a:gd name="connsiteX34" fmla="*/ 957630 w 1162418"/>
                <a:gd name="connsiteY34" fmla="*/ 1053151 h 1892938"/>
                <a:gd name="connsiteX35" fmla="*/ 914768 w 1162418"/>
                <a:gd name="connsiteY35" fmla="*/ 1113476 h 1892938"/>
                <a:gd name="connsiteX36" fmla="*/ 905243 w 1162418"/>
                <a:gd name="connsiteY36" fmla="*/ 1170626 h 1892938"/>
                <a:gd name="connsiteX37" fmla="*/ 905243 w 1162418"/>
                <a:gd name="connsiteY37" fmla="*/ 1259526 h 1892938"/>
                <a:gd name="connsiteX38" fmla="*/ 868730 w 1162418"/>
                <a:gd name="connsiteY38" fmla="*/ 1296038 h 1892938"/>
                <a:gd name="connsiteX39" fmla="*/ 641718 w 1162418"/>
                <a:gd name="connsiteY39" fmla="*/ 1296038 h 1892938"/>
                <a:gd name="connsiteX40" fmla="*/ 590918 w 1162418"/>
                <a:gd name="connsiteY40" fmla="*/ 1273813 h 1892938"/>
                <a:gd name="connsiteX41" fmla="*/ 590918 w 1162418"/>
                <a:gd name="connsiteY41" fmla="*/ 1207138 h 1892938"/>
                <a:gd name="connsiteX0" fmla="*/ 584568 w 1162418"/>
                <a:gd name="connsiteY0" fmla="*/ 1895823 h 1895823"/>
                <a:gd name="connsiteX1" fmla="*/ 581393 w 1162418"/>
                <a:gd name="connsiteY1" fmla="*/ 1765648 h 1895823"/>
                <a:gd name="connsiteX2" fmla="*/ 508368 w 1162418"/>
                <a:gd name="connsiteY2" fmla="*/ 1721198 h 1895823"/>
                <a:gd name="connsiteX3" fmla="*/ 475030 w 1162418"/>
                <a:gd name="connsiteY3" fmla="*/ 1681511 h 1895823"/>
                <a:gd name="connsiteX4" fmla="*/ 505193 w 1162418"/>
                <a:gd name="connsiteY4" fmla="*/ 1641823 h 1895823"/>
                <a:gd name="connsiteX5" fmla="*/ 717918 w 1162418"/>
                <a:gd name="connsiteY5" fmla="*/ 1641823 h 1895823"/>
                <a:gd name="connsiteX6" fmla="*/ 746493 w 1162418"/>
                <a:gd name="connsiteY6" fmla="*/ 1594198 h 1895823"/>
                <a:gd name="connsiteX7" fmla="*/ 716330 w 1162418"/>
                <a:gd name="connsiteY7" fmla="*/ 1557686 h 1895823"/>
                <a:gd name="connsiteX8" fmla="*/ 398830 w 1162418"/>
                <a:gd name="connsiteY8" fmla="*/ 1557686 h 1895823"/>
                <a:gd name="connsiteX9" fmla="*/ 360730 w 1162418"/>
                <a:gd name="connsiteY9" fmla="*/ 1519586 h 1895823"/>
                <a:gd name="connsiteX10" fmla="*/ 382955 w 1162418"/>
                <a:gd name="connsiteY10" fmla="*/ 1471961 h 1895823"/>
                <a:gd name="connsiteX11" fmla="*/ 797293 w 1162418"/>
                <a:gd name="connsiteY11" fmla="*/ 1471961 h 1895823"/>
                <a:gd name="connsiteX12" fmla="*/ 830630 w 1162418"/>
                <a:gd name="connsiteY12" fmla="*/ 1424336 h 1895823"/>
                <a:gd name="connsiteX13" fmla="*/ 795705 w 1162418"/>
                <a:gd name="connsiteY13" fmla="*/ 1381473 h 1895823"/>
                <a:gd name="connsiteX14" fmla="*/ 386130 w 1162418"/>
                <a:gd name="connsiteY14" fmla="*/ 1381473 h 1895823"/>
                <a:gd name="connsiteX15" fmla="*/ 322630 w 1162418"/>
                <a:gd name="connsiteY15" fmla="*/ 1349723 h 1895823"/>
                <a:gd name="connsiteX16" fmla="*/ 283340 w 1162418"/>
                <a:gd name="connsiteY16" fmla="*/ 1297733 h 1895823"/>
                <a:gd name="connsiteX17" fmla="*/ 271830 w 1162418"/>
                <a:gd name="connsiteY17" fmla="*/ 1205261 h 1895823"/>
                <a:gd name="connsiteX18" fmla="*/ 260718 w 1162418"/>
                <a:gd name="connsiteY18" fmla="*/ 1125886 h 1895823"/>
                <a:gd name="connsiteX19" fmla="*/ 205155 w 1162418"/>
                <a:gd name="connsiteY19" fmla="*/ 1035398 h 1895823"/>
                <a:gd name="connsiteX20" fmla="*/ 130543 w 1162418"/>
                <a:gd name="connsiteY20" fmla="*/ 952848 h 1895823"/>
                <a:gd name="connsiteX21" fmla="*/ 55137 w 1162418"/>
                <a:gd name="connsiteY21" fmla="*/ 842914 h 1895823"/>
                <a:gd name="connsiteX22" fmla="*/ 13861 w 1162418"/>
                <a:gd name="connsiteY22" fmla="*/ 733377 h 1895823"/>
                <a:gd name="connsiteX23" fmla="*/ 368 w 1162418"/>
                <a:gd name="connsiteY23" fmla="*/ 598836 h 1895823"/>
                <a:gd name="connsiteX24" fmla="*/ 11480 w 1162418"/>
                <a:gd name="connsiteY24" fmla="*/ 473423 h 1895823"/>
                <a:gd name="connsiteX25" fmla="*/ 81330 w 1162418"/>
                <a:gd name="connsiteY25" fmla="*/ 282923 h 1895823"/>
                <a:gd name="connsiteX26" fmla="*/ 265480 w 1162418"/>
                <a:gd name="connsiteY26" fmla="*/ 90835 h 1895823"/>
                <a:gd name="connsiteX27" fmla="*/ 519480 w 1162418"/>
                <a:gd name="connsiteY27" fmla="*/ 5111 h 1895823"/>
                <a:gd name="connsiteX28" fmla="*/ 705218 w 1162418"/>
                <a:gd name="connsiteY28" fmla="*/ 8286 h 1895823"/>
                <a:gd name="connsiteX29" fmla="*/ 943343 w 1162418"/>
                <a:gd name="connsiteY29" fmla="*/ 119411 h 1895823"/>
                <a:gd name="connsiteX30" fmla="*/ 1100505 w 1162418"/>
                <a:gd name="connsiteY30" fmla="*/ 308323 h 1895823"/>
                <a:gd name="connsiteX31" fmla="*/ 1162418 w 1162418"/>
                <a:gd name="connsiteY31" fmla="*/ 511523 h 1895823"/>
                <a:gd name="connsiteX32" fmla="*/ 1159243 w 1162418"/>
                <a:gd name="connsiteY32" fmla="*/ 681386 h 1895823"/>
                <a:gd name="connsiteX33" fmla="*/ 1090980 w 1162418"/>
                <a:gd name="connsiteY33" fmla="*/ 887761 h 1895823"/>
                <a:gd name="connsiteX34" fmla="*/ 957630 w 1162418"/>
                <a:gd name="connsiteY34" fmla="*/ 1056036 h 1895823"/>
                <a:gd name="connsiteX35" fmla="*/ 914768 w 1162418"/>
                <a:gd name="connsiteY35" fmla="*/ 1116361 h 1895823"/>
                <a:gd name="connsiteX36" fmla="*/ 905243 w 1162418"/>
                <a:gd name="connsiteY36" fmla="*/ 1173511 h 1895823"/>
                <a:gd name="connsiteX37" fmla="*/ 905243 w 1162418"/>
                <a:gd name="connsiteY37" fmla="*/ 1262411 h 1895823"/>
                <a:gd name="connsiteX38" fmla="*/ 868730 w 1162418"/>
                <a:gd name="connsiteY38" fmla="*/ 1298923 h 1895823"/>
                <a:gd name="connsiteX39" fmla="*/ 641718 w 1162418"/>
                <a:gd name="connsiteY39" fmla="*/ 1298923 h 1895823"/>
                <a:gd name="connsiteX40" fmla="*/ 590918 w 1162418"/>
                <a:gd name="connsiteY40" fmla="*/ 1276698 h 1895823"/>
                <a:gd name="connsiteX41" fmla="*/ 590918 w 1162418"/>
                <a:gd name="connsiteY41" fmla="*/ 1210023 h 1895823"/>
                <a:gd name="connsiteX0" fmla="*/ 584568 w 1162418"/>
                <a:gd name="connsiteY0" fmla="*/ 1897931 h 1897931"/>
                <a:gd name="connsiteX1" fmla="*/ 581393 w 1162418"/>
                <a:gd name="connsiteY1" fmla="*/ 1767756 h 1897931"/>
                <a:gd name="connsiteX2" fmla="*/ 508368 w 1162418"/>
                <a:gd name="connsiteY2" fmla="*/ 1723306 h 1897931"/>
                <a:gd name="connsiteX3" fmla="*/ 475030 w 1162418"/>
                <a:gd name="connsiteY3" fmla="*/ 1683619 h 1897931"/>
                <a:gd name="connsiteX4" fmla="*/ 505193 w 1162418"/>
                <a:gd name="connsiteY4" fmla="*/ 1643931 h 1897931"/>
                <a:gd name="connsiteX5" fmla="*/ 717918 w 1162418"/>
                <a:gd name="connsiteY5" fmla="*/ 1643931 h 1897931"/>
                <a:gd name="connsiteX6" fmla="*/ 746493 w 1162418"/>
                <a:gd name="connsiteY6" fmla="*/ 1596306 h 1897931"/>
                <a:gd name="connsiteX7" fmla="*/ 716330 w 1162418"/>
                <a:gd name="connsiteY7" fmla="*/ 1559794 h 1897931"/>
                <a:gd name="connsiteX8" fmla="*/ 398830 w 1162418"/>
                <a:gd name="connsiteY8" fmla="*/ 1559794 h 1897931"/>
                <a:gd name="connsiteX9" fmla="*/ 360730 w 1162418"/>
                <a:gd name="connsiteY9" fmla="*/ 1521694 h 1897931"/>
                <a:gd name="connsiteX10" fmla="*/ 382955 w 1162418"/>
                <a:gd name="connsiteY10" fmla="*/ 1474069 h 1897931"/>
                <a:gd name="connsiteX11" fmla="*/ 797293 w 1162418"/>
                <a:gd name="connsiteY11" fmla="*/ 1474069 h 1897931"/>
                <a:gd name="connsiteX12" fmla="*/ 830630 w 1162418"/>
                <a:gd name="connsiteY12" fmla="*/ 1426444 h 1897931"/>
                <a:gd name="connsiteX13" fmla="*/ 795705 w 1162418"/>
                <a:gd name="connsiteY13" fmla="*/ 1383581 h 1897931"/>
                <a:gd name="connsiteX14" fmla="*/ 386130 w 1162418"/>
                <a:gd name="connsiteY14" fmla="*/ 1383581 h 1897931"/>
                <a:gd name="connsiteX15" fmla="*/ 322630 w 1162418"/>
                <a:gd name="connsiteY15" fmla="*/ 1351831 h 1897931"/>
                <a:gd name="connsiteX16" fmla="*/ 283340 w 1162418"/>
                <a:gd name="connsiteY16" fmla="*/ 1299841 h 1897931"/>
                <a:gd name="connsiteX17" fmla="*/ 271830 w 1162418"/>
                <a:gd name="connsiteY17" fmla="*/ 1207369 h 1897931"/>
                <a:gd name="connsiteX18" fmla="*/ 260718 w 1162418"/>
                <a:gd name="connsiteY18" fmla="*/ 1127994 h 1897931"/>
                <a:gd name="connsiteX19" fmla="*/ 205155 w 1162418"/>
                <a:gd name="connsiteY19" fmla="*/ 1037506 h 1897931"/>
                <a:gd name="connsiteX20" fmla="*/ 130543 w 1162418"/>
                <a:gd name="connsiteY20" fmla="*/ 954956 h 1897931"/>
                <a:gd name="connsiteX21" fmla="*/ 55137 w 1162418"/>
                <a:gd name="connsiteY21" fmla="*/ 845022 h 1897931"/>
                <a:gd name="connsiteX22" fmla="*/ 13861 w 1162418"/>
                <a:gd name="connsiteY22" fmla="*/ 735485 h 1897931"/>
                <a:gd name="connsiteX23" fmla="*/ 368 w 1162418"/>
                <a:gd name="connsiteY23" fmla="*/ 600944 h 1897931"/>
                <a:gd name="connsiteX24" fmla="*/ 11480 w 1162418"/>
                <a:gd name="connsiteY24" fmla="*/ 475531 h 1897931"/>
                <a:gd name="connsiteX25" fmla="*/ 81330 w 1162418"/>
                <a:gd name="connsiteY25" fmla="*/ 285031 h 1897931"/>
                <a:gd name="connsiteX26" fmla="*/ 265480 w 1162418"/>
                <a:gd name="connsiteY26" fmla="*/ 92943 h 1897931"/>
                <a:gd name="connsiteX27" fmla="*/ 519480 w 1162418"/>
                <a:gd name="connsiteY27" fmla="*/ 3648 h 1897931"/>
                <a:gd name="connsiteX28" fmla="*/ 705218 w 1162418"/>
                <a:gd name="connsiteY28" fmla="*/ 10394 h 1897931"/>
                <a:gd name="connsiteX29" fmla="*/ 943343 w 1162418"/>
                <a:gd name="connsiteY29" fmla="*/ 121519 h 1897931"/>
                <a:gd name="connsiteX30" fmla="*/ 1100505 w 1162418"/>
                <a:gd name="connsiteY30" fmla="*/ 310431 h 1897931"/>
                <a:gd name="connsiteX31" fmla="*/ 1162418 w 1162418"/>
                <a:gd name="connsiteY31" fmla="*/ 513631 h 1897931"/>
                <a:gd name="connsiteX32" fmla="*/ 1159243 w 1162418"/>
                <a:gd name="connsiteY32" fmla="*/ 683494 h 1897931"/>
                <a:gd name="connsiteX33" fmla="*/ 1090980 w 1162418"/>
                <a:gd name="connsiteY33" fmla="*/ 889869 h 1897931"/>
                <a:gd name="connsiteX34" fmla="*/ 957630 w 1162418"/>
                <a:gd name="connsiteY34" fmla="*/ 1058144 h 1897931"/>
                <a:gd name="connsiteX35" fmla="*/ 914768 w 1162418"/>
                <a:gd name="connsiteY35" fmla="*/ 1118469 h 1897931"/>
                <a:gd name="connsiteX36" fmla="*/ 905243 w 1162418"/>
                <a:gd name="connsiteY36" fmla="*/ 1175619 h 1897931"/>
                <a:gd name="connsiteX37" fmla="*/ 905243 w 1162418"/>
                <a:gd name="connsiteY37" fmla="*/ 1264519 h 1897931"/>
                <a:gd name="connsiteX38" fmla="*/ 868730 w 1162418"/>
                <a:gd name="connsiteY38" fmla="*/ 1301031 h 1897931"/>
                <a:gd name="connsiteX39" fmla="*/ 641718 w 1162418"/>
                <a:gd name="connsiteY39" fmla="*/ 1301031 h 1897931"/>
                <a:gd name="connsiteX40" fmla="*/ 590918 w 1162418"/>
                <a:gd name="connsiteY40" fmla="*/ 1278806 h 1897931"/>
                <a:gd name="connsiteX41" fmla="*/ 590918 w 1162418"/>
                <a:gd name="connsiteY41" fmla="*/ 1212131 h 1897931"/>
                <a:gd name="connsiteX0" fmla="*/ 584568 w 1162418"/>
                <a:gd name="connsiteY0" fmla="*/ 1897931 h 1897931"/>
                <a:gd name="connsiteX1" fmla="*/ 581393 w 1162418"/>
                <a:gd name="connsiteY1" fmla="*/ 1767756 h 1897931"/>
                <a:gd name="connsiteX2" fmla="*/ 508368 w 1162418"/>
                <a:gd name="connsiteY2" fmla="*/ 1723306 h 1897931"/>
                <a:gd name="connsiteX3" fmla="*/ 475030 w 1162418"/>
                <a:gd name="connsiteY3" fmla="*/ 1683619 h 1897931"/>
                <a:gd name="connsiteX4" fmla="*/ 505193 w 1162418"/>
                <a:gd name="connsiteY4" fmla="*/ 1643931 h 1897931"/>
                <a:gd name="connsiteX5" fmla="*/ 717918 w 1162418"/>
                <a:gd name="connsiteY5" fmla="*/ 1643931 h 1897931"/>
                <a:gd name="connsiteX6" fmla="*/ 746493 w 1162418"/>
                <a:gd name="connsiteY6" fmla="*/ 1596306 h 1897931"/>
                <a:gd name="connsiteX7" fmla="*/ 716330 w 1162418"/>
                <a:gd name="connsiteY7" fmla="*/ 1559794 h 1897931"/>
                <a:gd name="connsiteX8" fmla="*/ 398830 w 1162418"/>
                <a:gd name="connsiteY8" fmla="*/ 1559794 h 1897931"/>
                <a:gd name="connsiteX9" fmla="*/ 360730 w 1162418"/>
                <a:gd name="connsiteY9" fmla="*/ 1521694 h 1897931"/>
                <a:gd name="connsiteX10" fmla="*/ 382955 w 1162418"/>
                <a:gd name="connsiteY10" fmla="*/ 1474069 h 1897931"/>
                <a:gd name="connsiteX11" fmla="*/ 797293 w 1162418"/>
                <a:gd name="connsiteY11" fmla="*/ 1474069 h 1897931"/>
                <a:gd name="connsiteX12" fmla="*/ 830630 w 1162418"/>
                <a:gd name="connsiteY12" fmla="*/ 1426444 h 1897931"/>
                <a:gd name="connsiteX13" fmla="*/ 795705 w 1162418"/>
                <a:gd name="connsiteY13" fmla="*/ 1383581 h 1897931"/>
                <a:gd name="connsiteX14" fmla="*/ 386130 w 1162418"/>
                <a:gd name="connsiteY14" fmla="*/ 1383581 h 1897931"/>
                <a:gd name="connsiteX15" fmla="*/ 322630 w 1162418"/>
                <a:gd name="connsiteY15" fmla="*/ 1351831 h 1897931"/>
                <a:gd name="connsiteX16" fmla="*/ 283340 w 1162418"/>
                <a:gd name="connsiteY16" fmla="*/ 1299841 h 1897931"/>
                <a:gd name="connsiteX17" fmla="*/ 271830 w 1162418"/>
                <a:gd name="connsiteY17" fmla="*/ 1207369 h 1897931"/>
                <a:gd name="connsiteX18" fmla="*/ 260718 w 1162418"/>
                <a:gd name="connsiteY18" fmla="*/ 1127994 h 1897931"/>
                <a:gd name="connsiteX19" fmla="*/ 205155 w 1162418"/>
                <a:gd name="connsiteY19" fmla="*/ 1037506 h 1897931"/>
                <a:gd name="connsiteX20" fmla="*/ 130543 w 1162418"/>
                <a:gd name="connsiteY20" fmla="*/ 954956 h 1897931"/>
                <a:gd name="connsiteX21" fmla="*/ 55137 w 1162418"/>
                <a:gd name="connsiteY21" fmla="*/ 845022 h 1897931"/>
                <a:gd name="connsiteX22" fmla="*/ 13861 w 1162418"/>
                <a:gd name="connsiteY22" fmla="*/ 735485 h 1897931"/>
                <a:gd name="connsiteX23" fmla="*/ 368 w 1162418"/>
                <a:gd name="connsiteY23" fmla="*/ 600944 h 1897931"/>
                <a:gd name="connsiteX24" fmla="*/ 11480 w 1162418"/>
                <a:gd name="connsiteY24" fmla="*/ 475531 h 1897931"/>
                <a:gd name="connsiteX25" fmla="*/ 81330 w 1162418"/>
                <a:gd name="connsiteY25" fmla="*/ 285031 h 1897931"/>
                <a:gd name="connsiteX26" fmla="*/ 265480 w 1162418"/>
                <a:gd name="connsiteY26" fmla="*/ 92943 h 1897931"/>
                <a:gd name="connsiteX27" fmla="*/ 519480 w 1162418"/>
                <a:gd name="connsiteY27" fmla="*/ 3648 h 1897931"/>
                <a:gd name="connsiteX28" fmla="*/ 705218 w 1162418"/>
                <a:gd name="connsiteY28" fmla="*/ 10394 h 1897931"/>
                <a:gd name="connsiteX29" fmla="*/ 943343 w 1162418"/>
                <a:gd name="connsiteY29" fmla="*/ 121519 h 1897931"/>
                <a:gd name="connsiteX30" fmla="*/ 1100505 w 1162418"/>
                <a:gd name="connsiteY30" fmla="*/ 310431 h 1897931"/>
                <a:gd name="connsiteX31" fmla="*/ 1162418 w 1162418"/>
                <a:gd name="connsiteY31" fmla="*/ 513631 h 1897931"/>
                <a:gd name="connsiteX32" fmla="*/ 1159243 w 1162418"/>
                <a:gd name="connsiteY32" fmla="*/ 683494 h 1897931"/>
                <a:gd name="connsiteX33" fmla="*/ 1090980 w 1162418"/>
                <a:gd name="connsiteY33" fmla="*/ 889869 h 1897931"/>
                <a:gd name="connsiteX34" fmla="*/ 957630 w 1162418"/>
                <a:gd name="connsiteY34" fmla="*/ 1058144 h 1897931"/>
                <a:gd name="connsiteX35" fmla="*/ 914768 w 1162418"/>
                <a:gd name="connsiteY35" fmla="*/ 1118469 h 1897931"/>
                <a:gd name="connsiteX36" fmla="*/ 905243 w 1162418"/>
                <a:gd name="connsiteY36" fmla="*/ 1175619 h 1897931"/>
                <a:gd name="connsiteX37" fmla="*/ 905243 w 1162418"/>
                <a:gd name="connsiteY37" fmla="*/ 1264519 h 1897931"/>
                <a:gd name="connsiteX38" fmla="*/ 868730 w 1162418"/>
                <a:gd name="connsiteY38" fmla="*/ 1301031 h 1897931"/>
                <a:gd name="connsiteX39" fmla="*/ 641718 w 1162418"/>
                <a:gd name="connsiteY39" fmla="*/ 1301031 h 1897931"/>
                <a:gd name="connsiteX40" fmla="*/ 590918 w 1162418"/>
                <a:gd name="connsiteY40" fmla="*/ 1278806 h 1897931"/>
                <a:gd name="connsiteX41" fmla="*/ 590918 w 1162418"/>
                <a:gd name="connsiteY41" fmla="*/ 1212131 h 1897931"/>
                <a:gd name="connsiteX0" fmla="*/ 584568 w 1162418"/>
                <a:gd name="connsiteY0" fmla="*/ 1894283 h 1894283"/>
                <a:gd name="connsiteX1" fmla="*/ 581393 w 1162418"/>
                <a:gd name="connsiteY1" fmla="*/ 1764108 h 1894283"/>
                <a:gd name="connsiteX2" fmla="*/ 508368 w 1162418"/>
                <a:gd name="connsiteY2" fmla="*/ 1719658 h 1894283"/>
                <a:gd name="connsiteX3" fmla="*/ 475030 w 1162418"/>
                <a:gd name="connsiteY3" fmla="*/ 1679971 h 1894283"/>
                <a:gd name="connsiteX4" fmla="*/ 505193 w 1162418"/>
                <a:gd name="connsiteY4" fmla="*/ 1640283 h 1894283"/>
                <a:gd name="connsiteX5" fmla="*/ 717918 w 1162418"/>
                <a:gd name="connsiteY5" fmla="*/ 1640283 h 1894283"/>
                <a:gd name="connsiteX6" fmla="*/ 746493 w 1162418"/>
                <a:gd name="connsiteY6" fmla="*/ 1592658 h 1894283"/>
                <a:gd name="connsiteX7" fmla="*/ 716330 w 1162418"/>
                <a:gd name="connsiteY7" fmla="*/ 1556146 h 1894283"/>
                <a:gd name="connsiteX8" fmla="*/ 398830 w 1162418"/>
                <a:gd name="connsiteY8" fmla="*/ 1556146 h 1894283"/>
                <a:gd name="connsiteX9" fmla="*/ 360730 w 1162418"/>
                <a:gd name="connsiteY9" fmla="*/ 1518046 h 1894283"/>
                <a:gd name="connsiteX10" fmla="*/ 382955 w 1162418"/>
                <a:gd name="connsiteY10" fmla="*/ 1470421 h 1894283"/>
                <a:gd name="connsiteX11" fmla="*/ 797293 w 1162418"/>
                <a:gd name="connsiteY11" fmla="*/ 1470421 h 1894283"/>
                <a:gd name="connsiteX12" fmla="*/ 830630 w 1162418"/>
                <a:gd name="connsiteY12" fmla="*/ 1422796 h 1894283"/>
                <a:gd name="connsiteX13" fmla="*/ 795705 w 1162418"/>
                <a:gd name="connsiteY13" fmla="*/ 1379933 h 1894283"/>
                <a:gd name="connsiteX14" fmla="*/ 386130 w 1162418"/>
                <a:gd name="connsiteY14" fmla="*/ 1379933 h 1894283"/>
                <a:gd name="connsiteX15" fmla="*/ 322630 w 1162418"/>
                <a:gd name="connsiteY15" fmla="*/ 1348183 h 1894283"/>
                <a:gd name="connsiteX16" fmla="*/ 283340 w 1162418"/>
                <a:gd name="connsiteY16" fmla="*/ 1296193 h 1894283"/>
                <a:gd name="connsiteX17" fmla="*/ 271830 w 1162418"/>
                <a:gd name="connsiteY17" fmla="*/ 1203721 h 1894283"/>
                <a:gd name="connsiteX18" fmla="*/ 260718 w 1162418"/>
                <a:gd name="connsiteY18" fmla="*/ 1124346 h 1894283"/>
                <a:gd name="connsiteX19" fmla="*/ 205155 w 1162418"/>
                <a:gd name="connsiteY19" fmla="*/ 1033858 h 1894283"/>
                <a:gd name="connsiteX20" fmla="*/ 130543 w 1162418"/>
                <a:gd name="connsiteY20" fmla="*/ 951308 h 1894283"/>
                <a:gd name="connsiteX21" fmla="*/ 55137 w 1162418"/>
                <a:gd name="connsiteY21" fmla="*/ 841374 h 1894283"/>
                <a:gd name="connsiteX22" fmla="*/ 13861 w 1162418"/>
                <a:gd name="connsiteY22" fmla="*/ 731837 h 1894283"/>
                <a:gd name="connsiteX23" fmla="*/ 368 w 1162418"/>
                <a:gd name="connsiteY23" fmla="*/ 597296 h 1894283"/>
                <a:gd name="connsiteX24" fmla="*/ 11480 w 1162418"/>
                <a:gd name="connsiteY24" fmla="*/ 471883 h 1894283"/>
                <a:gd name="connsiteX25" fmla="*/ 81330 w 1162418"/>
                <a:gd name="connsiteY25" fmla="*/ 281383 h 1894283"/>
                <a:gd name="connsiteX26" fmla="*/ 265480 w 1162418"/>
                <a:gd name="connsiteY26" fmla="*/ 89295 h 1894283"/>
                <a:gd name="connsiteX27" fmla="*/ 519480 w 1162418"/>
                <a:gd name="connsiteY27" fmla="*/ 0 h 1894283"/>
                <a:gd name="connsiteX28" fmla="*/ 705218 w 1162418"/>
                <a:gd name="connsiteY28" fmla="*/ 6746 h 1894283"/>
                <a:gd name="connsiteX29" fmla="*/ 943343 w 1162418"/>
                <a:gd name="connsiteY29" fmla="*/ 117871 h 1894283"/>
                <a:gd name="connsiteX30" fmla="*/ 1100505 w 1162418"/>
                <a:gd name="connsiteY30" fmla="*/ 306783 h 1894283"/>
                <a:gd name="connsiteX31" fmla="*/ 1162418 w 1162418"/>
                <a:gd name="connsiteY31" fmla="*/ 509983 h 1894283"/>
                <a:gd name="connsiteX32" fmla="*/ 1159243 w 1162418"/>
                <a:gd name="connsiteY32" fmla="*/ 679846 h 1894283"/>
                <a:gd name="connsiteX33" fmla="*/ 1090980 w 1162418"/>
                <a:gd name="connsiteY33" fmla="*/ 886221 h 1894283"/>
                <a:gd name="connsiteX34" fmla="*/ 957630 w 1162418"/>
                <a:gd name="connsiteY34" fmla="*/ 1054496 h 1894283"/>
                <a:gd name="connsiteX35" fmla="*/ 914768 w 1162418"/>
                <a:gd name="connsiteY35" fmla="*/ 1114821 h 1894283"/>
                <a:gd name="connsiteX36" fmla="*/ 905243 w 1162418"/>
                <a:gd name="connsiteY36" fmla="*/ 1171971 h 1894283"/>
                <a:gd name="connsiteX37" fmla="*/ 905243 w 1162418"/>
                <a:gd name="connsiteY37" fmla="*/ 1260871 h 1894283"/>
                <a:gd name="connsiteX38" fmla="*/ 868730 w 1162418"/>
                <a:gd name="connsiteY38" fmla="*/ 1297383 h 1894283"/>
                <a:gd name="connsiteX39" fmla="*/ 641718 w 1162418"/>
                <a:gd name="connsiteY39" fmla="*/ 1297383 h 1894283"/>
                <a:gd name="connsiteX40" fmla="*/ 590918 w 1162418"/>
                <a:gd name="connsiteY40" fmla="*/ 1275158 h 1894283"/>
                <a:gd name="connsiteX41" fmla="*/ 590918 w 1162418"/>
                <a:gd name="connsiteY41" fmla="*/ 1208483 h 1894283"/>
                <a:gd name="connsiteX0" fmla="*/ 584568 w 1162418"/>
                <a:gd name="connsiteY0" fmla="*/ 1896145 h 1896145"/>
                <a:gd name="connsiteX1" fmla="*/ 581393 w 1162418"/>
                <a:gd name="connsiteY1" fmla="*/ 1765970 h 1896145"/>
                <a:gd name="connsiteX2" fmla="*/ 508368 w 1162418"/>
                <a:gd name="connsiteY2" fmla="*/ 1721520 h 1896145"/>
                <a:gd name="connsiteX3" fmla="*/ 475030 w 1162418"/>
                <a:gd name="connsiteY3" fmla="*/ 1681833 h 1896145"/>
                <a:gd name="connsiteX4" fmla="*/ 505193 w 1162418"/>
                <a:gd name="connsiteY4" fmla="*/ 1642145 h 1896145"/>
                <a:gd name="connsiteX5" fmla="*/ 717918 w 1162418"/>
                <a:gd name="connsiteY5" fmla="*/ 1642145 h 1896145"/>
                <a:gd name="connsiteX6" fmla="*/ 746493 w 1162418"/>
                <a:gd name="connsiteY6" fmla="*/ 1594520 h 1896145"/>
                <a:gd name="connsiteX7" fmla="*/ 716330 w 1162418"/>
                <a:gd name="connsiteY7" fmla="*/ 1558008 h 1896145"/>
                <a:gd name="connsiteX8" fmla="*/ 398830 w 1162418"/>
                <a:gd name="connsiteY8" fmla="*/ 1558008 h 1896145"/>
                <a:gd name="connsiteX9" fmla="*/ 360730 w 1162418"/>
                <a:gd name="connsiteY9" fmla="*/ 1519908 h 1896145"/>
                <a:gd name="connsiteX10" fmla="*/ 382955 w 1162418"/>
                <a:gd name="connsiteY10" fmla="*/ 1472283 h 1896145"/>
                <a:gd name="connsiteX11" fmla="*/ 797293 w 1162418"/>
                <a:gd name="connsiteY11" fmla="*/ 1472283 h 1896145"/>
                <a:gd name="connsiteX12" fmla="*/ 830630 w 1162418"/>
                <a:gd name="connsiteY12" fmla="*/ 1424658 h 1896145"/>
                <a:gd name="connsiteX13" fmla="*/ 795705 w 1162418"/>
                <a:gd name="connsiteY13" fmla="*/ 1381795 h 1896145"/>
                <a:gd name="connsiteX14" fmla="*/ 386130 w 1162418"/>
                <a:gd name="connsiteY14" fmla="*/ 1381795 h 1896145"/>
                <a:gd name="connsiteX15" fmla="*/ 322630 w 1162418"/>
                <a:gd name="connsiteY15" fmla="*/ 1350045 h 1896145"/>
                <a:gd name="connsiteX16" fmla="*/ 283340 w 1162418"/>
                <a:gd name="connsiteY16" fmla="*/ 1298055 h 1896145"/>
                <a:gd name="connsiteX17" fmla="*/ 271830 w 1162418"/>
                <a:gd name="connsiteY17" fmla="*/ 1205583 h 1896145"/>
                <a:gd name="connsiteX18" fmla="*/ 260718 w 1162418"/>
                <a:gd name="connsiteY18" fmla="*/ 1126208 h 1896145"/>
                <a:gd name="connsiteX19" fmla="*/ 205155 w 1162418"/>
                <a:gd name="connsiteY19" fmla="*/ 1035720 h 1896145"/>
                <a:gd name="connsiteX20" fmla="*/ 130543 w 1162418"/>
                <a:gd name="connsiteY20" fmla="*/ 953170 h 1896145"/>
                <a:gd name="connsiteX21" fmla="*/ 55137 w 1162418"/>
                <a:gd name="connsiteY21" fmla="*/ 843236 h 1896145"/>
                <a:gd name="connsiteX22" fmla="*/ 13861 w 1162418"/>
                <a:gd name="connsiteY22" fmla="*/ 733699 h 1896145"/>
                <a:gd name="connsiteX23" fmla="*/ 368 w 1162418"/>
                <a:gd name="connsiteY23" fmla="*/ 599158 h 1896145"/>
                <a:gd name="connsiteX24" fmla="*/ 11480 w 1162418"/>
                <a:gd name="connsiteY24" fmla="*/ 473745 h 1896145"/>
                <a:gd name="connsiteX25" fmla="*/ 81330 w 1162418"/>
                <a:gd name="connsiteY25" fmla="*/ 283245 h 1896145"/>
                <a:gd name="connsiteX26" fmla="*/ 265480 w 1162418"/>
                <a:gd name="connsiteY26" fmla="*/ 91157 h 1896145"/>
                <a:gd name="connsiteX27" fmla="*/ 519480 w 1162418"/>
                <a:gd name="connsiteY27" fmla="*/ 1862 h 1896145"/>
                <a:gd name="connsiteX28" fmla="*/ 705218 w 1162418"/>
                <a:gd name="connsiteY28" fmla="*/ 8608 h 1896145"/>
                <a:gd name="connsiteX29" fmla="*/ 943343 w 1162418"/>
                <a:gd name="connsiteY29" fmla="*/ 119733 h 1896145"/>
                <a:gd name="connsiteX30" fmla="*/ 1100505 w 1162418"/>
                <a:gd name="connsiteY30" fmla="*/ 308645 h 1896145"/>
                <a:gd name="connsiteX31" fmla="*/ 1162418 w 1162418"/>
                <a:gd name="connsiteY31" fmla="*/ 511845 h 1896145"/>
                <a:gd name="connsiteX32" fmla="*/ 1159243 w 1162418"/>
                <a:gd name="connsiteY32" fmla="*/ 681708 h 1896145"/>
                <a:gd name="connsiteX33" fmla="*/ 1090980 w 1162418"/>
                <a:gd name="connsiteY33" fmla="*/ 888083 h 1896145"/>
                <a:gd name="connsiteX34" fmla="*/ 957630 w 1162418"/>
                <a:gd name="connsiteY34" fmla="*/ 1056358 h 1896145"/>
                <a:gd name="connsiteX35" fmla="*/ 914768 w 1162418"/>
                <a:gd name="connsiteY35" fmla="*/ 1116683 h 1896145"/>
                <a:gd name="connsiteX36" fmla="*/ 905243 w 1162418"/>
                <a:gd name="connsiteY36" fmla="*/ 1173833 h 1896145"/>
                <a:gd name="connsiteX37" fmla="*/ 905243 w 1162418"/>
                <a:gd name="connsiteY37" fmla="*/ 1262733 h 1896145"/>
                <a:gd name="connsiteX38" fmla="*/ 868730 w 1162418"/>
                <a:gd name="connsiteY38" fmla="*/ 1299245 h 1896145"/>
                <a:gd name="connsiteX39" fmla="*/ 641718 w 1162418"/>
                <a:gd name="connsiteY39" fmla="*/ 1299245 h 1896145"/>
                <a:gd name="connsiteX40" fmla="*/ 590918 w 1162418"/>
                <a:gd name="connsiteY40" fmla="*/ 1277020 h 1896145"/>
                <a:gd name="connsiteX41" fmla="*/ 590918 w 1162418"/>
                <a:gd name="connsiteY41" fmla="*/ 1210345 h 1896145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6196"/>
                <a:gd name="connsiteY0" fmla="*/ 1898273 h 1898273"/>
                <a:gd name="connsiteX1" fmla="*/ 581393 w 1166196"/>
                <a:gd name="connsiteY1" fmla="*/ 1768098 h 1898273"/>
                <a:gd name="connsiteX2" fmla="*/ 508368 w 1166196"/>
                <a:gd name="connsiteY2" fmla="*/ 1723648 h 1898273"/>
                <a:gd name="connsiteX3" fmla="*/ 475030 w 1166196"/>
                <a:gd name="connsiteY3" fmla="*/ 1683961 h 1898273"/>
                <a:gd name="connsiteX4" fmla="*/ 505193 w 1166196"/>
                <a:gd name="connsiteY4" fmla="*/ 1644273 h 1898273"/>
                <a:gd name="connsiteX5" fmla="*/ 717918 w 1166196"/>
                <a:gd name="connsiteY5" fmla="*/ 1644273 h 1898273"/>
                <a:gd name="connsiteX6" fmla="*/ 746493 w 1166196"/>
                <a:gd name="connsiteY6" fmla="*/ 1596648 h 1898273"/>
                <a:gd name="connsiteX7" fmla="*/ 716330 w 1166196"/>
                <a:gd name="connsiteY7" fmla="*/ 1560136 h 1898273"/>
                <a:gd name="connsiteX8" fmla="*/ 398830 w 1166196"/>
                <a:gd name="connsiteY8" fmla="*/ 1560136 h 1898273"/>
                <a:gd name="connsiteX9" fmla="*/ 360730 w 1166196"/>
                <a:gd name="connsiteY9" fmla="*/ 1522036 h 1898273"/>
                <a:gd name="connsiteX10" fmla="*/ 382955 w 1166196"/>
                <a:gd name="connsiteY10" fmla="*/ 1474411 h 1898273"/>
                <a:gd name="connsiteX11" fmla="*/ 797293 w 1166196"/>
                <a:gd name="connsiteY11" fmla="*/ 1474411 h 1898273"/>
                <a:gd name="connsiteX12" fmla="*/ 830630 w 1166196"/>
                <a:gd name="connsiteY12" fmla="*/ 1426786 h 1898273"/>
                <a:gd name="connsiteX13" fmla="*/ 795705 w 1166196"/>
                <a:gd name="connsiteY13" fmla="*/ 1383923 h 1898273"/>
                <a:gd name="connsiteX14" fmla="*/ 386130 w 1166196"/>
                <a:gd name="connsiteY14" fmla="*/ 1383923 h 1898273"/>
                <a:gd name="connsiteX15" fmla="*/ 322630 w 1166196"/>
                <a:gd name="connsiteY15" fmla="*/ 1352173 h 1898273"/>
                <a:gd name="connsiteX16" fmla="*/ 283340 w 1166196"/>
                <a:gd name="connsiteY16" fmla="*/ 1300183 h 1898273"/>
                <a:gd name="connsiteX17" fmla="*/ 271830 w 1166196"/>
                <a:gd name="connsiteY17" fmla="*/ 1207711 h 1898273"/>
                <a:gd name="connsiteX18" fmla="*/ 260718 w 1166196"/>
                <a:gd name="connsiteY18" fmla="*/ 1128336 h 1898273"/>
                <a:gd name="connsiteX19" fmla="*/ 205155 w 1166196"/>
                <a:gd name="connsiteY19" fmla="*/ 1037848 h 1898273"/>
                <a:gd name="connsiteX20" fmla="*/ 130543 w 1166196"/>
                <a:gd name="connsiteY20" fmla="*/ 955298 h 1898273"/>
                <a:gd name="connsiteX21" fmla="*/ 55137 w 1166196"/>
                <a:gd name="connsiteY21" fmla="*/ 845364 h 1898273"/>
                <a:gd name="connsiteX22" fmla="*/ 13861 w 1166196"/>
                <a:gd name="connsiteY22" fmla="*/ 735827 h 1898273"/>
                <a:gd name="connsiteX23" fmla="*/ 368 w 1166196"/>
                <a:gd name="connsiteY23" fmla="*/ 601286 h 1898273"/>
                <a:gd name="connsiteX24" fmla="*/ 11480 w 1166196"/>
                <a:gd name="connsiteY24" fmla="*/ 475873 h 1898273"/>
                <a:gd name="connsiteX25" fmla="*/ 81330 w 1166196"/>
                <a:gd name="connsiteY25" fmla="*/ 285373 h 1898273"/>
                <a:gd name="connsiteX26" fmla="*/ 265480 w 1166196"/>
                <a:gd name="connsiteY26" fmla="*/ 93285 h 1898273"/>
                <a:gd name="connsiteX27" fmla="*/ 519480 w 1166196"/>
                <a:gd name="connsiteY27" fmla="*/ 3990 h 1898273"/>
                <a:gd name="connsiteX28" fmla="*/ 705218 w 1166196"/>
                <a:gd name="connsiteY28" fmla="*/ 10736 h 1898273"/>
                <a:gd name="connsiteX29" fmla="*/ 943343 w 1166196"/>
                <a:gd name="connsiteY29" fmla="*/ 121861 h 1898273"/>
                <a:gd name="connsiteX30" fmla="*/ 1100505 w 1166196"/>
                <a:gd name="connsiteY30" fmla="*/ 310773 h 1898273"/>
                <a:gd name="connsiteX31" fmla="*/ 1162418 w 1166196"/>
                <a:gd name="connsiteY31" fmla="*/ 513973 h 1898273"/>
                <a:gd name="connsiteX32" fmla="*/ 1159243 w 1166196"/>
                <a:gd name="connsiteY32" fmla="*/ 683836 h 1898273"/>
                <a:gd name="connsiteX33" fmla="*/ 1090980 w 1166196"/>
                <a:gd name="connsiteY33" fmla="*/ 890211 h 1898273"/>
                <a:gd name="connsiteX34" fmla="*/ 957630 w 1166196"/>
                <a:gd name="connsiteY34" fmla="*/ 1058486 h 1898273"/>
                <a:gd name="connsiteX35" fmla="*/ 914768 w 1166196"/>
                <a:gd name="connsiteY35" fmla="*/ 1118811 h 1898273"/>
                <a:gd name="connsiteX36" fmla="*/ 905243 w 1166196"/>
                <a:gd name="connsiteY36" fmla="*/ 1175961 h 1898273"/>
                <a:gd name="connsiteX37" fmla="*/ 905243 w 1166196"/>
                <a:gd name="connsiteY37" fmla="*/ 1264861 h 1898273"/>
                <a:gd name="connsiteX38" fmla="*/ 868730 w 1166196"/>
                <a:gd name="connsiteY38" fmla="*/ 1301373 h 1898273"/>
                <a:gd name="connsiteX39" fmla="*/ 641718 w 1166196"/>
                <a:gd name="connsiteY39" fmla="*/ 1301373 h 1898273"/>
                <a:gd name="connsiteX40" fmla="*/ 590918 w 1166196"/>
                <a:gd name="connsiteY40" fmla="*/ 1279148 h 1898273"/>
                <a:gd name="connsiteX41" fmla="*/ 590918 w 1166196"/>
                <a:gd name="connsiteY41" fmla="*/ 1212473 h 1898273"/>
                <a:gd name="connsiteX0" fmla="*/ 584568 w 1170207"/>
                <a:gd name="connsiteY0" fmla="*/ 1898273 h 1898273"/>
                <a:gd name="connsiteX1" fmla="*/ 581393 w 1170207"/>
                <a:gd name="connsiteY1" fmla="*/ 1768098 h 1898273"/>
                <a:gd name="connsiteX2" fmla="*/ 508368 w 1170207"/>
                <a:gd name="connsiteY2" fmla="*/ 1723648 h 1898273"/>
                <a:gd name="connsiteX3" fmla="*/ 475030 w 1170207"/>
                <a:gd name="connsiteY3" fmla="*/ 1683961 h 1898273"/>
                <a:gd name="connsiteX4" fmla="*/ 505193 w 1170207"/>
                <a:gd name="connsiteY4" fmla="*/ 1644273 h 1898273"/>
                <a:gd name="connsiteX5" fmla="*/ 717918 w 1170207"/>
                <a:gd name="connsiteY5" fmla="*/ 1644273 h 1898273"/>
                <a:gd name="connsiteX6" fmla="*/ 746493 w 1170207"/>
                <a:gd name="connsiteY6" fmla="*/ 1596648 h 1898273"/>
                <a:gd name="connsiteX7" fmla="*/ 716330 w 1170207"/>
                <a:gd name="connsiteY7" fmla="*/ 1560136 h 1898273"/>
                <a:gd name="connsiteX8" fmla="*/ 398830 w 1170207"/>
                <a:gd name="connsiteY8" fmla="*/ 1560136 h 1898273"/>
                <a:gd name="connsiteX9" fmla="*/ 360730 w 1170207"/>
                <a:gd name="connsiteY9" fmla="*/ 1522036 h 1898273"/>
                <a:gd name="connsiteX10" fmla="*/ 382955 w 1170207"/>
                <a:gd name="connsiteY10" fmla="*/ 1474411 h 1898273"/>
                <a:gd name="connsiteX11" fmla="*/ 797293 w 1170207"/>
                <a:gd name="connsiteY11" fmla="*/ 1474411 h 1898273"/>
                <a:gd name="connsiteX12" fmla="*/ 830630 w 1170207"/>
                <a:gd name="connsiteY12" fmla="*/ 1426786 h 1898273"/>
                <a:gd name="connsiteX13" fmla="*/ 795705 w 1170207"/>
                <a:gd name="connsiteY13" fmla="*/ 1383923 h 1898273"/>
                <a:gd name="connsiteX14" fmla="*/ 386130 w 1170207"/>
                <a:gd name="connsiteY14" fmla="*/ 1383923 h 1898273"/>
                <a:gd name="connsiteX15" fmla="*/ 322630 w 1170207"/>
                <a:gd name="connsiteY15" fmla="*/ 1352173 h 1898273"/>
                <a:gd name="connsiteX16" fmla="*/ 283340 w 1170207"/>
                <a:gd name="connsiteY16" fmla="*/ 1300183 h 1898273"/>
                <a:gd name="connsiteX17" fmla="*/ 271830 w 1170207"/>
                <a:gd name="connsiteY17" fmla="*/ 1207711 h 1898273"/>
                <a:gd name="connsiteX18" fmla="*/ 260718 w 1170207"/>
                <a:gd name="connsiteY18" fmla="*/ 1128336 h 1898273"/>
                <a:gd name="connsiteX19" fmla="*/ 205155 w 1170207"/>
                <a:gd name="connsiteY19" fmla="*/ 1037848 h 1898273"/>
                <a:gd name="connsiteX20" fmla="*/ 130543 w 1170207"/>
                <a:gd name="connsiteY20" fmla="*/ 955298 h 1898273"/>
                <a:gd name="connsiteX21" fmla="*/ 55137 w 1170207"/>
                <a:gd name="connsiteY21" fmla="*/ 845364 h 1898273"/>
                <a:gd name="connsiteX22" fmla="*/ 13861 w 1170207"/>
                <a:gd name="connsiteY22" fmla="*/ 735827 h 1898273"/>
                <a:gd name="connsiteX23" fmla="*/ 368 w 1170207"/>
                <a:gd name="connsiteY23" fmla="*/ 601286 h 1898273"/>
                <a:gd name="connsiteX24" fmla="*/ 11480 w 1170207"/>
                <a:gd name="connsiteY24" fmla="*/ 475873 h 1898273"/>
                <a:gd name="connsiteX25" fmla="*/ 81330 w 1170207"/>
                <a:gd name="connsiteY25" fmla="*/ 285373 h 1898273"/>
                <a:gd name="connsiteX26" fmla="*/ 265480 w 1170207"/>
                <a:gd name="connsiteY26" fmla="*/ 93285 h 1898273"/>
                <a:gd name="connsiteX27" fmla="*/ 519480 w 1170207"/>
                <a:gd name="connsiteY27" fmla="*/ 3990 h 1898273"/>
                <a:gd name="connsiteX28" fmla="*/ 705218 w 1170207"/>
                <a:gd name="connsiteY28" fmla="*/ 10736 h 1898273"/>
                <a:gd name="connsiteX29" fmla="*/ 943343 w 1170207"/>
                <a:gd name="connsiteY29" fmla="*/ 121861 h 1898273"/>
                <a:gd name="connsiteX30" fmla="*/ 1100505 w 1170207"/>
                <a:gd name="connsiteY30" fmla="*/ 310773 h 1898273"/>
                <a:gd name="connsiteX31" fmla="*/ 1162418 w 1170207"/>
                <a:gd name="connsiteY31" fmla="*/ 513973 h 1898273"/>
                <a:gd name="connsiteX32" fmla="*/ 1159243 w 1170207"/>
                <a:gd name="connsiteY32" fmla="*/ 683836 h 1898273"/>
                <a:gd name="connsiteX33" fmla="*/ 1090980 w 1170207"/>
                <a:gd name="connsiteY33" fmla="*/ 890211 h 1898273"/>
                <a:gd name="connsiteX34" fmla="*/ 957630 w 1170207"/>
                <a:gd name="connsiteY34" fmla="*/ 1058486 h 1898273"/>
                <a:gd name="connsiteX35" fmla="*/ 914768 w 1170207"/>
                <a:gd name="connsiteY35" fmla="*/ 1118811 h 1898273"/>
                <a:gd name="connsiteX36" fmla="*/ 905243 w 1170207"/>
                <a:gd name="connsiteY36" fmla="*/ 1175961 h 1898273"/>
                <a:gd name="connsiteX37" fmla="*/ 905243 w 1170207"/>
                <a:gd name="connsiteY37" fmla="*/ 1264861 h 1898273"/>
                <a:gd name="connsiteX38" fmla="*/ 868730 w 1170207"/>
                <a:gd name="connsiteY38" fmla="*/ 1301373 h 1898273"/>
                <a:gd name="connsiteX39" fmla="*/ 641718 w 1170207"/>
                <a:gd name="connsiteY39" fmla="*/ 1301373 h 1898273"/>
                <a:gd name="connsiteX40" fmla="*/ 590918 w 1170207"/>
                <a:gd name="connsiteY40" fmla="*/ 1279148 h 1898273"/>
                <a:gd name="connsiteX41" fmla="*/ 590918 w 1170207"/>
                <a:gd name="connsiteY41" fmla="*/ 1212473 h 1898273"/>
                <a:gd name="connsiteX0" fmla="*/ 584568 w 1167505"/>
                <a:gd name="connsiteY0" fmla="*/ 1898273 h 1898273"/>
                <a:gd name="connsiteX1" fmla="*/ 581393 w 1167505"/>
                <a:gd name="connsiteY1" fmla="*/ 1768098 h 1898273"/>
                <a:gd name="connsiteX2" fmla="*/ 508368 w 1167505"/>
                <a:gd name="connsiteY2" fmla="*/ 1723648 h 1898273"/>
                <a:gd name="connsiteX3" fmla="*/ 475030 w 1167505"/>
                <a:gd name="connsiteY3" fmla="*/ 1683961 h 1898273"/>
                <a:gd name="connsiteX4" fmla="*/ 505193 w 1167505"/>
                <a:gd name="connsiteY4" fmla="*/ 1644273 h 1898273"/>
                <a:gd name="connsiteX5" fmla="*/ 717918 w 1167505"/>
                <a:gd name="connsiteY5" fmla="*/ 1644273 h 1898273"/>
                <a:gd name="connsiteX6" fmla="*/ 746493 w 1167505"/>
                <a:gd name="connsiteY6" fmla="*/ 1596648 h 1898273"/>
                <a:gd name="connsiteX7" fmla="*/ 716330 w 1167505"/>
                <a:gd name="connsiteY7" fmla="*/ 1560136 h 1898273"/>
                <a:gd name="connsiteX8" fmla="*/ 398830 w 1167505"/>
                <a:gd name="connsiteY8" fmla="*/ 1560136 h 1898273"/>
                <a:gd name="connsiteX9" fmla="*/ 360730 w 1167505"/>
                <a:gd name="connsiteY9" fmla="*/ 1522036 h 1898273"/>
                <a:gd name="connsiteX10" fmla="*/ 382955 w 1167505"/>
                <a:gd name="connsiteY10" fmla="*/ 1474411 h 1898273"/>
                <a:gd name="connsiteX11" fmla="*/ 797293 w 1167505"/>
                <a:gd name="connsiteY11" fmla="*/ 1474411 h 1898273"/>
                <a:gd name="connsiteX12" fmla="*/ 830630 w 1167505"/>
                <a:gd name="connsiteY12" fmla="*/ 1426786 h 1898273"/>
                <a:gd name="connsiteX13" fmla="*/ 795705 w 1167505"/>
                <a:gd name="connsiteY13" fmla="*/ 1383923 h 1898273"/>
                <a:gd name="connsiteX14" fmla="*/ 386130 w 1167505"/>
                <a:gd name="connsiteY14" fmla="*/ 1383923 h 1898273"/>
                <a:gd name="connsiteX15" fmla="*/ 322630 w 1167505"/>
                <a:gd name="connsiteY15" fmla="*/ 1352173 h 1898273"/>
                <a:gd name="connsiteX16" fmla="*/ 283340 w 1167505"/>
                <a:gd name="connsiteY16" fmla="*/ 1300183 h 1898273"/>
                <a:gd name="connsiteX17" fmla="*/ 271830 w 1167505"/>
                <a:gd name="connsiteY17" fmla="*/ 1207711 h 1898273"/>
                <a:gd name="connsiteX18" fmla="*/ 260718 w 1167505"/>
                <a:gd name="connsiteY18" fmla="*/ 1128336 h 1898273"/>
                <a:gd name="connsiteX19" fmla="*/ 205155 w 1167505"/>
                <a:gd name="connsiteY19" fmla="*/ 1037848 h 1898273"/>
                <a:gd name="connsiteX20" fmla="*/ 130543 w 1167505"/>
                <a:gd name="connsiteY20" fmla="*/ 955298 h 1898273"/>
                <a:gd name="connsiteX21" fmla="*/ 55137 w 1167505"/>
                <a:gd name="connsiteY21" fmla="*/ 845364 h 1898273"/>
                <a:gd name="connsiteX22" fmla="*/ 13861 w 1167505"/>
                <a:gd name="connsiteY22" fmla="*/ 735827 h 1898273"/>
                <a:gd name="connsiteX23" fmla="*/ 368 w 1167505"/>
                <a:gd name="connsiteY23" fmla="*/ 601286 h 1898273"/>
                <a:gd name="connsiteX24" fmla="*/ 11480 w 1167505"/>
                <a:gd name="connsiteY24" fmla="*/ 475873 h 1898273"/>
                <a:gd name="connsiteX25" fmla="*/ 81330 w 1167505"/>
                <a:gd name="connsiteY25" fmla="*/ 285373 h 1898273"/>
                <a:gd name="connsiteX26" fmla="*/ 265480 w 1167505"/>
                <a:gd name="connsiteY26" fmla="*/ 93285 h 1898273"/>
                <a:gd name="connsiteX27" fmla="*/ 519480 w 1167505"/>
                <a:gd name="connsiteY27" fmla="*/ 3990 h 1898273"/>
                <a:gd name="connsiteX28" fmla="*/ 705218 w 1167505"/>
                <a:gd name="connsiteY28" fmla="*/ 10736 h 1898273"/>
                <a:gd name="connsiteX29" fmla="*/ 943343 w 1167505"/>
                <a:gd name="connsiteY29" fmla="*/ 121861 h 1898273"/>
                <a:gd name="connsiteX30" fmla="*/ 1100505 w 1167505"/>
                <a:gd name="connsiteY30" fmla="*/ 310773 h 1898273"/>
                <a:gd name="connsiteX31" fmla="*/ 1162418 w 1167505"/>
                <a:gd name="connsiteY31" fmla="*/ 513973 h 1898273"/>
                <a:gd name="connsiteX32" fmla="*/ 1159243 w 1167505"/>
                <a:gd name="connsiteY32" fmla="*/ 683836 h 1898273"/>
                <a:gd name="connsiteX33" fmla="*/ 1090980 w 1167505"/>
                <a:gd name="connsiteY33" fmla="*/ 890211 h 1898273"/>
                <a:gd name="connsiteX34" fmla="*/ 957630 w 1167505"/>
                <a:gd name="connsiteY34" fmla="*/ 1058486 h 1898273"/>
                <a:gd name="connsiteX35" fmla="*/ 914768 w 1167505"/>
                <a:gd name="connsiteY35" fmla="*/ 1118811 h 1898273"/>
                <a:gd name="connsiteX36" fmla="*/ 905243 w 1167505"/>
                <a:gd name="connsiteY36" fmla="*/ 1175961 h 1898273"/>
                <a:gd name="connsiteX37" fmla="*/ 905243 w 1167505"/>
                <a:gd name="connsiteY37" fmla="*/ 1264861 h 1898273"/>
                <a:gd name="connsiteX38" fmla="*/ 868730 w 1167505"/>
                <a:gd name="connsiteY38" fmla="*/ 1301373 h 1898273"/>
                <a:gd name="connsiteX39" fmla="*/ 641718 w 1167505"/>
                <a:gd name="connsiteY39" fmla="*/ 1301373 h 1898273"/>
                <a:gd name="connsiteX40" fmla="*/ 590918 w 1167505"/>
                <a:gd name="connsiteY40" fmla="*/ 1279148 h 1898273"/>
                <a:gd name="connsiteX41" fmla="*/ 590918 w 1167505"/>
                <a:gd name="connsiteY41" fmla="*/ 1212473 h 1898273"/>
                <a:gd name="connsiteX0" fmla="*/ 584568 w 1167505"/>
                <a:gd name="connsiteY0" fmla="*/ 1898273 h 1898273"/>
                <a:gd name="connsiteX1" fmla="*/ 581393 w 1167505"/>
                <a:gd name="connsiteY1" fmla="*/ 1768098 h 1898273"/>
                <a:gd name="connsiteX2" fmla="*/ 508368 w 1167505"/>
                <a:gd name="connsiteY2" fmla="*/ 1723648 h 1898273"/>
                <a:gd name="connsiteX3" fmla="*/ 475030 w 1167505"/>
                <a:gd name="connsiteY3" fmla="*/ 1683961 h 1898273"/>
                <a:gd name="connsiteX4" fmla="*/ 505193 w 1167505"/>
                <a:gd name="connsiteY4" fmla="*/ 1644273 h 1898273"/>
                <a:gd name="connsiteX5" fmla="*/ 717918 w 1167505"/>
                <a:gd name="connsiteY5" fmla="*/ 1644273 h 1898273"/>
                <a:gd name="connsiteX6" fmla="*/ 746493 w 1167505"/>
                <a:gd name="connsiteY6" fmla="*/ 1596648 h 1898273"/>
                <a:gd name="connsiteX7" fmla="*/ 716330 w 1167505"/>
                <a:gd name="connsiteY7" fmla="*/ 1560136 h 1898273"/>
                <a:gd name="connsiteX8" fmla="*/ 398830 w 1167505"/>
                <a:gd name="connsiteY8" fmla="*/ 1560136 h 1898273"/>
                <a:gd name="connsiteX9" fmla="*/ 360730 w 1167505"/>
                <a:gd name="connsiteY9" fmla="*/ 1522036 h 1898273"/>
                <a:gd name="connsiteX10" fmla="*/ 382955 w 1167505"/>
                <a:gd name="connsiteY10" fmla="*/ 1474411 h 1898273"/>
                <a:gd name="connsiteX11" fmla="*/ 797293 w 1167505"/>
                <a:gd name="connsiteY11" fmla="*/ 1474411 h 1898273"/>
                <a:gd name="connsiteX12" fmla="*/ 830630 w 1167505"/>
                <a:gd name="connsiteY12" fmla="*/ 1426786 h 1898273"/>
                <a:gd name="connsiteX13" fmla="*/ 795705 w 1167505"/>
                <a:gd name="connsiteY13" fmla="*/ 1383923 h 1898273"/>
                <a:gd name="connsiteX14" fmla="*/ 386130 w 1167505"/>
                <a:gd name="connsiteY14" fmla="*/ 1383923 h 1898273"/>
                <a:gd name="connsiteX15" fmla="*/ 322630 w 1167505"/>
                <a:gd name="connsiteY15" fmla="*/ 1352173 h 1898273"/>
                <a:gd name="connsiteX16" fmla="*/ 283340 w 1167505"/>
                <a:gd name="connsiteY16" fmla="*/ 1300183 h 1898273"/>
                <a:gd name="connsiteX17" fmla="*/ 271830 w 1167505"/>
                <a:gd name="connsiteY17" fmla="*/ 1207711 h 1898273"/>
                <a:gd name="connsiteX18" fmla="*/ 260718 w 1167505"/>
                <a:gd name="connsiteY18" fmla="*/ 1128336 h 1898273"/>
                <a:gd name="connsiteX19" fmla="*/ 205155 w 1167505"/>
                <a:gd name="connsiteY19" fmla="*/ 1037848 h 1898273"/>
                <a:gd name="connsiteX20" fmla="*/ 130543 w 1167505"/>
                <a:gd name="connsiteY20" fmla="*/ 955298 h 1898273"/>
                <a:gd name="connsiteX21" fmla="*/ 55137 w 1167505"/>
                <a:gd name="connsiteY21" fmla="*/ 845364 h 1898273"/>
                <a:gd name="connsiteX22" fmla="*/ 13861 w 1167505"/>
                <a:gd name="connsiteY22" fmla="*/ 735827 h 1898273"/>
                <a:gd name="connsiteX23" fmla="*/ 368 w 1167505"/>
                <a:gd name="connsiteY23" fmla="*/ 601286 h 1898273"/>
                <a:gd name="connsiteX24" fmla="*/ 11480 w 1167505"/>
                <a:gd name="connsiteY24" fmla="*/ 475873 h 1898273"/>
                <a:gd name="connsiteX25" fmla="*/ 81330 w 1167505"/>
                <a:gd name="connsiteY25" fmla="*/ 285373 h 1898273"/>
                <a:gd name="connsiteX26" fmla="*/ 265480 w 1167505"/>
                <a:gd name="connsiteY26" fmla="*/ 93285 h 1898273"/>
                <a:gd name="connsiteX27" fmla="*/ 519480 w 1167505"/>
                <a:gd name="connsiteY27" fmla="*/ 3990 h 1898273"/>
                <a:gd name="connsiteX28" fmla="*/ 705218 w 1167505"/>
                <a:gd name="connsiteY28" fmla="*/ 10736 h 1898273"/>
                <a:gd name="connsiteX29" fmla="*/ 943343 w 1167505"/>
                <a:gd name="connsiteY29" fmla="*/ 121861 h 1898273"/>
                <a:gd name="connsiteX30" fmla="*/ 1100505 w 1167505"/>
                <a:gd name="connsiteY30" fmla="*/ 310773 h 1898273"/>
                <a:gd name="connsiteX31" fmla="*/ 1162418 w 1167505"/>
                <a:gd name="connsiteY31" fmla="*/ 513973 h 1898273"/>
                <a:gd name="connsiteX32" fmla="*/ 1159243 w 1167505"/>
                <a:gd name="connsiteY32" fmla="*/ 683836 h 1898273"/>
                <a:gd name="connsiteX33" fmla="*/ 1090980 w 1167505"/>
                <a:gd name="connsiteY33" fmla="*/ 890211 h 1898273"/>
                <a:gd name="connsiteX34" fmla="*/ 957630 w 1167505"/>
                <a:gd name="connsiteY34" fmla="*/ 1058486 h 1898273"/>
                <a:gd name="connsiteX35" fmla="*/ 914768 w 1167505"/>
                <a:gd name="connsiteY35" fmla="*/ 1118811 h 1898273"/>
                <a:gd name="connsiteX36" fmla="*/ 905243 w 1167505"/>
                <a:gd name="connsiteY36" fmla="*/ 1175961 h 1898273"/>
                <a:gd name="connsiteX37" fmla="*/ 905243 w 1167505"/>
                <a:gd name="connsiteY37" fmla="*/ 1264861 h 1898273"/>
                <a:gd name="connsiteX38" fmla="*/ 868730 w 1167505"/>
                <a:gd name="connsiteY38" fmla="*/ 1301373 h 1898273"/>
                <a:gd name="connsiteX39" fmla="*/ 641718 w 1167505"/>
                <a:gd name="connsiteY39" fmla="*/ 1301373 h 1898273"/>
                <a:gd name="connsiteX40" fmla="*/ 590918 w 1167505"/>
                <a:gd name="connsiteY40" fmla="*/ 1279148 h 1898273"/>
                <a:gd name="connsiteX41" fmla="*/ 590918 w 1167505"/>
                <a:gd name="connsiteY41" fmla="*/ 1212473 h 1898273"/>
                <a:gd name="connsiteX0" fmla="*/ 584568 w 1167505"/>
                <a:gd name="connsiteY0" fmla="*/ 1898273 h 1898273"/>
                <a:gd name="connsiteX1" fmla="*/ 581393 w 1167505"/>
                <a:gd name="connsiteY1" fmla="*/ 1768098 h 1898273"/>
                <a:gd name="connsiteX2" fmla="*/ 508368 w 1167505"/>
                <a:gd name="connsiteY2" fmla="*/ 1723648 h 1898273"/>
                <a:gd name="connsiteX3" fmla="*/ 475030 w 1167505"/>
                <a:gd name="connsiteY3" fmla="*/ 1683961 h 1898273"/>
                <a:gd name="connsiteX4" fmla="*/ 505193 w 1167505"/>
                <a:gd name="connsiteY4" fmla="*/ 1644273 h 1898273"/>
                <a:gd name="connsiteX5" fmla="*/ 717918 w 1167505"/>
                <a:gd name="connsiteY5" fmla="*/ 1644273 h 1898273"/>
                <a:gd name="connsiteX6" fmla="*/ 746493 w 1167505"/>
                <a:gd name="connsiteY6" fmla="*/ 1596648 h 1898273"/>
                <a:gd name="connsiteX7" fmla="*/ 716330 w 1167505"/>
                <a:gd name="connsiteY7" fmla="*/ 1560136 h 1898273"/>
                <a:gd name="connsiteX8" fmla="*/ 398830 w 1167505"/>
                <a:gd name="connsiteY8" fmla="*/ 1560136 h 1898273"/>
                <a:gd name="connsiteX9" fmla="*/ 360730 w 1167505"/>
                <a:gd name="connsiteY9" fmla="*/ 1522036 h 1898273"/>
                <a:gd name="connsiteX10" fmla="*/ 382955 w 1167505"/>
                <a:gd name="connsiteY10" fmla="*/ 1474411 h 1898273"/>
                <a:gd name="connsiteX11" fmla="*/ 797293 w 1167505"/>
                <a:gd name="connsiteY11" fmla="*/ 1474411 h 1898273"/>
                <a:gd name="connsiteX12" fmla="*/ 830630 w 1167505"/>
                <a:gd name="connsiteY12" fmla="*/ 1426786 h 1898273"/>
                <a:gd name="connsiteX13" fmla="*/ 795705 w 1167505"/>
                <a:gd name="connsiteY13" fmla="*/ 1383923 h 1898273"/>
                <a:gd name="connsiteX14" fmla="*/ 386130 w 1167505"/>
                <a:gd name="connsiteY14" fmla="*/ 1383923 h 1898273"/>
                <a:gd name="connsiteX15" fmla="*/ 322630 w 1167505"/>
                <a:gd name="connsiteY15" fmla="*/ 1352173 h 1898273"/>
                <a:gd name="connsiteX16" fmla="*/ 283340 w 1167505"/>
                <a:gd name="connsiteY16" fmla="*/ 1300183 h 1898273"/>
                <a:gd name="connsiteX17" fmla="*/ 271830 w 1167505"/>
                <a:gd name="connsiteY17" fmla="*/ 1207711 h 1898273"/>
                <a:gd name="connsiteX18" fmla="*/ 260718 w 1167505"/>
                <a:gd name="connsiteY18" fmla="*/ 1128336 h 1898273"/>
                <a:gd name="connsiteX19" fmla="*/ 205155 w 1167505"/>
                <a:gd name="connsiteY19" fmla="*/ 1037848 h 1898273"/>
                <a:gd name="connsiteX20" fmla="*/ 130543 w 1167505"/>
                <a:gd name="connsiteY20" fmla="*/ 955298 h 1898273"/>
                <a:gd name="connsiteX21" fmla="*/ 55137 w 1167505"/>
                <a:gd name="connsiteY21" fmla="*/ 845364 h 1898273"/>
                <a:gd name="connsiteX22" fmla="*/ 13861 w 1167505"/>
                <a:gd name="connsiteY22" fmla="*/ 735827 h 1898273"/>
                <a:gd name="connsiteX23" fmla="*/ 368 w 1167505"/>
                <a:gd name="connsiteY23" fmla="*/ 601286 h 1898273"/>
                <a:gd name="connsiteX24" fmla="*/ 11480 w 1167505"/>
                <a:gd name="connsiteY24" fmla="*/ 475873 h 1898273"/>
                <a:gd name="connsiteX25" fmla="*/ 81330 w 1167505"/>
                <a:gd name="connsiteY25" fmla="*/ 285373 h 1898273"/>
                <a:gd name="connsiteX26" fmla="*/ 265480 w 1167505"/>
                <a:gd name="connsiteY26" fmla="*/ 93285 h 1898273"/>
                <a:gd name="connsiteX27" fmla="*/ 519480 w 1167505"/>
                <a:gd name="connsiteY27" fmla="*/ 3990 h 1898273"/>
                <a:gd name="connsiteX28" fmla="*/ 705218 w 1167505"/>
                <a:gd name="connsiteY28" fmla="*/ 10736 h 1898273"/>
                <a:gd name="connsiteX29" fmla="*/ 943343 w 1167505"/>
                <a:gd name="connsiteY29" fmla="*/ 121861 h 1898273"/>
                <a:gd name="connsiteX30" fmla="*/ 1100505 w 1167505"/>
                <a:gd name="connsiteY30" fmla="*/ 310773 h 1898273"/>
                <a:gd name="connsiteX31" fmla="*/ 1162418 w 1167505"/>
                <a:gd name="connsiteY31" fmla="*/ 513973 h 1898273"/>
                <a:gd name="connsiteX32" fmla="*/ 1159243 w 1167505"/>
                <a:gd name="connsiteY32" fmla="*/ 683836 h 1898273"/>
                <a:gd name="connsiteX33" fmla="*/ 1090980 w 1167505"/>
                <a:gd name="connsiteY33" fmla="*/ 890211 h 1898273"/>
                <a:gd name="connsiteX34" fmla="*/ 957630 w 1167505"/>
                <a:gd name="connsiteY34" fmla="*/ 1058486 h 1898273"/>
                <a:gd name="connsiteX35" fmla="*/ 914768 w 1167505"/>
                <a:gd name="connsiteY35" fmla="*/ 1118811 h 1898273"/>
                <a:gd name="connsiteX36" fmla="*/ 905243 w 1167505"/>
                <a:gd name="connsiteY36" fmla="*/ 1175961 h 1898273"/>
                <a:gd name="connsiteX37" fmla="*/ 905243 w 1167505"/>
                <a:gd name="connsiteY37" fmla="*/ 1264861 h 1898273"/>
                <a:gd name="connsiteX38" fmla="*/ 868730 w 1167505"/>
                <a:gd name="connsiteY38" fmla="*/ 1301373 h 1898273"/>
                <a:gd name="connsiteX39" fmla="*/ 641718 w 1167505"/>
                <a:gd name="connsiteY39" fmla="*/ 1301373 h 1898273"/>
                <a:gd name="connsiteX40" fmla="*/ 590918 w 1167505"/>
                <a:gd name="connsiteY40" fmla="*/ 1279148 h 1898273"/>
                <a:gd name="connsiteX41" fmla="*/ 590918 w 1167505"/>
                <a:gd name="connsiteY41" fmla="*/ 1212473 h 1898273"/>
                <a:gd name="connsiteX0" fmla="*/ 584568 w 1170104"/>
                <a:gd name="connsiteY0" fmla="*/ 1898273 h 1898273"/>
                <a:gd name="connsiteX1" fmla="*/ 581393 w 1170104"/>
                <a:gd name="connsiteY1" fmla="*/ 1768098 h 1898273"/>
                <a:gd name="connsiteX2" fmla="*/ 508368 w 1170104"/>
                <a:gd name="connsiteY2" fmla="*/ 1723648 h 1898273"/>
                <a:gd name="connsiteX3" fmla="*/ 475030 w 1170104"/>
                <a:gd name="connsiteY3" fmla="*/ 1683961 h 1898273"/>
                <a:gd name="connsiteX4" fmla="*/ 505193 w 1170104"/>
                <a:gd name="connsiteY4" fmla="*/ 1644273 h 1898273"/>
                <a:gd name="connsiteX5" fmla="*/ 717918 w 1170104"/>
                <a:gd name="connsiteY5" fmla="*/ 1644273 h 1898273"/>
                <a:gd name="connsiteX6" fmla="*/ 746493 w 1170104"/>
                <a:gd name="connsiteY6" fmla="*/ 1596648 h 1898273"/>
                <a:gd name="connsiteX7" fmla="*/ 716330 w 1170104"/>
                <a:gd name="connsiteY7" fmla="*/ 1560136 h 1898273"/>
                <a:gd name="connsiteX8" fmla="*/ 398830 w 1170104"/>
                <a:gd name="connsiteY8" fmla="*/ 1560136 h 1898273"/>
                <a:gd name="connsiteX9" fmla="*/ 360730 w 1170104"/>
                <a:gd name="connsiteY9" fmla="*/ 1522036 h 1898273"/>
                <a:gd name="connsiteX10" fmla="*/ 382955 w 1170104"/>
                <a:gd name="connsiteY10" fmla="*/ 1474411 h 1898273"/>
                <a:gd name="connsiteX11" fmla="*/ 797293 w 1170104"/>
                <a:gd name="connsiteY11" fmla="*/ 1474411 h 1898273"/>
                <a:gd name="connsiteX12" fmla="*/ 830630 w 1170104"/>
                <a:gd name="connsiteY12" fmla="*/ 1426786 h 1898273"/>
                <a:gd name="connsiteX13" fmla="*/ 795705 w 1170104"/>
                <a:gd name="connsiteY13" fmla="*/ 1383923 h 1898273"/>
                <a:gd name="connsiteX14" fmla="*/ 386130 w 1170104"/>
                <a:gd name="connsiteY14" fmla="*/ 1383923 h 1898273"/>
                <a:gd name="connsiteX15" fmla="*/ 322630 w 1170104"/>
                <a:gd name="connsiteY15" fmla="*/ 1352173 h 1898273"/>
                <a:gd name="connsiteX16" fmla="*/ 283340 w 1170104"/>
                <a:gd name="connsiteY16" fmla="*/ 1300183 h 1898273"/>
                <a:gd name="connsiteX17" fmla="*/ 271830 w 1170104"/>
                <a:gd name="connsiteY17" fmla="*/ 1207711 h 1898273"/>
                <a:gd name="connsiteX18" fmla="*/ 260718 w 1170104"/>
                <a:gd name="connsiteY18" fmla="*/ 1128336 h 1898273"/>
                <a:gd name="connsiteX19" fmla="*/ 205155 w 1170104"/>
                <a:gd name="connsiteY19" fmla="*/ 1037848 h 1898273"/>
                <a:gd name="connsiteX20" fmla="*/ 130543 w 1170104"/>
                <a:gd name="connsiteY20" fmla="*/ 955298 h 1898273"/>
                <a:gd name="connsiteX21" fmla="*/ 55137 w 1170104"/>
                <a:gd name="connsiteY21" fmla="*/ 845364 h 1898273"/>
                <a:gd name="connsiteX22" fmla="*/ 13861 w 1170104"/>
                <a:gd name="connsiteY22" fmla="*/ 735827 h 1898273"/>
                <a:gd name="connsiteX23" fmla="*/ 368 w 1170104"/>
                <a:gd name="connsiteY23" fmla="*/ 601286 h 1898273"/>
                <a:gd name="connsiteX24" fmla="*/ 11480 w 1170104"/>
                <a:gd name="connsiteY24" fmla="*/ 475873 h 1898273"/>
                <a:gd name="connsiteX25" fmla="*/ 81330 w 1170104"/>
                <a:gd name="connsiteY25" fmla="*/ 285373 h 1898273"/>
                <a:gd name="connsiteX26" fmla="*/ 265480 w 1170104"/>
                <a:gd name="connsiteY26" fmla="*/ 93285 h 1898273"/>
                <a:gd name="connsiteX27" fmla="*/ 519480 w 1170104"/>
                <a:gd name="connsiteY27" fmla="*/ 3990 h 1898273"/>
                <a:gd name="connsiteX28" fmla="*/ 705218 w 1170104"/>
                <a:gd name="connsiteY28" fmla="*/ 10736 h 1898273"/>
                <a:gd name="connsiteX29" fmla="*/ 943343 w 1170104"/>
                <a:gd name="connsiteY29" fmla="*/ 121861 h 1898273"/>
                <a:gd name="connsiteX30" fmla="*/ 1100505 w 1170104"/>
                <a:gd name="connsiteY30" fmla="*/ 310773 h 1898273"/>
                <a:gd name="connsiteX31" fmla="*/ 1162418 w 1170104"/>
                <a:gd name="connsiteY31" fmla="*/ 513973 h 1898273"/>
                <a:gd name="connsiteX32" fmla="*/ 1165196 w 1170104"/>
                <a:gd name="connsiteY32" fmla="*/ 683836 h 1898273"/>
                <a:gd name="connsiteX33" fmla="*/ 1090980 w 1170104"/>
                <a:gd name="connsiteY33" fmla="*/ 890211 h 1898273"/>
                <a:gd name="connsiteX34" fmla="*/ 957630 w 1170104"/>
                <a:gd name="connsiteY34" fmla="*/ 1058486 h 1898273"/>
                <a:gd name="connsiteX35" fmla="*/ 914768 w 1170104"/>
                <a:gd name="connsiteY35" fmla="*/ 1118811 h 1898273"/>
                <a:gd name="connsiteX36" fmla="*/ 905243 w 1170104"/>
                <a:gd name="connsiteY36" fmla="*/ 1175961 h 1898273"/>
                <a:gd name="connsiteX37" fmla="*/ 905243 w 1170104"/>
                <a:gd name="connsiteY37" fmla="*/ 1264861 h 1898273"/>
                <a:gd name="connsiteX38" fmla="*/ 868730 w 1170104"/>
                <a:gd name="connsiteY38" fmla="*/ 1301373 h 1898273"/>
                <a:gd name="connsiteX39" fmla="*/ 641718 w 1170104"/>
                <a:gd name="connsiteY39" fmla="*/ 1301373 h 1898273"/>
                <a:gd name="connsiteX40" fmla="*/ 590918 w 1170104"/>
                <a:gd name="connsiteY40" fmla="*/ 1279148 h 1898273"/>
                <a:gd name="connsiteX41" fmla="*/ 590918 w 1170104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90980 w 1167899"/>
                <a:gd name="connsiteY33" fmla="*/ 890211 h 1898273"/>
                <a:gd name="connsiteX34" fmla="*/ 957630 w 1167899"/>
                <a:gd name="connsiteY34" fmla="*/ 1058486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90980 w 1167899"/>
                <a:gd name="connsiteY33" fmla="*/ 890211 h 1898273"/>
                <a:gd name="connsiteX34" fmla="*/ 957630 w 1167899"/>
                <a:gd name="connsiteY34" fmla="*/ 1058486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90980 w 1167899"/>
                <a:gd name="connsiteY33" fmla="*/ 890211 h 1898273"/>
                <a:gd name="connsiteX34" fmla="*/ 957630 w 1167899"/>
                <a:gd name="connsiteY34" fmla="*/ 1058486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7630 w 1167899"/>
                <a:gd name="connsiteY34" fmla="*/ 1058486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7630 w 1167899"/>
                <a:gd name="connsiteY34" fmla="*/ 1058486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7630 w 1167899"/>
                <a:gd name="connsiteY34" fmla="*/ 1058486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7630 w 1167899"/>
                <a:gd name="connsiteY34" fmla="*/ 1058486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2862 w 1167899"/>
                <a:gd name="connsiteY37" fmla="*/ 1261289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0033 w 1167899"/>
                <a:gd name="connsiteY2" fmla="*/ 1728411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0033 w 1167899"/>
                <a:gd name="connsiteY2" fmla="*/ 1728411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9527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28249 w 1167899"/>
                <a:gd name="connsiteY12" fmla="*/ 1425595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28249 w 1167899"/>
                <a:gd name="connsiteY12" fmla="*/ 1425595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28249 w 1167899"/>
                <a:gd name="connsiteY12" fmla="*/ 1425595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28249 w 1167899"/>
                <a:gd name="connsiteY12" fmla="*/ 1425595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1327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28249 w 1167899"/>
                <a:gd name="connsiteY12" fmla="*/ 1425595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1327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28249 w 1167899"/>
                <a:gd name="connsiteY12" fmla="*/ 1425595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58014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1327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28249 w 1167899"/>
                <a:gd name="connsiteY12" fmla="*/ 1425595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58014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1327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28249 w 1167899"/>
                <a:gd name="connsiteY12" fmla="*/ 1425595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0487 w 1167899"/>
                <a:gd name="connsiteY34" fmla="*/ 1054914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58014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9166"/>
                <a:gd name="connsiteY0" fmla="*/ 1898273 h 1898273"/>
                <a:gd name="connsiteX1" fmla="*/ 581393 w 1169166"/>
                <a:gd name="connsiteY1" fmla="*/ 1768098 h 1898273"/>
                <a:gd name="connsiteX2" fmla="*/ 513130 w 1169166"/>
                <a:gd name="connsiteY2" fmla="*/ 1726030 h 1898273"/>
                <a:gd name="connsiteX3" fmla="*/ 470268 w 1169166"/>
                <a:gd name="connsiteY3" fmla="*/ 1680389 h 1898273"/>
                <a:gd name="connsiteX4" fmla="*/ 505193 w 1169166"/>
                <a:gd name="connsiteY4" fmla="*/ 1644273 h 1898273"/>
                <a:gd name="connsiteX5" fmla="*/ 717918 w 1169166"/>
                <a:gd name="connsiteY5" fmla="*/ 1644273 h 1898273"/>
                <a:gd name="connsiteX6" fmla="*/ 748874 w 1169166"/>
                <a:gd name="connsiteY6" fmla="*/ 1603792 h 1898273"/>
                <a:gd name="connsiteX7" fmla="*/ 716330 w 1169166"/>
                <a:gd name="connsiteY7" fmla="*/ 1561327 h 1898273"/>
                <a:gd name="connsiteX8" fmla="*/ 398830 w 1169166"/>
                <a:gd name="connsiteY8" fmla="*/ 1560136 h 1898273"/>
                <a:gd name="connsiteX9" fmla="*/ 360730 w 1169166"/>
                <a:gd name="connsiteY9" fmla="*/ 1522036 h 1898273"/>
                <a:gd name="connsiteX10" fmla="*/ 387717 w 1169166"/>
                <a:gd name="connsiteY10" fmla="*/ 1476793 h 1898273"/>
                <a:gd name="connsiteX11" fmla="*/ 797293 w 1169166"/>
                <a:gd name="connsiteY11" fmla="*/ 1474411 h 1898273"/>
                <a:gd name="connsiteX12" fmla="*/ 828249 w 1169166"/>
                <a:gd name="connsiteY12" fmla="*/ 1425595 h 1898273"/>
                <a:gd name="connsiteX13" fmla="*/ 795705 w 1169166"/>
                <a:gd name="connsiteY13" fmla="*/ 1383923 h 1898273"/>
                <a:gd name="connsiteX14" fmla="*/ 386130 w 1169166"/>
                <a:gd name="connsiteY14" fmla="*/ 1383923 h 1898273"/>
                <a:gd name="connsiteX15" fmla="*/ 322630 w 1169166"/>
                <a:gd name="connsiteY15" fmla="*/ 1352173 h 1898273"/>
                <a:gd name="connsiteX16" fmla="*/ 283340 w 1169166"/>
                <a:gd name="connsiteY16" fmla="*/ 1300183 h 1898273"/>
                <a:gd name="connsiteX17" fmla="*/ 271830 w 1169166"/>
                <a:gd name="connsiteY17" fmla="*/ 1207711 h 1898273"/>
                <a:gd name="connsiteX18" fmla="*/ 255955 w 1169166"/>
                <a:gd name="connsiteY18" fmla="*/ 1128336 h 1898273"/>
                <a:gd name="connsiteX19" fmla="*/ 205155 w 1169166"/>
                <a:gd name="connsiteY19" fmla="*/ 1037848 h 1898273"/>
                <a:gd name="connsiteX20" fmla="*/ 130543 w 1169166"/>
                <a:gd name="connsiteY20" fmla="*/ 955298 h 1898273"/>
                <a:gd name="connsiteX21" fmla="*/ 55137 w 1169166"/>
                <a:gd name="connsiteY21" fmla="*/ 845364 h 1898273"/>
                <a:gd name="connsiteX22" fmla="*/ 13861 w 1169166"/>
                <a:gd name="connsiteY22" fmla="*/ 735827 h 1898273"/>
                <a:gd name="connsiteX23" fmla="*/ 368 w 1169166"/>
                <a:gd name="connsiteY23" fmla="*/ 601286 h 1898273"/>
                <a:gd name="connsiteX24" fmla="*/ 11480 w 1169166"/>
                <a:gd name="connsiteY24" fmla="*/ 475873 h 1898273"/>
                <a:gd name="connsiteX25" fmla="*/ 81330 w 1169166"/>
                <a:gd name="connsiteY25" fmla="*/ 285373 h 1898273"/>
                <a:gd name="connsiteX26" fmla="*/ 265480 w 1169166"/>
                <a:gd name="connsiteY26" fmla="*/ 93285 h 1898273"/>
                <a:gd name="connsiteX27" fmla="*/ 519480 w 1169166"/>
                <a:gd name="connsiteY27" fmla="*/ 3990 h 1898273"/>
                <a:gd name="connsiteX28" fmla="*/ 705218 w 1169166"/>
                <a:gd name="connsiteY28" fmla="*/ 10736 h 1898273"/>
                <a:gd name="connsiteX29" fmla="*/ 943343 w 1169166"/>
                <a:gd name="connsiteY29" fmla="*/ 121861 h 1898273"/>
                <a:gd name="connsiteX30" fmla="*/ 1100505 w 1169166"/>
                <a:gd name="connsiteY30" fmla="*/ 310773 h 1898273"/>
                <a:gd name="connsiteX31" fmla="*/ 1162418 w 1169166"/>
                <a:gd name="connsiteY31" fmla="*/ 513973 h 1898273"/>
                <a:gd name="connsiteX32" fmla="*/ 1165196 w 1169166"/>
                <a:gd name="connsiteY32" fmla="*/ 683836 h 1898273"/>
                <a:gd name="connsiteX33" fmla="*/ 1085027 w 1169166"/>
                <a:gd name="connsiteY33" fmla="*/ 889020 h 1898273"/>
                <a:gd name="connsiteX34" fmla="*/ 950487 w 1169166"/>
                <a:gd name="connsiteY34" fmla="*/ 1054914 h 1898273"/>
                <a:gd name="connsiteX35" fmla="*/ 914768 w 1169166"/>
                <a:gd name="connsiteY35" fmla="*/ 1118811 h 1898273"/>
                <a:gd name="connsiteX36" fmla="*/ 900480 w 1169166"/>
                <a:gd name="connsiteY36" fmla="*/ 1177152 h 1898273"/>
                <a:gd name="connsiteX37" fmla="*/ 898100 w 1169166"/>
                <a:gd name="connsiteY37" fmla="*/ 1258908 h 1898273"/>
                <a:gd name="connsiteX38" fmla="*/ 858014 w 1169166"/>
                <a:gd name="connsiteY38" fmla="*/ 1301373 h 1898273"/>
                <a:gd name="connsiteX39" fmla="*/ 641718 w 1169166"/>
                <a:gd name="connsiteY39" fmla="*/ 1301373 h 1898273"/>
                <a:gd name="connsiteX40" fmla="*/ 590918 w 1169166"/>
                <a:gd name="connsiteY40" fmla="*/ 1279148 h 1898273"/>
                <a:gd name="connsiteX41" fmla="*/ 590918 w 1169166"/>
                <a:gd name="connsiteY41" fmla="*/ 1212473 h 1898273"/>
                <a:gd name="connsiteX0" fmla="*/ 584568 w 1169166"/>
                <a:gd name="connsiteY0" fmla="*/ 1898273 h 1898273"/>
                <a:gd name="connsiteX1" fmla="*/ 581393 w 1169166"/>
                <a:gd name="connsiteY1" fmla="*/ 1768098 h 1898273"/>
                <a:gd name="connsiteX2" fmla="*/ 513130 w 1169166"/>
                <a:gd name="connsiteY2" fmla="*/ 1726030 h 1898273"/>
                <a:gd name="connsiteX3" fmla="*/ 470268 w 1169166"/>
                <a:gd name="connsiteY3" fmla="*/ 1680389 h 1898273"/>
                <a:gd name="connsiteX4" fmla="*/ 505193 w 1169166"/>
                <a:gd name="connsiteY4" fmla="*/ 1644273 h 1898273"/>
                <a:gd name="connsiteX5" fmla="*/ 717918 w 1169166"/>
                <a:gd name="connsiteY5" fmla="*/ 1644273 h 1898273"/>
                <a:gd name="connsiteX6" fmla="*/ 748874 w 1169166"/>
                <a:gd name="connsiteY6" fmla="*/ 1603792 h 1898273"/>
                <a:gd name="connsiteX7" fmla="*/ 716330 w 1169166"/>
                <a:gd name="connsiteY7" fmla="*/ 1561327 h 1898273"/>
                <a:gd name="connsiteX8" fmla="*/ 398830 w 1169166"/>
                <a:gd name="connsiteY8" fmla="*/ 1560136 h 1898273"/>
                <a:gd name="connsiteX9" fmla="*/ 360730 w 1169166"/>
                <a:gd name="connsiteY9" fmla="*/ 1522036 h 1898273"/>
                <a:gd name="connsiteX10" fmla="*/ 387717 w 1169166"/>
                <a:gd name="connsiteY10" fmla="*/ 1476793 h 1898273"/>
                <a:gd name="connsiteX11" fmla="*/ 797293 w 1169166"/>
                <a:gd name="connsiteY11" fmla="*/ 1474411 h 1898273"/>
                <a:gd name="connsiteX12" fmla="*/ 828249 w 1169166"/>
                <a:gd name="connsiteY12" fmla="*/ 1425595 h 1898273"/>
                <a:gd name="connsiteX13" fmla="*/ 795705 w 1169166"/>
                <a:gd name="connsiteY13" fmla="*/ 1383923 h 1898273"/>
                <a:gd name="connsiteX14" fmla="*/ 386130 w 1169166"/>
                <a:gd name="connsiteY14" fmla="*/ 1383923 h 1898273"/>
                <a:gd name="connsiteX15" fmla="*/ 322630 w 1169166"/>
                <a:gd name="connsiteY15" fmla="*/ 1352173 h 1898273"/>
                <a:gd name="connsiteX16" fmla="*/ 283340 w 1169166"/>
                <a:gd name="connsiteY16" fmla="*/ 1300183 h 1898273"/>
                <a:gd name="connsiteX17" fmla="*/ 271830 w 1169166"/>
                <a:gd name="connsiteY17" fmla="*/ 1207711 h 1898273"/>
                <a:gd name="connsiteX18" fmla="*/ 255955 w 1169166"/>
                <a:gd name="connsiteY18" fmla="*/ 1128336 h 1898273"/>
                <a:gd name="connsiteX19" fmla="*/ 205155 w 1169166"/>
                <a:gd name="connsiteY19" fmla="*/ 1037848 h 1898273"/>
                <a:gd name="connsiteX20" fmla="*/ 130543 w 1169166"/>
                <a:gd name="connsiteY20" fmla="*/ 955298 h 1898273"/>
                <a:gd name="connsiteX21" fmla="*/ 55137 w 1169166"/>
                <a:gd name="connsiteY21" fmla="*/ 845364 h 1898273"/>
                <a:gd name="connsiteX22" fmla="*/ 13861 w 1169166"/>
                <a:gd name="connsiteY22" fmla="*/ 735827 h 1898273"/>
                <a:gd name="connsiteX23" fmla="*/ 368 w 1169166"/>
                <a:gd name="connsiteY23" fmla="*/ 601286 h 1898273"/>
                <a:gd name="connsiteX24" fmla="*/ 11480 w 1169166"/>
                <a:gd name="connsiteY24" fmla="*/ 475873 h 1898273"/>
                <a:gd name="connsiteX25" fmla="*/ 81330 w 1169166"/>
                <a:gd name="connsiteY25" fmla="*/ 285373 h 1898273"/>
                <a:gd name="connsiteX26" fmla="*/ 265480 w 1169166"/>
                <a:gd name="connsiteY26" fmla="*/ 93285 h 1898273"/>
                <a:gd name="connsiteX27" fmla="*/ 519480 w 1169166"/>
                <a:gd name="connsiteY27" fmla="*/ 3990 h 1898273"/>
                <a:gd name="connsiteX28" fmla="*/ 705218 w 1169166"/>
                <a:gd name="connsiteY28" fmla="*/ 10736 h 1898273"/>
                <a:gd name="connsiteX29" fmla="*/ 943343 w 1169166"/>
                <a:gd name="connsiteY29" fmla="*/ 121861 h 1898273"/>
                <a:gd name="connsiteX30" fmla="*/ 1100505 w 1169166"/>
                <a:gd name="connsiteY30" fmla="*/ 310773 h 1898273"/>
                <a:gd name="connsiteX31" fmla="*/ 1162418 w 1169166"/>
                <a:gd name="connsiteY31" fmla="*/ 513973 h 1898273"/>
                <a:gd name="connsiteX32" fmla="*/ 1165196 w 1169166"/>
                <a:gd name="connsiteY32" fmla="*/ 683836 h 1898273"/>
                <a:gd name="connsiteX33" fmla="*/ 1085027 w 1169166"/>
                <a:gd name="connsiteY33" fmla="*/ 889020 h 1898273"/>
                <a:gd name="connsiteX34" fmla="*/ 950487 w 1169166"/>
                <a:gd name="connsiteY34" fmla="*/ 1054914 h 1898273"/>
                <a:gd name="connsiteX35" fmla="*/ 914768 w 1169166"/>
                <a:gd name="connsiteY35" fmla="*/ 1118811 h 1898273"/>
                <a:gd name="connsiteX36" fmla="*/ 900480 w 1169166"/>
                <a:gd name="connsiteY36" fmla="*/ 1177152 h 1898273"/>
                <a:gd name="connsiteX37" fmla="*/ 898100 w 1169166"/>
                <a:gd name="connsiteY37" fmla="*/ 1258908 h 1898273"/>
                <a:gd name="connsiteX38" fmla="*/ 858014 w 1169166"/>
                <a:gd name="connsiteY38" fmla="*/ 1301373 h 1898273"/>
                <a:gd name="connsiteX39" fmla="*/ 641718 w 1169166"/>
                <a:gd name="connsiteY39" fmla="*/ 1301373 h 1898273"/>
                <a:gd name="connsiteX40" fmla="*/ 590918 w 1169166"/>
                <a:gd name="connsiteY40" fmla="*/ 1279148 h 1898273"/>
                <a:gd name="connsiteX41" fmla="*/ 590918 w 1169166"/>
                <a:gd name="connsiteY41" fmla="*/ 1212473 h 1898273"/>
                <a:gd name="connsiteX0" fmla="*/ 584568 w 1170467"/>
                <a:gd name="connsiteY0" fmla="*/ 1898273 h 1898273"/>
                <a:gd name="connsiteX1" fmla="*/ 581393 w 1170467"/>
                <a:gd name="connsiteY1" fmla="*/ 1768098 h 1898273"/>
                <a:gd name="connsiteX2" fmla="*/ 513130 w 1170467"/>
                <a:gd name="connsiteY2" fmla="*/ 1726030 h 1898273"/>
                <a:gd name="connsiteX3" fmla="*/ 470268 w 1170467"/>
                <a:gd name="connsiteY3" fmla="*/ 1680389 h 1898273"/>
                <a:gd name="connsiteX4" fmla="*/ 505193 w 1170467"/>
                <a:gd name="connsiteY4" fmla="*/ 1644273 h 1898273"/>
                <a:gd name="connsiteX5" fmla="*/ 717918 w 1170467"/>
                <a:gd name="connsiteY5" fmla="*/ 1644273 h 1898273"/>
                <a:gd name="connsiteX6" fmla="*/ 748874 w 1170467"/>
                <a:gd name="connsiteY6" fmla="*/ 1603792 h 1898273"/>
                <a:gd name="connsiteX7" fmla="*/ 716330 w 1170467"/>
                <a:gd name="connsiteY7" fmla="*/ 1561327 h 1898273"/>
                <a:gd name="connsiteX8" fmla="*/ 398830 w 1170467"/>
                <a:gd name="connsiteY8" fmla="*/ 1560136 h 1898273"/>
                <a:gd name="connsiteX9" fmla="*/ 360730 w 1170467"/>
                <a:gd name="connsiteY9" fmla="*/ 1522036 h 1898273"/>
                <a:gd name="connsiteX10" fmla="*/ 387717 w 1170467"/>
                <a:gd name="connsiteY10" fmla="*/ 1476793 h 1898273"/>
                <a:gd name="connsiteX11" fmla="*/ 797293 w 1170467"/>
                <a:gd name="connsiteY11" fmla="*/ 1474411 h 1898273"/>
                <a:gd name="connsiteX12" fmla="*/ 828249 w 1170467"/>
                <a:gd name="connsiteY12" fmla="*/ 1425595 h 1898273"/>
                <a:gd name="connsiteX13" fmla="*/ 795705 w 1170467"/>
                <a:gd name="connsiteY13" fmla="*/ 1383923 h 1898273"/>
                <a:gd name="connsiteX14" fmla="*/ 386130 w 1170467"/>
                <a:gd name="connsiteY14" fmla="*/ 1383923 h 1898273"/>
                <a:gd name="connsiteX15" fmla="*/ 322630 w 1170467"/>
                <a:gd name="connsiteY15" fmla="*/ 1352173 h 1898273"/>
                <a:gd name="connsiteX16" fmla="*/ 283340 w 1170467"/>
                <a:gd name="connsiteY16" fmla="*/ 1300183 h 1898273"/>
                <a:gd name="connsiteX17" fmla="*/ 271830 w 1170467"/>
                <a:gd name="connsiteY17" fmla="*/ 1207711 h 1898273"/>
                <a:gd name="connsiteX18" fmla="*/ 255955 w 1170467"/>
                <a:gd name="connsiteY18" fmla="*/ 1128336 h 1898273"/>
                <a:gd name="connsiteX19" fmla="*/ 205155 w 1170467"/>
                <a:gd name="connsiteY19" fmla="*/ 1037848 h 1898273"/>
                <a:gd name="connsiteX20" fmla="*/ 130543 w 1170467"/>
                <a:gd name="connsiteY20" fmla="*/ 955298 h 1898273"/>
                <a:gd name="connsiteX21" fmla="*/ 55137 w 1170467"/>
                <a:gd name="connsiteY21" fmla="*/ 845364 h 1898273"/>
                <a:gd name="connsiteX22" fmla="*/ 13861 w 1170467"/>
                <a:gd name="connsiteY22" fmla="*/ 735827 h 1898273"/>
                <a:gd name="connsiteX23" fmla="*/ 368 w 1170467"/>
                <a:gd name="connsiteY23" fmla="*/ 601286 h 1898273"/>
                <a:gd name="connsiteX24" fmla="*/ 11480 w 1170467"/>
                <a:gd name="connsiteY24" fmla="*/ 475873 h 1898273"/>
                <a:gd name="connsiteX25" fmla="*/ 81330 w 1170467"/>
                <a:gd name="connsiteY25" fmla="*/ 285373 h 1898273"/>
                <a:gd name="connsiteX26" fmla="*/ 265480 w 1170467"/>
                <a:gd name="connsiteY26" fmla="*/ 93285 h 1898273"/>
                <a:gd name="connsiteX27" fmla="*/ 519480 w 1170467"/>
                <a:gd name="connsiteY27" fmla="*/ 3990 h 1898273"/>
                <a:gd name="connsiteX28" fmla="*/ 705218 w 1170467"/>
                <a:gd name="connsiteY28" fmla="*/ 10736 h 1898273"/>
                <a:gd name="connsiteX29" fmla="*/ 943343 w 1170467"/>
                <a:gd name="connsiteY29" fmla="*/ 121861 h 1898273"/>
                <a:gd name="connsiteX30" fmla="*/ 1100505 w 1170467"/>
                <a:gd name="connsiteY30" fmla="*/ 310773 h 1898273"/>
                <a:gd name="connsiteX31" fmla="*/ 1164799 w 1170467"/>
                <a:gd name="connsiteY31" fmla="*/ 512783 h 1898273"/>
                <a:gd name="connsiteX32" fmla="*/ 1165196 w 1170467"/>
                <a:gd name="connsiteY32" fmla="*/ 683836 h 1898273"/>
                <a:gd name="connsiteX33" fmla="*/ 1085027 w 1170467"/>
                <a:gd name="connsiteY33" fmla="*/ 889020 h 1898273"/>
                <a:gd name="connsiteX34" fmla="*/ 950487 w 1170467"/>
                <a:gd name="connsiteY34" fmla="*/ 1054914 h 1898273"/>
                <a:gd name="connsiteX35" fmla="*/ 914768 w 1170467"/>
                <a:gd name="connsiteY35" fmla="*/ 1118811 h 1898273"/>
                <a:gd name="connsiteX36" fmla="*/ 900480 w 1170467"/>
                <a:gd name="connsiteY36" fmla="*/ 1177152 h 1898273"/>
                <a:gd name="connsiteX37" fmla="*/ 898100 w 1170467"/>
                <a:gd name="connsiteY37" fmla="*/ 1258908 h 1898273"/>
                <a:gd name="connsiteX38" fmla="*/ 858014 w 1170467"/>
                <a:gd name="connsiteY38" fmla="*/ 1301373 h 1898273"/>
                <a:gd name="connsiteX39" fmla="*/ 641718 w 1170467"/>
                <a:gd name="connsiteY39" fmla="*/ 1301373 h 1898273"/>
                <a:gd name="connsiteX40" fmla="*/ 590918 w 1170467"/>
                <a:gd name="connsiteY40" fmla="*/ 1279148 h 1898273"/>
                <a:gd name="connsiteX41" fmla="*/ 590918 w 1170467"/>
                <a:gd name="connsiteY41" fmla="*/ 1212473 h 1898273"/>
                <a:gd name="connsiteX0" fmla="*/ 584993 w 1170892"/>
                <a:gd name="connsiteY0" fmla="*/ 1898273 h 1898273"/>
                <a:gd name="connsiteX1" fmla="*/ 581818 w 1170892"/>
                <a:gd name="connsiteY1" fmla="*/ 1768098 h 1898273"/>
                <a:gd name="connsiteX2" fmla="*/ 513555 w 1170892"/>
                <a:gd name="connsiteY2" fmla="*/ 1726030 h 1898273"/>
                <a:gd name="connsiteX3" fmla="*/ 470693 w 1170892"/>
                <a:gd name="connsiteY3" fmla="*/ 1680389 h 1898273"/>
                <a:gd name="connsiteX4" fmla="*/ 505618 w 1170892"/>
                <a:gd name="connsiteY4" fmla="*/ 1644273 h 1898273"/>
                <a:gd name="connsiteX5" fmla="*/ 718343 w 1170892"/>
                <a:gd name="connsiteY5" fmla="*/ 1644273 h 1898273"/>
                <a:gd name="connsiteX6" fmla="*/ 749299 w 1170892"/>
                <a:gd name="connsiteY6" fmla="*/ 1603792 h 1898273"/>
                <a:gd name="connsiteX7" fmla="*/ 716755 w 1170892"/>
                <a:gd name="connsiteY7" fmla="*/ 1561327 h 1898273"/>
                <a:gd name="connsiteX8" fmla="*/ 399255 w 1170892"/>
                <a:gd name="connsiteY8" fmla="*/ 1560136 h 1898273"/>
                <a:gd name="connsiteX9" fmla="*/ 361155 w 1170892"/>
                <a:gd name="connsiteY9" fmla="*/ 1522036 h 1898273"/>
                <a:gd name="connsiteX10" fmla="*/ 388142 w 1170892"/>
                <a:gd name="connsiteY10" fmla="*/ 1476793 h 1898273"/>
                <a:gd name="connsiteX11" fmla="*/ 797718 w 1170892"/>
                <a:gd name="connsiteY11" fmla="*/ 1474411 h 1898273"/>
                <a:gd name="connsiteX12" fmla="*/ 828674 w 1170892"/>
                <a:gd name="connsiteY12" fmla="*/ 1425595 h 1898273"/>
                <a:gd name="connsiteX13" fmla="*/ 796130 w 1170892"/>
                <a:gd name="connsiteY13" fmla="*/ 1383923 h 1898273"/>
                <a:gd name="connsiteX14" fmla="*/ 386555 w 1170892"/>
                <a:gd name="connsiteY14" fmla="*/ 1383923 h 1898273"/>
                <a:gd name="connsiteX15" fmla="*/ 323055 w 1170892"/>
                <a:gd name="connsiteY15" fmla="*/ 1352173 h 1898273"/>
                <a:gd name="connsiteX16" fmla="*/ 283765 w 1170892"/>
                <a:gd name="connsiteY16" fmla="*/ 1300183 h 1898273"/>
                <a:gd name="connsiteX17" fmla="*/ 272255 w 1170892"/>
                <a:gd name="connsiteY17" fmla="*/ 1207711 h 1898273"/>
                <a:gd name="connsiteX18" fmla="*/ 256380 w 1170892"/>
                <a:gd name="connsiteY18" fmla="*/ 1128336 h 1898273"/>
                <a:gd name="connsiteX19" fmla="*/ 205580 w 1170892"/>
                <a:gd name="connsiteY19" fmla="*/ 1037848 h 1898273"/>
                <a:gd name="connsiteX20" fmla="*/ 130968 w 1170892"/>
                <a:gd name="connsiteY20" fmla="*/ 955298 h 1898273"/>
                <a:gd name="connsiteX21" fmla="*/ 55562 w 1170892"/>
                <a:gd name="connsiteY21" fmla="*/ 845364 h 1898273"/>
                <a:gd name="connsiteX22" fmla="*/ 14286 w 1170892"/>
                <a:gd name="connsiteY22" fmla="*/ 735827 h 1898273"/>
                <a:gd name="connsiteX23" fmla="*/ 793 w 1170892"/>
                <a:gd name="connsiteY23" fmla="*/ 601286 h 1898273"/>
                <a:gd name="connsiteX24" fmla="*/ 9524 w 1170892"/>
                <a:gd name="connsiteY24" fmla="*/ 475873 h 1898273"/>
                <a:gd name="connsiteX25" fmla="*/ 81755 w 1170892"/>
                <a:gd name="connsiteY25" fmla="*/ 285373 h 1898273"/>
                <a:gd name="connsiteX26" fmla="*/ 265905 w 1170892"/>
                <a:gd name="connsiteY26" fmla="*/ 93285 h 1898273"/>
                <a:gd name="connsiteX27" fmla="*/ 519905 w 1170892"/>
                <a:gd name="connsiteY27" fmla="*/ 3990 h 1898273"/>
                <a:gd name="connsiteX28" fmla="*/ 705643 w 1170892"/>
                <a:gd name="connsiteY28" fmla="*/ 10736 h 1898273"/>
                <a:gd name="connsiteX29" fmla="*/ 943768 w 1170892"/>
                <a:gd name="connsiteY29" fmla="*/ 121861 h 1898273"/>
                <a:gd name="connsiteX30" fmla="*/ 1100930 w 1170892"/>
                <a:gd name="connsiteY30" fmla="*/ 310773 h 1898273"/>
                <a:gd name="connsiteX31" fmla="*/ 1165224 w 1170892"/>
                <a:gd name="connsiteY31" fmla="*/ 512783 h 1898273"/>
                <a:gd name="connsiteX32" fmla="*/ 1165621 w 1170892"/>
                <a:gd name="connsiteY32" fmla="*/ 683836 h 1898273"/>
                <a:gd name="connsiteX33" fmla="*/ 1085452 w 1170892"/>
                <a:gd name="connsiteY33" fmla="*/ 889020 h 1898273"/>
                <a:gd name="connsiteX34" fmla="*/ 950912 w 1170892"/>
                <a:gd name="connsiteY34" fmla="*/ 1054914 h 1898273"/>
                <a:gd name="connsiteX35" fmla="*/ 915193 w 1170892"/>
                <a:gd name="connsiteY35" fmla="*/ 1118811 h 1898273"/>
                <a:gd name="connsiteX36" fmla="*/ 900905 w 1170892"/>
                <a:gd name="connsiteY36" fmla="*/ 1177152 h 1898273"/>
                <a:gd name="connsiteX37" fmla="*/ 898525 w 1170892"/>
                <a:gd name="connsiteY37" fmla="*/ 1258908 h 1898273"/>
                <a:gd name="connsiteX38" fmla="*/ 858439 w 1170892"/>
                <a:gd name="connsiteY38" fmla="*/ 1301373 h 1898273"/>
                <a:gd name="connsiteX39" fmla="*/ 642143 w 1170892"/>
                <a:gd name="connsiteY39" fmla="*/ 1301373 h 1898273"/>
                <a:gd name="connsiteX40" fmla="*/ 591343 w 1170892"/>
                <a:gd name="connsiteY40" fmla="*/ 1279148 h 1898273"/>
                <a:gd name="connsiteX41" fmla="*/ 591343 w 1170892"/>
                <a:gd name="connsiteY41" fmla="*/ 1212473 h 1898273"/>
                <a:gd name="connsiteX0" fmla="*/ 584993 w 1170892"/>
                <a:gd name="connsiteY0" fmla="*/ 1898273 h 1898273"/>
                <a:gd name="connsiteX1" fmla="*/ 581818 w 1170892"/>
                <a:gd name="connsiteY1" fmla="*/ 1768098 h 1898273"/>
                <a:gd name="connsiteX2" fmla="*/ 513555 w 1170892"/>
                <a:gd name="connsiteY2" fmla="*/ 1726030 h 1898273"/>
                <a:gd name="connsiteX3" fmla="*/ 470693 w 1170892"/>
                <a:gd name="connsiteY3" fmla="*/ 1680389 h 1898273"/>
                <a:gd name="connsiteX4" fmla="*/ 505618 w 1170892"/>
                <a:gd name="connsiteY4" fmla="*/ 1644273 h 1898273"/>
                <a:gd name="connsiteX5" fmla="*/ 718343 w 1170892"/>
                <a:gd name="connsiteY5" fmla="*/ 1644273 h 1898273"/>
                <a:gd name="connsiteX6" fmla="*/ 749299 w 1170892"/>
                <a:gd name="connsiteY6" fmla="*/ 1603792 h 1898273"/>
                <a:gd name="connsiteX7" fmla="*/ 716755 w 1170892"/>
                <a:gd name="connsiteY7" fmla="*/ 1561327 h 1898273"/>
                <a:gd name="connsiteX8" fmla="*/ 399255 w 1170892"/>
                <a:gd name="connsiteY8" fmla="*/ 1560136 h 1898273"/>
                <a:gd name="connsiteX9" fmla="*/ 361155 w 1170892"/>
                <a:gd name="connsiteY9" fmla="*/ 1522036 h 1898273"/>
                <a:gd name="connsiteX10" fmla="*/ 394095 w 1170892"/>
                <a:gd name="connsiteY10" fmla="*/ 1476793 h 1898273"/>
                <a:gd name="connsiteX11" fmla="*/ 797718 w 1170892"/>
                <a:gd name="connsiteY11" fmla="*/ 1474411 h 1898273"/>
                <a:gd name="connsiteX12" fmla="*/ 828674 w 1170892"/>
                <a:gd name="connsiteY12" fmla="*/ 1425595 h 1898273"/>
                <a:gd name="connsiteX13" fmla="*/ 796130 w 1170892"/>
                <a:gd name="connsiteY13" fmla="*/ 1383923 h 1898273"/>
                <a:gd name="connsiteX14" fmla="*/ 386555 w 1170892"/>
                <a:gd name="connsiteY14" fmla="*/ 1383923 h 1898273"/>
                <a:gd name="connsiteX15" fmla="*/ 323055 w 1170892"/>
                <a:gd name="connsiteY15" fmla="*/ 1352173 h 1898273"/>
                <a:gd name="connsiteX16" fmla="*/ 283765 w 1170892"/>
                <a:gd name="connsiteY16" fmla="*/ 1300183 h 1898273"/>
                <a:gd name="connsiteX17" fmla="*/ 272255 w 1170892"/>
                <a:gd name="connsiteY17" fmla="*/ 1207711 h 1898273"/>
                <a:gd name="connsiteX18" fmla="*/ 256380 w 1170892"/>
                <a:gd name="connsiteY18" fmla="*/ 1128336 h 1898273"/>
                <a:gd name="connsiteX19" fmla="*/ 205580 w 1170892"/>
                <a:gd name="connsiteY19" fmla="*/ 1037848 h 1898273"/>
                <a:gd name="connsiteX20" fmla="*/ 130968 w 1170892"/>
                <a:gd name="connsiteY20" fmla="*/ 955298 h 1898273"/>
                <a:gd name="connsiteX21" fmla="*/ 55562 w 1170892"/>
                <a:gd name="connsiteY21" fmla="*/ 845364 h 1898273"/>
                <a:gd name="connsiteX22" fmla="*/ 14286 w 1170892"/>
                <a:gd name="connsiteY22" fmla="*/ 735827 h 1898273"/>
                <a:gd name="connsiteX23" fmla="*/ 793 w 1170892"/>
                <a:gd name="connsiteY23" fmla="*/ 601286 h 1898273"/>
                <a:gd name="connsiteX24" fmla="*/ 9524 w 1170892"/>
                <a:gd name="connsiteY24" fmla="*/ 475873 h 1898273"/>
                <a:gd name="connsiteX25" fmla="*/ 81755 w 1170892"/>
                <a:gd name="connsiteY25" fmla="*/ 285373 h 1898273"/>
                <a:gd name="connsiteX26" fmla="*/ 265905 w 1170892"/>
                <a:gd name="connsiteY26" fmla="*/ 93285 h 1898273"/>
                <a:gd name="connsiteX27" fmla="*/ 519905 w 1170892"/>
                <a:gd name="connsiteY27" fmla="*/ 3990 h 1898273"/>
                <a:gd name="connsiteX28" fmla="*/ 705643 w 1170892"/>
                <a:gd name="connsiteY28" fmla="*/ 10736 h 1898273"/>
                <a:gd name="connsiteX29" fmla="*/ 943768 w 1170892"/>
                <a:gd name="connsiteY29" fmla="*/ 121861 h 1898273"/>
                <a:gd name="connsiteX30" fmla="*/ 1100930 w 1170892"/>
                <a:gd name="connsiteY30" fmla="*/ 310773 h 1898273"/>
                <a:gd name="connsiteX31" fmla="*/ 1165224 w 1170892"/>
                <a:gd name="connsiteY31" fmla="*/ 512783 h 1898273"/>
                <a:gd name="connsiteX32" fmla="*/ 1165621 w 1170892"/>
                <a:gd name="connsiteY32" fmla="*/ 683836 h 1898273"/>
                <a:gd name="connsiteX33" fmla="*/ 1085452 w 1170892"/>
                <a:gd name="connsiteY33" fmla="*/ 889020 h 1898273"/>
                <a:gd name="connsiteX34" fmla="*/ 950912 w 1170892"/>
                <a:gd name="connsiteY34" fmla="*/ 1054914 h 1898273"/>
                <a:gd name="connsiteX35" fmla="*/ 915193 w 1170892"/>
                <a:gd name="connsiteY35" fmla="*/ 1118811 h 1898273"/>
                <a:gd name="connsiteX36" fmla="*/ 900905 w 1170892"/>
                <a:gd name="connsiteY36" fmla="*/ 1177152 h 1898273"/>
                <a:gd name="connsiteX37" fmla="*/ 898525 w 1170892"/>
                <a:gd name="connsiteY37" fmla="*/ 1258908 h 1898273"/>
                <a:gd name="connsiteX38" fmla="*/ 858439 w 1170892"/>
                <a:gd name="connsiteY38" fmla="*/ 1301373 h 1898273"/>
                <a:gd name="connsiteX39" fmla="*/ 642143 w 1170892"/>
                <a:gd name="connsiteY39" fmla="*/ 1301373 h 1898273"/>
                <a:gd name="connsiteX40" fmla="*/ 591343 w 1170892"/>
                <a:gd name="connsiteY40" fmla="*/ 1279148 h 1898273"/>
                <a:gd name="connsiteX41" fmla="*/ 591343 w 1170892"/>
                <a:gd name="connsiteY41" fmla="*/ 1212473 h 1898273"/>
                <a:gd name="connsiteX0" fmla="*/ 584993 w 1170892"/>
                <a:gd name="connsiteY0" fmla="*/ 1898273 h 1898273"/>
                <a:gd name="connsiteX1" fmla="*/ 581818 w 1170892"/>
                <a:gd name="connsiteY1" fmla="*/ 1768098 h 1898273"/>
                <a:gd name="connsiteX2" fmla="*/ 513555 w 1170892"/>
                <a:gd name="connsiteY2" fmla="*/ 1726030 h 1898273"/>
                <a:gd name="connsiteX3" fmla="*/ 470693 w 1170892"/>
                <a:gd name="connsiteY3" fmla="*/ 1680389 h 1898273"/>
                <a:gd name="connsiteX4" fmla="*/ 505618 w 1170892"/>
                <a:gd name="connsiteY4" fmla="*/ 1644273 h 1898273"/>
                <a:gd name="connsiteX5" fmla="*/ 718343 w 1170892"/>
                <a:gd name="connsiteY5" fmla="*/ 1644273 h 1898273"/>
                <a:gd name="connsiteX6" fmla="*/ 749299 w 1170892"/>
                <a:gd name="connsiteY6" fmla="*/ 1603792 h 1898273"/>
                <a:gd name="connsiteX7" fmla="*/ 716755 w 1170892"/>
                <a:gd name="connsiteY7" fmla="*/ 1561327 h 1898273"/>
                <a:gd name="connsiteX8" fmla="*/ 399255 w 1170892"/>
                <a:gd name="connsiteY8" fmla="*/ 1560136 h 1898273"/>
                <a:gd name="connsiteX9" fmla="*/ 361155 w 1170892"/>
                <a:gd name="connsiteY9" fmla="*/ 1522036 h 1898273"/>
                <a:gd name="connsiteX10" fmla="*/ 394095 w 1170892"/>
                <a:gd name="connsiteY10" fmla="*/ 1476793 h 1898273"/>
                <a:gd name="connsiteX11" fmla="*/ 797718 w 1170892"/>
                <a:gd name="connsiteY11" fmla="*/ 1474411 h 1898273"/>
                <a:gd name="connsiteX12" fmla="*/ 828674 w 1170892"/>
                <a:gd name="connsiteY12" fmla="*/ 1425595 h 1898273"/>
                <a:gd name="connsiteX13" fmla="*/ 796130 w 1170892"/>
                <a:gd name="connsiteY13" fmla="*/ 1383923 h 1898273"/>
                <a:gd name="connsiteX14" fmla="*/ 386555 w 1170892"/>
                <a:gd name="connsiteY14" fmla="*/ 1383923 h 1898273"/>
                <a:gd name="connsiteX15" fmla="*/ 323055 w 1170892"/>
                <a:gd name="connsiteY15" fmla="*/ 1352173 h 1898273"/>
                <a:gd name="connsiteX16" fmla="*/ 283765 w 1170892"/>
                <a:gd name="connsiteY16" fmla="*/ 1300183 h 1898273"/>
                <a:gd name="connsiteX17" fmla="*/ 272255 w 1170892"/>
                <a:gd name="connsiteY17" fmla="*/ 1207711 h 1898273"/>
                <a:gd name="connsiteX18" fmla="*/ 256380 w 1170892"/>
                <a:gd name="connsiteY18" fmla="*/ 1128336 h 1898273"/>
                <a:gd name="connsiteX19" fmla="*/ 205580 w 1170892"/>
                <a:gd name="connsiteY19" fmla="*/ 1037848 h 1898273"/>
                <a:gd name="connsiteX20" fmla="*/ 130968 w 1170892"/>
                <a:gd name="connsiteY20" fmla="*/ 955298 h 1898273"/>
                <a:gd name="connsiteX21" fmla="*/ 55562 w 1170892"/>
                <a:gd name="connsiteY21" fmla="*/ 845364 h 1898273"/>
                <a:gd name="connsiteX22" fmla="*/ 14286 w 1170892"/>
                <a:gd name="connsiteY22" fmla="*/ 735827 h 1898273"/>
                <a:gd name="connsiteX23" fmla="*/ 793 w 1170892"/>
                <a:gd name="connsiteY23" fmla="*/ 601286 h 1898273"/>
                <a:gd name="connsiteX24" fmla="*/ 9524 w 1170892"/>
                <a:gd name="connsiteY24" fmla="*/ 475873 h 1898273"/>
                <a:gd name="connsiteX25" fmla="*/ 81755 w 1170892"/>
                <a:gd name="connsiteY25" fmla="*/ 285373 h 1898273"/>
                <a:gd name="connsiteX26" fmla="*/ 265905 w 1170892"/>
                <a:gd name="connsiteY26" fmla="*/ 93285 h 1898273"/>
                <a:gd name="connsiteX27" fmla="*/ 519905 w 1170892"/>
                <a:gd name="connsiteY27" fmla="*/ 3990 h 1898273"/>
                <a:gd name="connsiteX28" fmla="*/ 705643 w 1170892"/>
                <a:gd name="connsiteY28" fmla="*/ 10736 h 1898273"/>
                <a:gd name="connsiteX29" fmla="*/ 943768 w 1170892"/>
                <a:gd name="connsiteY29" fmla="*/ 121861 h 1898273"/>
                <a:gd name="connsiteX30" fmla="*/ 1100930 w 1170892"/>
                <a:gd name="connsiteY30" fmla="*/ 310773 h 1898273"/>
                <a:gd name="connsiteX31" fmla="*/ 1165224 w 1170892"/>
                <a:gd name="connsiteY31" fmla="*/ 512783 h 1898273"/>
                <a:gd name="connsiteX32" fmla="*/ 1165621 w 1170892"/>
                <a:gd name="connsiteY32" fmla="*/ 683836 h 1898273"/>
                <a:gd name="connsiteX33" fmla="*/ 1085452 w 1170892"/>
                <a:gd name="connsiteY33" fmla="*/ 889020 h 1898273"/>
                <a:gd name="connsiteX34" fmla="*/ 950912 w 1170892"/>
                <a:gd name="connsiteY34" fmla="*/ 1054914 h 1898273"/>
                <a:gd name="connsiteX35" fmla="*/ 915193 w 1170892"/>
                <a:gd name="connsiteY35" fmla="*/ 1118811 h 1898273"/>
                <a:gd name="connsiteX36" fmla="*/ 900905 w 1170892"/>
                <a:gd name="connsiteY36" fmla="*/ 1177152 h 1898273"/>
                <a:gd name="connsiteX37" fmla="*/ 898525 w 1170892"/>
                <a:gd name="connsiteY37" fmla="*/ 1258908 h 1898273"/>
                <a:gd name="connsiteX38" fmla="*/ 858439 w 1170892"/>
                <a:gd name="connsiteY38" fmla="*/ 1301373 h 1898273"/>
                <a:gd name="connsiteX39" fmla="*/ 642143 w 1170892"/>
                <a:gd name="connsiteY39" fmla="*/ 1301373 h 1898273"/>
                <a:gd name="connsiteX40" fmla="*/ 591343 w 1170892"/>
                <a:gd name="connsiteY40" fmla="*/ 1279148 h 1898273"/>
                <a:gd name="connsiteX41" fmla="*/ 591343 w 1170892"/>
                <a:gd name="connsiteY41" fmla="*/ 1212473 h 1898273"/>
                <a:gd name="connsiteX0" fmla="*/ 584993 w 1170892"/>
                <a:gd name="connsiteY0" fmla="*/ 1898273 h 1898273"/>
                <a:gd name="connsiteX1" fmla="*/ 581818 w 1170892"/>
                <a:gd name="connsiteY1" fmla="*/ 1768098 h 1898273"/>
                <a:gd name="connsiteX2" fmla="*/ 513555 w 1170892"/>
                <a:gd name="connsiteY2" fmla="*/ 1726030 h 1898273"/>
                <a:gd name="connsiteX3" fmla="*/ 470693 w 1170892"/>
                <a:gd name="connsiteY3" fmla="*/ 1680389 h 1898273"/>
                <a:gd name="connsiteX4" fmla="*/ 505618 w 1170892"/>
                <a:gd name="connsiteY4" fmla="*/ 1644273 h 1898273"/>
                <a:gd name="connsiteX5" fmla="*/ 718343 w 1170892"/>
                <a:gd name="connsiteY5" fmla="*/ 1644273 h 1898273"/>
                <a:gd name="connsiteX6" fmla="*/ 749299 w 1170892"/>
                <a:gd name="connsiteY6" fmla="*/ 1603792 h 1898273"/>
                <a:gd name="connsiteX7" fmla="*/ 716755 w 1170892"/>
                <a:gd name="connsiteY7" fmla="*/ 1561327 h 1898273"/>
                <a:gd name="connsiteX8" fmla="*/ 399255 w 1170892"/>
                <a:gd name="connsiteY8" fmla="*/ 1560136 h 1898273"/>
                <a:gd name="connsiteX9" fmla="*/ 361155 w 1170892"/>
                <a:gd name="connsiteY9" fmla="*/ 1522036 h 1898273"/>
                <a:gd name="connsiteX10" fmla="*/ 394095 w 1170892"/>
                <a:gd name="connsiteY10" fmla="*/ 1476793 h 1898273"/>
                <a:gd name="connsiteX11" fmla="*/ 797718 w 1170892"/>
                <a:gd name="connsiteY11" fmla="*/ 1474411 h 1898273"/>
                <a:gd name="connsiteX12" fmla="*/ 828674 w 1170892"/>
                <a:gd name="connsiteY12" fmla="*/ 1425595 h 1898273"/>
                <a:gd name="connsiteX13" fmla="*/ 796130 w 1170892"/>
                <a:gd name="connsiteY13" fmla="*/ 1383923 h 1898273"/>
                <a:gd name="connsiteX14" fmla="*/ 386555 w 1170892"/>
                <a:gd name="connsiteY14" fmla="*/ 1383923 h 1898273"/>
                <a:gd name="connsiteX15" fmla="*/ 323055 w 1170892"/>
                <a:gd name="connsiteY15" fmla="*/ 1352173 h 1898273"/>
                <a:gd name="connsiteX16" fmla="*/ 283765 w 1170892"/>
                <a:gd name="connsiteY16" fmla="*/ 1300183 h 1898273"/>
                <a:gd name="connsiteX17" fmla="*/ 272255 w 1170892"/>
                <a:gd name="connsiteY17" fmla="*/ 1207711 h 1898273"/>
                <a:gd name="connsiteX18" fmla="*/ 256380 w 1170892"/>
                <a:gd name="connsiteY18" fmla="*/ 1128336 h 1898273"/>
                <a:gd name="connsiteX19" fmla="*/ 205580 w 1170892"/>
                <a:gd name="connsiteY19" fmla="*/ 1037848 h 1898273"/>
                <a:gd name="connsiteX20" fmla="*/ 130968 w 1170892"/>
                <a:gd name="connsiteY20" fmla="*/ 955298 h 1898273"/>
                <a:gd name="connsiteX21" fmla="*/ 55562 w 1170892"/>
                <a:gd name="connsiteY21" fmla="*/ 845364 h 1898273"/>
                <a:gd name="connsiteX22" fmla="*/ 14286 w 1170892"/>
                <a:gd name="connsiteY22" fmla="*/ 735827 h 1898273"/>
                <a:gd name="connsiteX23" fmla="*/ 793 w 1170892"/>
                <a:gd name="connsiteY23" fmla="*/ 601286 h 1898273"/>
                <a:gd name="connsiteX24" fmla="*/ 9524 w 1170892"/>
                <a:gd name="connsiteY24" fmla="*/ 475873 h 1898273"/>
                <a:gd name="connsiteX25" fmla="*/ 81755 w 1170892"/>
                <a:gd name="connsiteY25" fmla="*/ 285373 h 1898273"/>
                <a:gd name="connsiteX26" fmla="*/ 265905 w 1170892"/>
                <a:gd name="connsiteY26" fmla="*/ 93285 h 1898273"/>
                <a:gd name="connsiteX27" fmla="*/ 519905 w 1170892"/>
                <a:gd name="connsiteY27" fmla="*/ 3990 h 1898273"/>
                <a:gd name="connsiteX28" fmla="*/ 705643 w 1170892"/>
                <a:gd name="connsiteY28" fmla="*/ 10736 h 1898273"/>
                <a:gd name="connsiteX29" fmla="*/ 943768 w 1170892"/>
                <a:gd name="connsiteY29" fmla="*/ 121861 h 1898273"/>
                <a:gd name="connsiteX30" fmla="*/ 1100930 w 1170892"/>
                <a:gd name="connsiteY30" fmla="*/ 310773 h 1898273"/>
                <a:gd name="connsiteX31" fmla="*/ 1165224 w 1170892"/>
                <a:gd name="connsiteY31" fmla="*/ 512783 h 1898273"/>
                <a:gd name="connsiteX32" fmla="*/ 1165621 w 1170892"/>
                <a:gd name="connsiteY32" fmla="*/ 683836 h 1898273"/>
                <a:gd name="connsiteX33" fmla="*/ 1085452 w 1170892"/>
                <a:gd name="connsiteY33" fmla="*/ 889020 h 1898273"/>
                <a:gd name="connsiteX34" fmla="*/ 950912 w 1170892"/>
                <a:gd name="connsiteY34" fmla="*/ 1054914 h 1898273"/>
                <a:gd name="connsiteX35" fmla="*/ 915193 w 1170892"/>
                <a:gd name="connsiteY35" fmla="*/ 1118811 h 1898273"/>
                <a:gd name="connsiteX36" fmla="*/ 900905 w 1170892"/>
                <a:gd name="connsiteY36" fmla="*/ 1177152 h 1898273"/>
                <a:gd name="connsiteX37" fmla="*/ 898525 w 1170892"/>
                <a:gd name="connsiteY37" fmla="*/ 1258908 h 1898273"/>
                <a:gd name="connsiteX38" fmla="*/ 858439 w 1170892"/>
                <a:gd name="connsiteY38" fmla="*/ 1301373 h 1898273"/>
                <a:gd name="connsiteX39" fmla="*/ 642143 w 1170892"/>
                <a:gd name="connsiteY39" fmla="*/ 1301373 h 1898273"/>
                <a:gd name="connsiteX40" fmla="*/ 591343 w 1170892"/>
                <a:gd name="connsiteY40" fmla="*/ 1279148 h 1898273"/>
                <a:gd name="connsiteX41" fmla="*/ 591343 w 1170892"/>
                <a:gd name="connsiteY41" fmla="*/ 1212473 h 1898273"/>
                <a:gd name="connsiteX0" fmla="*/ 584993 w 1170892"/>
                <a:gd name="connsiteY0" fmla="*/ 1898273 h 1898273"/>
                <a:gd name="connsiteX1" fmla="*/ 581818 w 1170892"/>
                <a:gd name="connsiteY1" fmla="*/ 1768098 h 1898273"/>
                <a:gd name="connsiteX2" fmla="*/ 513555 w 1170892"/>
                <a:gd name="connsiteY2" fmla="*/ 1726030 h 1898273"/>
                <a:gd name="connsiteX3" fmla="*/ 470693 w 1170892"/>
                <a:gd name="connsiteY3" fmla="*/ 1680389 h 1898273"/>
                <a:gd name="connsiteX4" fmla="*/ 505618 w 1170892"/>
                <a:gd name="connsiteY4" fmla="*/ 1644273 h 1898273"/>
                <a:gd name="connsiteX5" fmla="*/ 718343 w 1170892"/>
                <a:gd name="connsiteY5" fmla="*/ 1644273 h 1898273"/>
                <a:gd name="connsiteX6" fmla="*/ 749299 w 1170892"/>
                <a:gd name="connsiteY6" fmla="*/ 1603792 h 1898273"/>
                <a:gd name="connsiteX7" fmla="*/ 716755 w 1170892"/>
                <a:gd name="connsiteY7" fmla="*/ 1561327 h 1898273"/>
                <a:gd name="connsiteX8" fmla="*/ 399255 w 1170892"/>
                <a:gd name="connsiteY8" fmla="*/ 1560136 h 1898273"/>
                <a:gd name="connsiteX9" fmla="*/ 361155 w 1170892"/>
                <a:gd name="connsiteY9" fmla="*/ 1522036 h 1898273"/>
                <a:gd name="connsiteX10" fmla="*/ 394095 w 1170892"/>
                <a:gd name="connsiteY10" fmla="*/ 1476793 h 1898273"/>
                <a:gd name="connsiteX11" fmla="*/ 797718 w 1170892"/>
                <a:gd name="connsiteY11" fmla="*/ 1474411 h 1898273"/>
                <a:gd name="connsiteX12" fmla="*/ 828674 w 1170892"/>
                <a:gd name="connsiteY12" fmla="*/ 1425595 h 1898273"/>
                <a:gd name="connsiteX13" fmla="*/ 796130 w 1170892"/>
                <a:gd name="connsiteY13" fmla="*/ 1383923 h 1898273"/>
                <a:gd name="connsiteX14" fmla="*/ 386555 w 1170892"/>
                <a:gd name="connsiteY14" fmla="*/ 1383923 h 1898273"/>
                <a:gd name="connsiteX15" fmla="*/ 323055 w 1170892"/>
                <a:gd name="connsiteY15" fmla="*/ 1352173 h 1898273"/>
                <a:gd name="connsiteX16" fmla="*/ 283765 w 1170892"/>
                <a:gd name="connsiteY16" fmla="*/ 1300183 h 1898273"/>
                <a:gd name="connsiteX17" fmla="*/ 272255 w 1170892"/>
                <a:gd name="connsiteY17" fmla="*/ 1207711 h 1898273"/>
                <a:gd name="connsiteX18" fmla="*/ 256380 w 1170892"/>
                <a:gd name="connsiteY18" fmla="*/ 1128336 h 1898273"/>
                <a:gd name="connsiteX19" fmla="*/ 205580 w 1170892"/>
                <a:gd name="connsiteY19" fmla="*/ 1037848 h 1898273"/>
                <a:gd name="connsiteX20" fmla="*/ 130968 w 1170892"/>
                <a:gd name="connsiteY20" fmla="*/ 955298 h 1898273"/>
                <a:gd name="connsiteX21" fmla="*/ 55562 w 1170892"/>
                <a:gd name="connsiteY21" fmla="*/ 845364 h 1898273"/>
                <a:gd name="connsiteX22" fmla="*/ 14286 w 1170892"/>
                <a:gd name="connsiteY22" fmla="*/ 735827 h 1898273"/>
                <a:gd name="connsiteX23" fmla="*/ 793 w 1170892"/>
                <a:gd name="connsiteY23" fmla="*/ 601286 h 1898273"/>
                <a:gd name="connsiteX24" fmla="*/ 9524 w 1170892"/>
                <a:gd name="connsiteY24" fmla="*/ 475873 h 1898273"/>
                <a:gd name="connsiteX25" fmla="*/ 81755 w 1170892"/>
                <a:gd name="connsiteY25" fmla="*/ 285373 h 1898273"/>
                <a:gd name="connsiteX26" fmla="*/ 265905 w 1170892"/>
                <a:gd name="connsiteY26" fmla="*/ 93285 h 1898273"/>
                <a:gd name="connsiteX27" fmla="*/ 519905 w 1170892"/>
                <a:gd name="connsiteY27" fmla="*/ 3990 h 1898273"/>
                <a:gd name="connsiteX28" fmla="*/ 705643 w 1170892"/>
                <a:gd name="connsiteY28" fmla="*/ 10736 h 1898273"/>
                <a:gd name="connsiteX29" fmla="*/ 943768 w 1170892"/>
                <a:gd name="connsiteY29" fmla="*/ 121861 h 1898273"/>
                <a:gd name="connsiteX30" fmla="*/ 1100930 w 1170892"/>
                <a:gd name="connsiteY30" fmla="*/ 310773 h 1898273"/>
                <a:gd name="connsiteX31" fmla="*/ 1165224 w 1170892"/>
                <a:gd name="connsiteY31" fmla="*/ 512783 h 1898273"/>
                <a:gd name="connsiteX32" fmla="*/ 1165621 w 1170892"/>
                <a:gd name="connsiteY32" fmla="*/ 683836 h 1898273"/>
                <a:gd name="connsiteX33" fmla="*/ 1085452 w 1170892"/>
                <a:gd name="connsiteY33" fmla="*/ 889020 h 1898273"/>
                <a:gd name="connsiteX34" fmla="*/ 950912 w 1170892"/>
                <a:gd name="connsiteY34" fmla="*/ 1054914 h 1898273"/>
                <a:gd name="connsiteX35" fmla="*/ 915193 w 1170892"/>
                <a:gd name="connsiteY35" fmla="*/ 1118811 h 1898273"/>
                <a:gd name="connsiteX36" fmla="*/ 900905 w 1170892"/>
                <a:gd name="connsiteY36" fmla="*/ 1177152 h 1898273"/>
                <a:gd name="connsiteX37" fmla="*/ 898525 w 1170892"/>
                <a:gd name="connsiteY37" fmla="*/ 1258908 h 1898273"/>
                <a:gd name="connsiteX38" fmla="*/ 858439 w 1170892"/>
                <a:gd name="connsiteY38" fmla="*/ 1301373 h 1898273"/>
                <a:gd name="connsiteX39" fmla="*/ 642143 w 1170892"/>
                <a:gd name="connsiteY39" fmla="*/ 1301373 h 1898273"/>
                <a:gd name="connsiteX40" fmla="*/ 591343 w 1170892"/>
                <a:gd name="connsiteY40" fmla="*/ 1279148 h 1898273"/>
                <a:gd name="connsiteX41" fmla="*/ 591343 w 1170892"/>
                <a:gd name="connsiteY41" fmla="*/ 1212473 h 1898273"/>
                <a:gd name="connsiteX0" fmla="*/ 584993 w 1170892"/>
                <a:gd name="connsiteY0" fmla="*/ 1898273 h 1898273"/>
                <a:gd name="connsiteX1" fmla="*/ 581818 w 1170892"/>
                <a:gd name="connsiteY1" fmla="*/ 1768098 h 1898273"/>
                <a:gd name="connsiteX2" fmla="*/ 513555 w 1170892"/>
                <a:gd name="connsiteY2" fmla="*/ 1726030 h 1898273"/>
                <a:gd name="connsiteX3" fmla="*/ 470693 w 1170892"/>
                <a:gd name="connsiteY3" fmla="*/ 1680389 h 1898273"/>
                <a:gd name="connsiteX4" fmla="*/ 505618 w 1170892"/>
                <a:gd name="connsiteY4" fmla="*/ 1644273 h 1898273"/>
                <a:gd name="connsiteX5" fmla="*/ 718343 w 1170892"/>
                <a:gd name="connsiteY5" fmla="*/ 1644273 h 1898273"/>
                <a:gd name="connsiteX6" fmla="*/ 749299 w 1170892"/>
                <a:gd name="connsiteY6" fmla="*/ 1603792 h 1898273"/>
                <a:gd name="connsiteX7" fmla="*/ 716755 w 1170892"/>
                <a:gd name="connsiteY7" fmla="*/ 1561327 h 1898273"/>
                <a:gd name="connsiteX8" fmla="*/ 399255 w 1170892"/>
                <a:gd name="connsiteY8" fmla="*/ 1560136 h 1898273"/>
                <a:gd name="connsiteX9" fmla="*/ 361155 w 1170892"/>
                <a:gd name="connsiteY9" fmla="*/ 1522036 h 1898273"/>
                <a:gd name="connsiteX10" fmla="*/ 394095 w 1170892"/>
                <a:gd name="connsiteY10" fmla="*/ 1476793 h 1898273"/>
                <a:gd name="connsiteX11" fmla="*/ 797718 w 1170892"/>
                <a:gd name="connsiteY11" fmla="*/ 1474411 h 1898273"/>
                <a:gd name="connsiteX12" fmla="*/ 828674 w 1170892"/>
                <a:gd name="connsiteY12" fmla="*/ 1425595 h 1898273"/>
                <a:gd name="connsiteX13" fmla="*/ 796130 w 1170892"/>
                <a:gd name="connsiteY13" fmla="*/ 1383923 h 1898273"/>
                <a:gd name="connsiteX14" fmla="*/ 386555 w 1170892"/>
                <a:gd name="connsiteY14" fmla="*/ 1383923 h 1898273"/>
                <a:gd name="connsiteX15" fmla="*/ 323055 w 1170892"/>
                <a:gd name="connsiteY15" fmla="*/ 1352173 h 1898273"/>
                <a:gd name="connsiteX16" fmla="*/ 283765 w 1170892"/>
                <a:gd name="connsiteY16" fmla="*/ 1300183 h 1898273"/>
                <a:gd name="connsiteX17" fmla="*/ 272255 w 1170892"/>
                <a:gd name="connsiteY17" fmla="*/ 1207711 h 1898273"/>
                <a:gd name="connsiteX18" fmla="*/ 256380 w 1170892"/>
                <a:gd name="connsiteY18" fmla="*/ 1128336 h 1898273"/>
                <a:gd name="connsiteX19" fmla="*/ 205580 w 1170892"/>
                <a:gd name="connsiteY19" fmla="*/ 1037848 h 1898273"/>
                <a:gd name="connsiteX20" fmla="*/ 130968 w 1170892"/>
                <a:gd name="connsiteY20" fmla="*/ 955298 h 1898273"/>
                <a:gd name="connsiteX21" fmla="*/ 55562 w 1170892"/>
                <a:gd name="connsiteY21" fmla="*/ 845364 h 1898273"/>
                <a:gd name="connsiteX22" fmla="*/ 14286 w 1170892"/>
                <a:gd name="connsiteY22" fmla="*/ 735827 h 1898273"/>
                <a:gd name="connsiteX23" fmla="*/ 793 w 1170892"/>
                <a:gd name="connsiteY23" fmla="*/ 601286 h 1898273"/>
                <a:gd name="connsiteX24" fmla="*/ 9524 w 1170892"/>
                <a:gd name="connsiteY24" fmla="*/ 475873 h 1898273"/>
                <a:gd name="connsiteX25" fmla="*/ 81755 w 1170892"/>
                <a:gd name="connsiteY25" fmla="*/ 285373 h 1898273"/>
                <a:gd name="connsiteX26" fmla="*/ 265905 w 1170892"/>
                <a:gd name="connsiteY26" fmla="*/ 93285 h 1898273"/>
                <a:gd name="connsiteX27" fmla="*/ 519905 w 1170892"/>
                <a:gd name="connsiteY27" fmla="*/ 3990 h 1898273"/>
                <a:gd name="connsiteX28" fmla="*/ 705643 w 1170892"/>
                <a:gd name="connsiteY28" fmla="*/ 10736 h 1898273"/>
                <a:gd name="connsiteX29" fmla="*/ 943768 w 1170892"/>
                <a:gd name="connsiteY29" fmla="*/ 121861 h 1898273"/>
                <a:gd name="connsiteX30" fmla="*/ 1100930 w 1170892"/>
                <a:gd name="connsiteY30" fmla="*/ 310773 h 1898273"/>
                <a:gd name="connsiteX31" fmla="*/ 1165224 w 1170892"/>
                <a:gd name="connsiteY31" fmla="*/ 512783 h 1898273"/>
                <a:gd name="connsiteX32" fmla="*/ 1165621 w 1170892"/>
                <a:gd name="connsiteY32" fmla="*/ 683836 h 1898273"/>
                <a:gd name="connsiteX33" fmla="*/ 1085452 w 1170892"/>
                <a:gd name="connsiteY33" fmla="*/ 889020 h 1898273"/>
                <a:gd name="connsiteX34" fmla="*/ 950912 w 1170892"/>
                <a:gd name="connsiteY34" fmla="*/ 1054914 h 1898273"/>
                <a:gd name="connsiteX35" fmla="*/ 915193 w 1170892"/>
                <a:gd name="connsiteY35" fmla="*/ 1118811 h 1898273"/>
                <a:gd name="connsiteX36" fmla="*/ 900905 w 1170892"/>
                <a:gd name="connsiteY36" fmla="*/ 1177152 h 1898273"/>
                <a:gd name="connsiteX37" fmla="*/ 898525 w 1170892"/>
                <a:gd name="connsiteY37" fmla="*/ 1258908 h 1898273"/>
                <a:gd name="connsiteX38" fmla="*/ 858439 w 1170892"/>
                <a:gd name="connsiteY38" fmla="*/ 1301373 h 1898273"/>
                <a:gd name="connsiteX39" fmla="*/ 642143 w 1170892"/>
                <a:gd name="connsiteY39" fmla="*/ 1301373 h 1898273"/>
                <a:gd name="connsiteX40" fmla="*/ 591343 w 1170892"/>
                <a:gd name="connsiteY40" fmla="*/ 1279148 h 1898273"/>
                <a:gd name="connsiteX41" fmla="*/ 591343 w 1170892"/>
                <a:gd name="connsiteY41" fmla="*/ 1212473 h 1898273"/>
                <a:gd name="connsiteX0" fmla="*/ 584993 w 1170892"/>
                <a:gd name="connsiteY0" fmla="*/ 1898273 h 1898273"/>
                <a:gd name="connsiteX1" fmla="*/ 581818 w 1170892"/>
                <a:gd name="connsiteY1" fmla="*/ 1768098 h 1898273"/>
                <a:gd name="connsiteX2" fmla="*/ 513555 w 1170892"/>
                <a:gd name="connsiteY2" fmla="*/ 1726030 h 1898273"/>
                <a:gd name="connsiteX3" fmla="*/ 470693 w 1170892"/>
                <a:gd name="connsiteY3" fmla="*/ 1680389 h 1898273"/>
                <a:gd name="connsiteX4" fmla="*/ 505618 w 1170892"/>
                <a:gd name="connsiteY4" fmla="*/ 1644273 h 1898273"/>
                <a:gd name="connsiteX5" fmla="*/ 718343 w 1170892"/>
                <a:gd name="connsiteY5" fmla="*/ 1644273 h 1898273"/>
                <a:gd name="connsiteX6" fmla="*/ 749299 w 1170892"/>
                <a:gd name="connsiteY6" fmla="*/ 1603792 h 1898273"/>
                <a:gd name="connsiteX7" fmla="*/ 716755 w 1170892"/>
                <a:gd name="connsiteY7" fmla="*/ 1561327 h 1898273"/>
                <a:gd name="connsiteX8" fmla="*/ 399255 w 1170892"/>
                <a:gd name="connsiteY8" fmla="*/ 1560136 h 1898273"/>
                <a:gd name="connsiteX9" fmla="*/ 361155 w 1170892"/>
                <a:gd name="connsiteY9" fmla="*/ 1522036 h 1898273"/>
                <a:gd name="connsiteX10" fmla="*/ 394095 w 1170892"/>
                <a:gd name="connsiteY10" fmla="*/ 1476793 h 1898273"/>
                <a:gd name="connsiteX11" fmla="*/ 797718 w 1170892"/>
                <a:gd name="connsiteY11" fmla="*/ 1474411 h 1898273"/>
                <a:gd name="connsiteX12" fmla="*/ 828674 w 1170892"/>
                <a:gd name="connsiteY12" fmla="*/ 1425595 h 1898273"/>
                <a:gd name="connsiteX13" fmla="*/ 796130 w 1170892"/>
                <a:gd name="connsiteY13" fmla="*/ 1383923 h 1898273"/>
                <a:gd name="connsiteX14" fmla="*/ 386555 w 1170892"/>
                <a:gd name="connsiteY14" fmla="*/ 1383923 h 1898273"/>
                <a:gd name="connsiteX15" fmla="*/ 323055 w 1170892"/>
                <a:gd name="connsiteY15" fmla="*/ 1352173 h 1898273"/>
                <a:gd name="connsiteX16" fmla="*/ 283765 w 1170892"/>
                <a:gd name="connsiteY16" fmla="*/ 1300183 h 1898273"/>
                <a:gd name="connsiteX17" fmla="*/ 272255 w 1170892"/>
                <a:gd name="connsiteY17" fmla="*/ 1207711 h 1898273"/>
                <a:gd name="connsiteX18" fmla="*/ 256380 w 1170892"/>
                <a:gd name="connsiteY18" fmla="*/ 1128336 h 1898273"/>
                <a:gd name="connsiteX19" fmla="*/ 205580 w 1170892"/>
                <a:gd name="connsiteY19" fmla="*/ 1037848 h 1898273"/>
                <a:gd name="connsiteX20" fmla="*/ 130968 w 1170892"/>
                <a:gd name="connsiteY20" fmla="*/ 955298 h 1898273"/>
                <a:gd name="connsiteX21" fmla="*/ 55562 w 1170892"/>
                <a:gd name="connsiteY21" fmla="*/ 845364 h 1898273"/>
                <a:gd name="connsiteX22" fmla="*/ 14286 w 1170892"/>
                <a:gd name="connsiteY22" fmla="*/ 735827 h 1898273"/>
                <a:gd name="connsiteX23" fmla="*/ 793 w 1170892"/>
                <a:gd name="connsiteY23" fmla="*/ 601286 h 1898273"/>
                <a:gd name="connsiteX24" fmla="*/ 9524 w 1170892"/>
                <a:gd name="connsiteY24" fmla="*/ 475873 h 1898273"/>
                <a:gd name="connsiteX25" fmla="*/ 81755 w 1170892"/>
                <a:gd name="connsiteY25" fmla="*/ 285373 h 1898273"/>
                <a:gd name="connsiteX26" fmla="*/ 265905 w 1170892"/>
                <a:gd name="connsiteY26" fmla="*/ 93285 h 1898273"/>
                <a:gd name="connsiteX27" fmla="*/ 519905 w 1170892"/>
                <a:gd name="connsiteY27" fmla="*/ 3990 h 1898273"/>
                <a:gd name="connsiteX28" fmla="*/ 705643 w 1170892"/>
                <a:gd name="connsiteY28" fmla="*/ 10736 h 1898273"/>
                <a:gd name="connsiteX29" fmla="*/ 943768 w 1170892"/>
                <a:gd name="connsiteY29" fmla="*/ 121861 h 1898273"/>
                <a:gd name="connsiteX30" fmla="*/ 1100930 w 1170892"/>
                <a:gd name="connsiteY30" fmla="*/ 310773 h 1898273"/>
                <a:gd name="connsiteX31" fmla="*/ 1165224 w 1170892"/>
                <a:gd name="connsiteY31" fmla="*/ 512783 h 1898273"/>
                <a:gd name="connsiteX32" fmla="*/ 1165621 w 1170892"/>
                <a:gd name="connsiteY32" fmla="*/ 683836 h 1898273"/>
                <a:gd name="connsiteX33" fmla="*/ 1085452 w 1170892"/>
                <a:gd name="connsiteY33" fmla="*/ 889020 h 1898273"/>
                <a:gd name="connsiteX34" fmla="*/ 950912 w 1170892"/>
                <a:gd name="connsiteY34" fmla="*/ 1054914 h 1898273"/>
                <a:gd name="connsiteX35" fmla="*/ 915193 w 1170892"/>
                <a:gd name="connsiteY35" fmla="*/ 1118811 h 1898273"/>
                <a:gd name="connsiteX36" fmla="*/ 900905 w 1170892"/>
                <a:gd name="connsiteY36" fmla="*/ 1177152 h 1898273"/>
                <a:gd name="connsiteX37" fmla="*/ 898525 w 1170892"/>
                <a:gd name="connsiteY37" fmla="*/ 1258908 h 1898273"/>
                <a:gd name="connsiteX38" fmla="*/ 858439 w 1170892"/>
                <a:gd name="connsiteY38" fmla="*/ 1301373 h 1898273"/>
                <a:gd name="connsiteX39" fmla="*/ 642143 w 1170892"/>
                <a:gd name="connsiteY39" fmla="*/ 1301373 h 1898273"/>
                <a:gd name="connsiteX40" fmla="*/ 591343 w 1170892"/>
                <a:gd name="connsiteY40" fmla="*/ 1279148 h 1898273"/>
                <a:gd name="connsiteX41" fmla="*/ 591343 w 1170892"/>
                <a:gd name="connsiteY41" fmla="*/ 1212473 h 1898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170892" h="1898273">
                  <a:moveTo>
                    <a:pt x="584993" y="1898273"/>
                  </a:moveTo>
                  <a:cubicBezTo>
                    <a:pt x="583935" y="1854881"/>
                    <a:pt x="582876" y="1811490"/>
                    <a:pt x="581818" y="1768098"/>
                  </a:cubicBezTo>
                  <a:cubicBezTo>
                    <a:pt x="573352" y="1746931"/>
                    <a:pt x="562503" y="1729338"/>
                    <a:pt x="513555" y="1726030"/>
                  </a:cubicBezTo>
                  <a:cubicBezTo>
                    <a:pt x="487759" y="1721135"/>
                    <a:pt x="471487" y="1707906"/>
                    <a:pt x="470693" y="1680389"/>
                  </a:cubicBezTo>
                  <a:cubicBezTo>
                    <a:pt x="474793" y="1662398"/>
                    <a:pt x="478895" y="1650358"/>
                    <a:pt x="505618" y="1644273"/>
                  </a:cubicBezTo>
                  <a:lnTo>
                    <a:pt x="718343" y="1644273"/>
                  </a:lnTo>
                  <a:cubicBezTo>
                    <a:pt x="736202" y="1631970"/>
                    <a:pt x="744536" y="1626810"/>
                    <a:pt x="749299" y="1603792"/>
                  </a:cubicBezTo>
                  <a:cubicBezTo>
                    <a:pt x="745198" y="1586858"/>
                    <a:pt x="741097" y="1572308"/>
                    <a:pt x="716755" y="1561327"/>
                  </a:cubicBezTo>
                  <a:lnTo>
                    <a:pt x="399255" y="1560136"/>
                  </a:lnTo>
                  <a:cubicBezTo>
                    <a:pt x="375839" y="1555770"/>
                    <a:pt x="367902" y="1546642"/>
                    <a:pt x="361155" y="1522036"/>
                  </a:cubicBezTo>
                  <a:cubicBezTo>
                    <a:pt x="362610" y="1506161"/>
                    <a:pt x="365255" y="1491478"/>
                    <a:pt x="394095" y="1476793"/>
                  </a:cubicBezTo>
                  <a:lnTo>
                    <a:pt x="797718" y="1474411"/>
                  </a:lnTo>
                  <a:cubicBezTo>
                    <a:pt x="819546" y="1463299"/>
                    <a:pt x="827088" y="1449805"/>
                    <a:pt x="828674" y="1425595"/>
                  </a:cubicBezTo>
                  <a:cubicBezTo>
                    <a:pt x="824177" y="1402972"/>
                    <a:pt x="825632" y="1399402"/>
                    <a:pt x="796130" y="1383923"/>
                  </a:cubicBezTo>
                  <a:lnTo>
                    <a:pt x="386555" y="1383923"/>
                  </a:lnTo>
                  <a:cubicBezTo>
                    <a:pt x="360625" y="1374530"/>
                    <a:pt x="343031" y="1368709"/>
                    <a:pt x="323055" y="1352173"/>
                  </a:cubicBezTo>
                  <a:cubicBezTo>
                    <a:pt x="314721" y="1341193"/>
                    <a:pt x="295670" y="1327832"/>
                    <a:pt x="283765" y="1300183"/>
                  </a:cubicBezTo>
                  <a:cubicBezTo>
                    <a:pt x="275166" y="1267772"/>
                    <a:pt x="274901" y="1238932"/>
                    <a:pt x="272255" y="1207711"/>
                  </a:cubicBezTo>
                  <a:lnTo>
                    <a:pt x="256380" y="1128336"/>
                  </a:lnTo>
                  <a:cubicBezTo>
                    <a:pt x="240241" y="1093410"/>
                    <a:pt x="227673" y="1070392"/>
                    <a:pt x="205580" y="1037848"/>
                  </a:cubicBezTo>
                  <a:cubicBezTo>
                    <a:pt x="184281" y="1006760"/>
                    <a:pt x="162982" y="981625"/>
                    <a:pt x="130968" y="955298"/>
                  </a:cubicBezTo>
                  <a:cubicBezTo>
                    <a:pt x="101071" y="924606"/>
                    <a:pt x="77125" y="886771"/>
                    <a:pt x="55562" y="845364"/>
                  </a:cubicBezTo>
                  <a:cubicBezTo>
                    <a:pt x="23150" y="783054"/>
                    <a:pt x="26457" y="770752"/>
                    <a:pt x="14286" y="735827"/>
                  </a:cubicBezTo>
                  <a:cubicBezTo>
                    <a:pt x="6217" y="686615"/>
                    <a:pt x="1322" y="648911"/>
                    <a:pt x="793" y="601286"/>
                  </a:cubicBezTo>
                  <a:cubicBezTo>
                    <a:pt x="-265" y="557894"/>
                    <a:pt x="-2118" y="514502"/>
                    <a:pt x="9524" y="475873"/>
                  </a:cubicBezTo>
                  <a:cubicBezTo>
                    <a:pt x="20107" y="409198"/>
                    <a:pt x="44184" y="347286"/>
                    <a:pt x="81755" y="285373"/>
                  </a:cubicBezTo>
                  <a:cubicBezTo>
                    <a:pt x="130438" y="213406"/>
                    <a:pt x="185472" y="143027"/>
                    <a:pt x="265905" y="93285"/>
                  </a:cubicBezTo>
                  <a:cubicBezTo>
                    <a:pt x="333638" y="48306"/>
                    <a:pt x="420819" y="15632"/>
                    <a:pt x="519905" y="3990"/>
                  </a:cubicBezTo>
                  <a:cubicBezTo>
                    <a:pt x="584200" y="-2095"/>
                    <a:pt x="644921" y="-2228"/>
                    <a:pt x="705643" y="10736"/>
                  </a:cubicBezTo>
                  <a:cubicBezTo>
                    <a:pt x="805259" y="37062"/>
                    <a:pt x="872727" y="72912"/>
                    <a:pt x="943768" y="121861"/>
                  </a:cubicBezTo>
                  <a:cubicBezTo>
                    <a:pt x="1009252" y="178879"/>
                    <a:pt x="1058067" y="229942"/>
                    <a:pt x="1100930" y="310773"/>
                  </a:cubicBezTo>
                  <a:cubicBezTo>
                    <a:pt x="1137046" y="378506"/>
                    <a:pt x="1160063" y="439096"/>
                    <a:pt x="1165224" y="512783"/>
                  </a:cubicBezTo>
                  <a:cubicBezTo>
                    <a:pt x="1174881" y="568213"/>
                    <a:pt x="1170250" y="629597"/>
                    <a:pt x="1165621" y="683836"/>
                  </a:cubicBezTo>
                  <a:cubicBezTo>
                    <a:pt x="1151202" y="755009"/>
                    <a:pt x="1129637" y="822609"/>
                    <a:pt x="1085452" y="889020"/>
                  </a:cubicBezTo>
                  <a:cubicBezTo>
                    <a:pt x="1047749" y="946699"/>
                    <a:pt x="994569" y="992472"/>
                    <a:pt x="950912" y="1054914"/>
                  </a:cubicBezTo>
                  <a:cubicBezTo>
                    <a:pt x="937021" y="1078197"/>
                    <a:pt x="923130" y="1091956"/>
                    <a:pt x="915193" y="1118811"/>
                  </a:cubicBezTo>
                  <a:cubicBezTo>
                    <a:pt x="906065" y="1147386"/>
                    <a:pt x="904080" y="1158102"/>
                    <a:pt x="900905" y="1177152"/>
                  </a:cubicBezTo>
                  <a:cubicBezTo>
                    <a:pt x="898920" y="1217501"/>
                    <a:pt x="899319" y="1230465"/>
                    <a:pt x="898525" y="1258908"/>
                  </a:cubicBezTo>
                  <a:cubicBezTo>
                    <a:pt x="898260" y="1276635"/>
                    <a:pt x="886089" y="1291981"/>
                    <a:pt x="858439" y="1301373"/>
                  </a:cubicBezTo>
                  <a:lnTo>
                    <a:pt x="642143" y="1301373"/>
                  </a:lnTo>
                  <a:cubicBezTo>
                    <a:pt x="604968" y="1298728"/>
                    <a:pt x="601133" y="1297271"/>
                    <a:pt x="591343" y="1279148"/>
                  </a:cubicBezTo>
                  <a:lnTo>
                    <a:pt x="591343" y="1212473"/>
                  </a:lnTo>
                </a:path>
              </a:pathLst>
            </a:custGeom>
            <a:noFill/>
            <a:ln w="25400" algn="ctr">
              <a:solidFill>
                <a:schemeClr val="accent1"/>
              </a:solidFill>
              <a:miter lim="800000"/>
              <a:headEnd type="none" w="sm" len="sm"/>
              <a:tailEnd type="oval" w="sm" len="sm"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11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3" name="Round Same Side Corner Rectangle 37">
              <a:extLst>
                <a:ext uri="{FF2B5EF4-FFF2-40B4-BE49-F238E27FC236}">
                  <a16:creationId xmlns:a16="http://schemas.microsoft.com/office/drawing/2014/main" id="{6A9BBCDF-0A82-4E87-858F-4EED61B77558}"/>
                </a:ext>
              </a:extLst>
            </p:cNvPr>
            <p:cNvSpPr/>
            <p:nvPr/>
          </p:nvSpPr>
          <p:spPr bwMode="gray">
            <a:xfrm>
              <a:off x="1289779" y="3495046"/>
              <a:ext cx="116350" cy="108039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hu-HU" sz="11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4" name="Round Same Side Corner Rectangle 38">
              <a:extLst>
                <a:ext uri="{FF2B5EF4-FFF2-40B4-BE49-F238E27FC236}">
                  <a16:creationId xmlns:a16="http://schemas.microsoft.com/office/drawing/2014/main" id="{7A71E38C-DEF5-492B-91EF-F10981600333}"/>
                </a:ext>
              </a:extLst>
            </p:cNvPr>
            <p:cNvSpPr/>
            <p:nvPr/>
          </p:nvSpPr>
          <p:spPr bwMode="gray">
            <a:xfrm flipV="1">
              <a:off x="1312850" y="3603085"/>
              <a:ext cx="21108" cy="45231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hu-HU" sz="11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5" name="Round Same Side Corner Rectangle 39">
              <a:extLst>
                <a:ext uri="{FF2B5EF4-FFF2-40B4-BE49-F238E27FC236}">
                  <a16:creationId xmlns:a16="http://schemas.microsoft.com/office/drawing/2014/main" id="{F13957A4-6B9C-47D5-AD2B-2BEE686BBBD1}"/>
                </a:ext>
              </a:extLst>
            </p:cNvPr>
            <p:cNvSpPr/>
            <p:nvPr/>
          </p:nvSpPr>
          <p:spPr bwMode="gray">
            <a:xfrm flipV="1">
              <a:off x="1362714" y="3603085"/>
              <a:ext cx="21108" cy="45231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hu-HU" sz="11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720272A-36BE-42F0-861A-0E8C10ED3A07}"/>
                </a:ext>
              </a:extLst>
            </p:cNvPr>
            <p:cNvSpPr/>
            <p:nvPr/>
          </p:nvSpPr>
          <p:spPr bwMode="gray">
            <a:xfrm>
              <a:off x="1329954" y="3531065"/>
              <a:ext cx="36000" cy="36000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hu-HU" sz="11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788A0CA4-527A-4B56-AFA7-ABE22FD946E2}"/>
              </a:ext>
            </a:extLst>
          </p:cNvPr>
          <p:cNvGrpSpPr/>
          <p:nvPr/>
        </p:nvGrpSpPr>
        <p:grpSpPr>
          <a:xfrm>
            <a:off x="8446564" y="3839647"/>
            <a:ext cx="2593097" cy="2149217"/>
            <a:chOff x="582909" y="4047069"/>
            <a:chExt cx="2642778" cy="2579952"/>
          </a:xfrm>
          <a:solidFill>
            <a:schemeClr val="bg1">
              <a:lumMod val="95000"/>
            </a:schemeClr>
          </a:solidFill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97A1E3A-27EB-40F7-B4CC-FADB1D0E8CE6}"/>
                </a:ext>
              </a:extLst>
            </p:cNvPr>
            <p:cNvSpPr/>
            <p:nvPr/>
          </p:nvSpPr>
          <p:spPr bwMode="gray">
            <a:xfrm>
              <a:off x="582909" y="4047069"/>
              <a:ext cx="2642778" cy="2555349"/>
            </a:xfrm>
            <a:prstGeom prst="rect">
              <a:avLst/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91440" tIns="91440" rIns="91440" bIns="91440" rtlCol="0" anchor="t"/>
            <a:lstStyle/>
            <a:p>
              <a:pPr algn="l"/>
              <a:r>
                <a:rPr lang="hu-HU" sz="1600">
                  <a:latin typeface="Calibri" panose="020F0502020204030204" pitchFamily="34" charset="0"/>
                </a:rPr>
                <a:t>Tipikusan egy szervzet legmagasabb szintű leírása, ami jellemzően lefedi az összes küldetést és funkciót</a:t>
              </a:r>
            </a:p>
            <a:p>
              <a:pPr algn="l"/>
              <a:r>
                <a:rPr lang="hu-HU" sz="1600" i="1">
                  <a:latin typeface="Calibri" panose="020F0502020204030204" pitchFamily="34" charset="0"/>
                </a:rPr>
                <a:t>(A nagyvállalat sokszor több  szervezetre épül)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43E834A1-4389-4442-96D1-FF6AFC338FDC}"/>
                </a:ext>
              </a:extLst>
            </p:cNvPr>
            <p:cNvSpPr/>
            <p:nvPr/>
          </p:nvSpPr>
          <p:spPr bwMode="gray">
            <a:xfrm>
              <a:off x="756474" y="6539325"/>
              <a:ext cx="2295650" cy="87696"/>
            </a:xfrm>
            <a:prstGeom prst="rect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91440" tIns="91440" r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hu-HU" sz="11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8EF5F581-0E3E-48D1-81CC-89F5133714CA}"/>
              </a:ext>
            </a:extLst>
          </p:cNvPr>
          <p:cNvGrpSpPr/>
          <p:nvPr/>
        </p:nvGrpSpPr>
        <p:grpSpPr>
          <a:xfrm>
            <a:off x="9317885" y="2400565"/>
            <a:ext cx="850454" cy="1406308"/>
            <a:chOff x="757805" y="1635343"/>
            <a:chExt cx="1185062" cy="2012973"/>
          </a:xfrm>
        </p:grpSpPr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83C1787A-0F1A-498B-9531-D8A7FA4CB9BB}"/>
                </a:ext>
              </a:extLst>
            </p:cNvPr>
            <p:cNvSpPr/>
            <p:nvPr/>
          </p:nvSpPr>
          <p:spPr bwMode="gray">
            <a:xfrm>
              <a:off x="757805" y="1635343"/>
              <a:ext cx="1185062" cy="1921248"/>
            </a:xfrm>
            <a:custGeom>
              <a:avLst/>
              <a:gdLst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73050 w 1162050"/>
                <a:gd name="connsiteY26" fmla="*/ 87312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73050 w 1162050"/>
                <a:gd name="connsiteY26" fmla="*/ 87312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73050 w 1162050"/>
                <a:gd name="connsiteY26" fmla="*/ 87312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65112 w 1162050"/>
                <a:gd name="connsiteY26" fmla="*/ 85724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65112 w 1162050"/>
                <a:gd name="connsiteY26" fmla="*/ 85724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65112 w 1162050"/>
                <a:gd name="connsiteY26" fmla="*/ 85724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65112 w 1162050"/>
                <a:gd name="connsiteY26" fmla="*/ 85724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65112 w 1162050"/>
                <a:gd name="connsiteY26" fmla="*/ 85724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200 w 1162050"/>
                <a:gd name="connsiteY0" fmla="*/ 1890712 h 1890712"/>
                <a:gd name="connsiteX1" fmla="*/ 581025 w 1162050"/>
                <a:gd name="connsiteY1" fmla="*/ 1760537 h 1890712"/>
                <a:gd name="connsiteX2" fmla="*/ 508000 w 1162050"/>
                <a:gd name="connsiteY2" fmla="*/ 1716087 h 1890712"/>
                <a:gd name="connsiteX3" fmla="*/ 474662 w 1162050"/>
                <a:gd name="connsiteY3" fmla="*/ 1676400 h 1890712"/>
                <a:gd name="connsiteX4" fmla="*/ 504825 w 1162050"/>
                <a:gd name="connsiteY4" fmla="*/ 1636712 h 1890712"/>
                <a:gd name="connsiteX5" fmla="*/ 717550 w 1162050"/>
                <a:gd name="connsiteY5" fmla="*/ 1636712 h 1890712"/>
                <a:gd name="connsiteX6" fmla="*/ 746125 w 1162050"/>
                <a:gd name="connsiteY6" fmla="*/ 1589087 h 1890712"/>
                <a:gd name="connsiteX7" fmla="*/ 715962 w 1162050"/>
                <a:gd name="connsiteY7" fmla="*/ 1552575 h 1890712"/>
                <a:gd name="connsiteX8" fmla="*/ 398462 w 1162050"/>
                <a:gd name="connsiteY8" fmla="*/ 1552575 h 1890712"/>
                <a:gd name="connsiteX9" fmla="*/ 360362 w 1162050"/>
                <a:gd name="connsiteY9" fmla="*/ 1514475 h 1890712"/>
                <a:gd name="connsiteX10" fmla="*/ 382587 w 1162050"/>
                <a:gd name="connsiteY10" fmla="*/ 1466850 h 1890712"/>
                <a:gd name="connsiteX11" fmla="*/ 796925 w 1162050"/>
                <a:gd name="connsiteY11" fmla="*/ 1466850 h 1890712"/>
                <a:gd name="connsiteX12" fmla="*/ 830262 w 1162050"/>
                <a:gd name="connsiteY12" fmla="*/ 1419225 h 1890712"/>
                <a:gd name="connsiteX13" fmla="*/ 795337 w 1162050"/>
                <a:gd name="connsiteY13" fmla="*/ 1376362 h 1890712"/>
                <a:gd name="connsiteX14" fmla="*/ 385762 w 1162050"/>
                <a:gd name="connsiteY14" fmla="*/ 1376362 h 1890712"/>
                <a:gd name="connsiteX15" fmla="*/ 322262 w 1162050"/>
                <a:gd name="connsiteY15" fmla="*/ 1344612 h 1890712"/>
                <a:gd name="connsiteX16" fmla="*/ 279400 w 1162050"/>
                <a:gd name="connsiteY16" fmla="*/ 1293812 h 1890712"/>
                <a:gd name="connsiteX17" fmla="*/ 271462 w 1162050"/>
                <a:gd name="connsiteY17" fmla="*/ 1200150 h 1890712"/>
                <a:gd name="connsiteX18" fmla="*/ 260350 w 1162050"/>
                <a:gd name="connsiteY18" fmla="*/ 1120775 h 1890712"/>
                <a:gd name="connsiteX19" fmla="*/ 204787 w 1162050"/>
                <a:gd name="connsiteY19" fmla="*/ 1030287 h 1890712"/>
                <a:gd name="connsiteX20" fmla="*/ 130175 w 1162050"/>
                <a:gd name="connsiteY20" fmla="*/ 947737 h 1890712"/>
                <a:gd name="connsiteX21" fmla="*/ 57150 w 1162050"/>
                <a:gd name="connsiteY21" fmla="*/ 831850 h 1890712"/>
                <a:gd name="connsiteX22" fmla="*/ 20637 w 1162050"/>
                <a:gd name="connsiteY22" fmla="*/ 727075 h 1890712"/>
                <a:gd name="connsiteX23" fmla="*/ 0 w 1162050"/>
                <a:gd name="connsiteY23" fmla="*/ 593725 h 1890712"/>
                <a:gd name="connsiteX24" fmla="*/ 11112 w 1162050"/>
                <a:gd name="connsiteY24" fmla="*/ 468312 h 1890712"/>
                <a:gd name="connsiteX25" fmla="*/ 80962 w 1162050"/>
                <a:gd name="connsiteY25" fmla="*/ 277812 h 1890712"/>
                <a:gd name="connsiteX26" fmla="*/ 265112 w 1162050"/>
                <a:gd name="connsiteY26" fmla="*/ 85724 h 1890712"/>
                <a:gd name="connsiteX27" fmla="*/ 519112 w 1162050"/>
                <a:gd name="connsiteY27" fmla="*/ 0 h 1890712"/>
                <a:gd name="connsiteX28" fmla="*/ 704850 w 1162050"/>
                <a:gd name="connsiteY28" fmla="*/ 3175 h 1890712"/>
                <a:gd name="connsiteX29" fmla="*/ 942975 w 1162050"/>
                <a:gd name="connsiteY29" fmla="*/ 114300 h 1890712"/>
                <a:gd name="connsiteX30" fmla="*/ 1100137 w 1162050"/>
                <a:gd name="connsiteY30" fmla="*/ 303212 h 1890712"/>
                <a:gd name="connsiteX31" fmla="*/ 1162050 w 1162050"/>
                <a:gd name="connsiteY31" fmla="*/ 506412 h 1890712"/>
                <a:gd name="connsiteX32" fmla="*/ 1158875 w 1162050"/>
                <a:gd name="connsiteY32" fmla="*/ 676275 h 1890712"/>
                <a:gd name="connsiteX33" fmla="*/ 1090612 w 1162050"/>
                <a:gd name="connsiteY33" fmla="*/ 882650 h 1890712"/>
                <a:gd name="connsiteX34" fmla="*/ 957262 w 1162050"/>
                <a:gd name="connsiteY34" fmla="*/ 1050925 h 1890712"/>
                <a:gd name="connsiteX35" fmla="*/ 914400 w 1162050"/>
                <a:gd name="connsiteY35" fmla="*/ 1111250 h 1890712"/>
                <a:gd name="connsiteX36" fmla="*/ 904875 w 1162050"/>
                <a:gd name="connsiteY36" fmla="*/ 1168400 h 1890712"/>
                <a:gd name="connsiteX37" fmla="*/ 904875 w 1162050"/>
                <a:gd name="connsiteY37" fmla="*/ 1257300 h 1890712"/>
                <a:gd name="connsiteX38" fmla="*/ 868362 w 1162050"/>
                <a:gd name="connsiteY38" fmla="*/ 1293812 h 1890712"/>
                <a:gd name="connsiteX39" fmla="*/ 641350 w 1162050"/>
                <a:gd name="connsiteY39" fmla="*/ 1293812 h 1890712"/>
                <a:gd name="connsiteX40" fmla="*/ 590550 w 1162050"/>
                <a:gd name="connsiteY40" fmla="*/ 1271587 h 1890712"/>
                <a:gd name="connsiteX41" fmla="*/ 590550 w 1162050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7518 w 1162418"/>
                <a:gd name="connsiteY21" fmla="*/ 831850 h 1890712"/>
                <a:gd name="connsiteX22" fmla="*/ 21005 w 1162418"/>
                <a:gd name="connsiteY22" fmla="*/ 727075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7518 w 1162418"/>
                <a:gd name="connsiteY21" fmla="*/ 831850 h 1890712"/>
                <a:gd name="connsiteX22" fmla="*/ 21005 w 1162418"/>
                <a:gd name="connsiteY22" fmla="*/ 727075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7518 w 1162418"/>
                <a:gd name="connsiteY21" fmla="*/ 831850 h 1890712"/>
                <a:gd name="connsiteX22" fmla="*/ 21005 w 1162418"/>
                <a:gd name="connsiteY22" fmla="*/ 727075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7518 w 1162418"/>
                <a:gd name="connsiteY21" fmla="*/ 831850 h 1890712"/>
                <a:gd name="connsiteX22" fmla="*/ 21005 w 1162418"/>
                <a:gd name="connsiteY22" fmla="*/ 727075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7518 w 1162418"/>
                <a:gd name="connsiteY21" fmla="*/ 831850 h 1890712"/>
                <a:gd name="connsiteX22" fmla="*/ 21005 w 1162418"/>
                <a:gd name="connsiteY22" fmla="*/ 727075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7518 w 1162418"/>
                <a:gd name="connsiteY21" fmla="*/ 831850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7518 w 1162418"/>
                <a:gd name="connsiteY21" fmla="*/ 831850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79768 w 1162418"/>
                <a:gd name="connsiteY16" fmla="*/ 129381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83340 w 1162418"/>
                <a:gd name="connsiteY16" fmla="*/ 129262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83340 w 1162418"/>
                <a:gd name="connsiteY16" fmla="*/ 129262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83340 w 1162418"/>
                <a:gd name="connsiteY16" fmla="*/ 129262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0712 h 1890712"/>
                <a:gd name="connsiteX1" fmla="*/ 581393 w 1162418"/>
                <a:gd name="connsiteY1" fmla="*/ 1760537 h 1890712"/>
                <a:gd name="connsiteX2" fmla="*/ 508368 w 1162418"/>
                <a:gd name="connsiteY2" fmla="*/ 1716087 h 1890712"/>
                <a:gd name="connsiteX3" fmla="*/ 475030 w 1162418"/>
                <a:gd name="connsiteY3" fmla="*/ 1676400 h 1890712"/>
                <a:gd name="connsiteX4" fmla="*/ 505193 w 1162418"/>
                <a:gd name="connsiteY4" fmla="*/ 1636712 h 1890712"/>
                <a:gd name="connsiteX5" fmla="*/ 717918 w 1162418"/>
                <a:gd name="connsiteY5" fmla="*/ 1636712 h 1890712"/>
                <a:gd name="connsiteX6" fmla="*/ 746493 w 1162418"/>
                <a:gd name="connsiteY6" fmla="*/ 1589087 h 1890712"/>
                <a:gd name="connsiteX7" fmla="*/ 716330 w 1162418"/>
                <a:gd name="connsiteY7" fmla="*/ 1552575 h 1890712"/>
                <a:gd name="connsiteX8" fmla="*/ 398830 w 1162418"/>
                <a:gd name="connsiteY8" fmla="*/ 1552575 h 1890712"/>
                <a:gd name="connsiteX9" fmla="*/ 360730 w 1162418"/>
                <a:gd name="connsiteY9" fmla="*/ 1514475 h 1890712"/>
                <a:gd name="connsiteX10" fmla="*/ 382955 w 1162418"/>
                <a:gd name="connsiteY10" fmla="*/ 1466850 h 1890712"/>
                <a:gd name="connsiteX11" fmla="*/ 797293 w 1162418"/>
                <a:gd name="connsiteY11" fmla="*/ 1466850 h 1890712"/>
                <a:gd name="connsiteX12" fmla="*/ 830630 w 1162418"/>
                <a:gd name="connsiteY12" fmla="*/ 1419225 h 1890712"/>
                <a:gd name="connsiteX13" fmla="*/ 795705 w 1162418"/>
                <a:gd name="connsiteY13" fmla="*/ 1376362 h 1890712"/>
                <a:gd name="connsiteX14" fmla="*/ 386130 w 1162418"/>
                <a:gd name="connsiteY14" fmla="*/ 1376362 h 1890712"/>
                <a:gd name="connsiteX15" fmla="*/ 322630 w 1162418"/>
                <a:gd name="connsiteY15" fmla="*/ 1344612 h 1890712"/>
                <a:gd name="connsiteX16" fmla="*/ 283340 w 1162418"/>
                <a:gd name="connsiteY16" fmla="*/ 1292622 h 1890712"/>
                <a:gd name="connsiteX17" fmla="*/ 271830 w 1162418"/>
                <a:gd name="connsiteY17" fmla="*/ 1200150 h 1890712"/>
                <a:gd name="connsiteX18" fmla="*/ 260718 w 1162418"/>
                <a:gd name="connsiteY18" fmla="*/ 1120775 h 1890712"/>
                <a:gd name="connsiteX19" fmla="*/ 205155 w 1162418"/>
                <a:gd name="connsiteY19" fmla="*/ 1030287 h 1890712"/>
                <a:gd name="connsiteX20" fmla="*/ 130543 w 1162418"/>
                <a:gd name="connsiteY20" fmla="*/ 947737 h 1890712"/>
                <a:gd name="connsiteX21" fmla="*/ 55137 w 1162418"/>
                <a:gd name="connsiteY21" fmla="*/ 837803 h 1890712"/>
                <a:gd name="connsiteX22" fmla="*/ 13861 w 1162418"/>
                <a:gd name="connsiteY22" fmla="*/ 728266 h 1890712"/>
                <a:gd name="connsiteX23" fmla="*/ 368 w 1162418"/>
                <a:gd name="connsiteY23" fmla="*/ 593725 h 1890712"/>
                <a:gd name="connsiteX24" fmla="*/ 11480 w 1162418"/>
                <a:gd name="connsiteY24" fmla="*/ 468312 h 1890712"/>
                <a:gd name="connsiteX25" fmla="*/ 81330 w 1162418"/>
                <a:gd name="connsiteY25" fmla="*/ 277812 h 1890712"/>
                <a:gd name="connsiteX26" fmla="*/ 265480 w 1162418"/>
                <a:gd name="connsiteY26" fmla="*/ 85724 h 1890712"/>
                <a:gd name="connsiteX27" fmla="*/ 519480 w 1162418"/>
                <a:gd name="connsiteY27" fmla="*/ 0 h 1890712"/>
                <a:gd name="connsiteX28" fmla="*/ 705218 w 1162418"/>
                <a:gd name="connsiteY28" fmla="*/ 3175 h 1890712"/>
                <a:gd name="connsiteX29" fmla="*/ 943343 w 1162418"/>
                <a:gd name="connsiteY29" fmla="*/ 114300 h 1890712"/>
                <a:gd name="connsiteX30" fmla="*/ 1100505 w 1162418"/>
                <a:gd name="connsiteY30" fmla="*/ 303212 h 1890712"/>
                <a:gd name="connsiteX31" fmla="*/ 1162418 w 1162418"/>
                <a:gd name="connsiteY31" fmla="*/ 506412 h 1890712"/>
                <a:gd name="connsiteX32" fmla="*/ 1159243 w 1162418"/>
                <a:gd name="connsiteY32" fmla="*/ 676275 h 1890712"/>
                <a:gd name="connsiteX33" fmla="*/ 1090980 w 1162418"/>
                <a:gd name="connsiteY33" fmla="*/ 882650 h 1890712"/>
                <a:gd name="connsiteX34" fmla="*/ 957630 w 1162418"/>
                <a:gd name="connsiteY34" fmla="*/ 1050925 h 1890712"/>
                <a:gd name="connsiteX35" fmla="*/ 914768 w 1162418"/>
                <a:gd name="connsiteY35" fmla="*/ 1111250 h 1890712"/>
                <a:gd name="connsiteX36" fmla="*/ 905243 w 1162418"/>
                <a:gd name="connsiteY36" fmla="*/ 1168400 h 1890712"/>
                <a:gd name="connsiteX37" fmla="*/ 905243 w 1162418"/>
                <a:gd name="connsiteY37" fmla="*/ 1257300 h 1890712"/>
                <a:gd name="connsiteX38" fmla="*/ 868730 w 1162418"/>
                <a:gd name="connsiteY38" fmla="*/ 1293812 h 1890712"/>
                <a:gd name="connsiteX39" fmla="*/ 641718 w 1162418"/>
                <a:gd name="connsiteY39" fmla="*/ 1293812 h 1890712"/>
                <a:gd name="connsiteX40" fmla="*/ 590918 w 1162418"/>
                <a:gd name="connsiteY40" fmla="*/ 1271587 h 1890712"/>
                <a:gd name="connsiteX41" fmla="*/ 590918 w 1162418"/>
                <a:gd name="connsiteY41" fmla="*/ 1204912 h 1890712"/>
                <a:gd name="connsiteX0" fmla="*/ 584568 w 1162418"/>
                <a:gd name="connsiteY0" fmla="*/ 1892938 h 1892938"/>
                <a:gd name="connsiteX1" fmla="*/ 581393 w 1162418"/>
                <a:gd name="connsiteY1" fmla="*/ 1762763 h 1892938"/>
                <a:gd name="connsiteX2" fmla="*/ 508368 w 1162418"/>
                <a:gd name="connsiteY2" fmla="*/ 1718313 h 1892938"/>
                <a:gd name="connsiteX3" fmla="*/ 475030 w 1162418"/>
                <a:gd name="connsiteY3" fmla="*/ 1678626 h 1892938"/>
                <a:gd name="connsiteX4" fmla="*/ 505193 w 1162418"/>
                <a:gd name="connsiteY4" fmla="*/ 1638938 h 1892938"/>
                <a:gd name="connsiteX5" fmla="*/ 717918 w 1162418"/>
                <a:gd name="connsiteY5" fmla="*/ 1638938 h 1892938"/>
                <a:gd name="connsiteX6" fmla="*/ 746493 w 1162418"/>
                <a:gd name="connsiteY6" fmla="*/ 1591313 h 1892938"/>
                <a:gd name="connsiteX7" fmla="*/ 716330 w 1162418"/>
                <a:gd name="connsiteY7" fmla="*/ 1554801 h 1892938"/>
                <a:gd name="connsiteX8" fmla="*/ 398830 w 1162418"/>
                <a:gd name="connsiteY8" fmla="*/ 1554801 h 1892938"/>
                <a:gd name="connsiteX9" fmla="*/ 360730 w 1162418"/>
                <a:gd name="connsiteY9" fmla="*/ 1516701 h 1892938"/>
                <a:gd name="connsiteX10" fmla="*/ 382955 w 1162418"/>
                <a:gd name="connsiteY10" fmla="*/ 1469076 h 1892938"/>
                <a:gd name="connsiteX11" fmla="*/ 797293 w 1162418"/>
                <a:gd name="connsiteY11" fmla="*/ 1469076 h 1892938"/>
                <a:gd name="connsiteX12" fmla="*/ 830630 w 1162418"/>
                <a:gd name="connsiteY12" fmla="*/ 1421451 h 1892938"/>
                <a:gd name="connsiteX13" fmla="*/ 795705 w 1162418"/>
                <a:gd name="connsiteY13" fmla="*/ 1378588 h 1892938"/>
                <a:gd name="connsiteX14" fmla="*/ 386130 w 1162418"/>
                <a:gd name="connsiteY14" fmla="*/ 1378588 h 1892938"/>
                <a:gd name="connsiteX15" fmla="*/ 322630 w 1162418"/>
                <a:gd name="connsiteY15" fmla="*/ 1346838 h 1892938"/>
                <a:gd name="connsiteX16" fmla="*/ 283340 w 1162418"/>
                <a:gd name="connsiteY16" fmla="*/ 1294848 h 1892938"/>
                <a:gd name="connsiteX17" fmla="*/ 271830 w 1162418"/>
                <a:gd name="connsiteY17" fmla="*/ 1202376 h 1892938"/>
                <a:gd name="connsiteX18" fmla="*/ 260718 w 1162418"/>
                <a:gd name="connsiteY18" fmla="*/ 1123001 h 1892938"/>
                <a:gd name="connsiteX19" fmla="*/ 205155 w 1162418"/>
                <a:gd name="connsiteY19" fmla="*/ 1032513 h 1892938"/>
                <a:gd name="connsiteX20" fmla="*/ 130543 w 1162418"/>
                <a:gd name="connsiteY20" fmla="*/ 949963 h 1892938"/>
                <a:gd name="connsiteX21" fmla="*/ 55137 w 1162418"/>
                <a:gd name="connsiteY21" fmla="*/ 840029 h 1892938"/>
                <a:gd name="connsiteX22" fmla="*/ 13861 w 1162418"/>
                <a:gd name="connsiteY22" fmla="*/ 730492 h 1892938"/>
                <a:gd name="connsiteX23" fmla="*/ 368 w 1162418"/>
                <a:gd name="connsiteY23" fmla="*/ 595951 h 1892938"/>
                <a:gd name="connsiteX24" fmla="*/ 11480 w 1162418"/>
                <a:gd name="connsiteY24" fmla="*/ 470538 h 1892938"/>
                <a:gd name="connsiteX25" fmla="*/ 81330 w 1162418"/>
                <a:gd name="connsiteY25" fmla="*/ 280038 h 1892938"/>
                <a:gd name="connsiteX26" fmla="*/ 265480 w 1162418"/>
                <a:gd name="connsiteY26" fmla="*/ 87950 h 1892938"/>
                <a:gd name="connsiteX27" fmla="*/ 519480 w 1162418"/>
                <a:gd name="connsiteY27" fmla="*/ 2226 h 1892938"/>
                <a:gd name="connsiteX28" fmla="*/ 705218 w 1162418"/>
                <a:gd name="connsiteY28" fmla="*/ 5401 h 1892938"/>
                <a:gd name="connsiteX29" fmla="*/ 943343 w 1162418"/>
                <a:gd name="connsiteY29" fmla="*/ 116526 h 1892938"/>
                <a:gd name="connsiteX30" fmla="*/ 1100505 w 1162418"/>
                <a:gd name="connsiteY30" fmla="*/ 305438 h 1892938"/>
                <a:gd name="connsiteX31" fmla="*/ 1162418 w 1162418"/>
                <a:gd name="connsiteY31" fmla="*/ 508638 h 1892938"/>
                <a:gd name="connsiteX32" fmla="*/ 1159243 w 1162418"/>
                <a:gd name="connsiteY32" fmla="*/ 678501 h 1892938"/>
                <a:gd name="connsiteX33" fmla="*/ 1090980 w 1162418"/>
                <a:gd name="connsiteY33" fmla="*/ 884876 h 1892938"/>
                <a:gd name="connsiteX34" fmla="*/ 957630 w 1162418"/>
                <a:gd name="connsiteY34" fmla="*/ 1053151 h 1892938"/>
                <a:gd name="connsiteX35" fmla="*/ 914768 w 1162418"/>
                <a:gd name="connsiteY35" fmla="*/ 1113476 h 1892938"/>
                <a:gd name="connsiteX36" fmla="*/ 905243 w 1162418"/>
                <a:gd name="connsiteY36" fmla="*/ 1170626 h 1892938"/>
                <a:gd name="connsiteX37" fmla="*/ 905243 w 1162418"/>
                <a:gd name="connsiteY37" fmla="*/ 1259526 h 1892938"/>
                <a:gd name="connsiteX38" fmla="*/ 868730 w 1162418"/>
                <a:gd name="connsiteY38" fmla="*/ 1296038 h 1892938"/>
                <a:gd name="connsiteX39" fmla="*/ 641718 w 1162418"/>
                <a:gd name="connsiteY39" fmla="*/ 1296038 h 1892938"/>
                <a:gd name="connsiteX40" fmla="*/ 590918 w 1162418"/>
                <a:gd name="connsiteY40" fmla="*/ 1273813 h 1892938"/>
                <a:gd name="connsiteX41" fmla="*/ 590918 w 1162418"/>
                <a:gd name="connsiteY41" fmla="*/ 1207138 h 1892938"/>
                <a:gd name="connsiteX0" fmla="*/ 584568 w 1162418"/>
                <a:gd name="connsiteY0" fmla="*/ 1895823 h 1895823"/>
                <a:gd name="connsiteX1" fmla="*/ 581393 w 1162418"/>
                <a:gd name="connsiteY1" fmla="*/ 1765648 h 1895823"/>
                <a:gd name="connsiteX2" fmla="*/ 508368 w 1162418"/>
                <a:gd name="connsiteY2" fmla="*/ 1721198 h 1895823"/>
                <a:gd name="connsiteX3" fmla="*/ 475030 w 1162418"/>
                <a:gd name="connsiteY3" fmla="*/ 1681511 h 1895823"/>
                <a:gd name="connsiteX4" fmla="*/ 505193 w 1162418"/>
                <a:gd name="connsiteY4" fmla="*/ 1641823 h 1895823"/>
                <a:gd name="connsiteX5" fmla="*/ 717918 w 1162418"/>
                <a:gd name="connsiteY5" fmla="*/ 1641823 h 1895823"/>
                <a:gd name="connsiteX6" fmla="*/ 746493 w 1162418"/>
                <a:gd name="connsiteY6" fmla="*/ 1594198 h 1895823"/>
                <a:gd name="connsiteX7" fmla="*/ 716330 w 1162418"/>
                <a:gd name="connsiteY7" fmla="*/ 1557686 h 1895823"/>
                <a:gd name="connsiteX8" fmla="*/ 398830 w 1162418"/>
                <a:gd name="connsiteY8" fmla="*/ 1557686 h 1895823"/>
                <a:gd name="connsiteX9" fmla="*/ 360730 w 1162418"/>
                <a:gd name="connsiteY9" fmla="*/ 1519586 h 1895823"/>
                <a:gd name="connsiteX10" fmla="*/ 382955 w 1162418"/>
                <a:gd name="connsiteY10" fmla="*/ 1471961 h 1895823"/>
                <a:gd name="connsiteX11" fmla="*/ 797293 w 1162418"/>
                <a:gd name="connsiteY11" fmla="*/ 1471961 h 1895823"/>
                <a:gd name="connsiteX12" fmla="*/ 830630 w 1162418"/>
                <a:gd name="connsiteY12" fmla="*/ 1424336 h 1895823"/>
                <a:gd name="connsiteX13" fmla="*/ 795705 w 1162418"/>
                <a:gd name="connsiteY13" fmla="*/ 1381473 h 1895823"/>
                <a:gd name="connsiteX14" fmla="*/ 386130 w 1162418"/>
                <a:gd name="connsiteY14" fmla="*/ 1381473 h 1895823"/>
                <a:gd name="connsiteX15" fmla="*/ 322630 w 1162418"/>
                <a:gd name="connsiteY15" fmla="*/ 1349723 h 1895823"/>
                <a:gd name="connsiteX16" fmla="*/ 283340 w 1162418"/>
                <a:gd name="connsiteY16" fmla="*/ 1297733 h 1895823"/>
                <a:gd name="connsiteX17" fmla="*/ 271830 w 1162418"/>
                <a:gd name="connsiteY17" fmla="*/ 1205261 h 1895823"/>
                <a:gd name="connsiteX18" fmla="*/ 260718 w 1162418"/>
                <a:gd name="connsiteY18" fmla="*/ 1125886 h 1895823"/>
                <a:gd name="connsiteX19" fmla="*/ 205155 w 1162418"/>
                <a:gd name="connsiteY19" fmla="*/ 1035398 h 1895823"/>
                <a:gd name="connsiteX20" fmla="*/ 130543 w 1162418"/>
                <a:gd name="connsiteY20" fmla="*/ 952848 h 1895823"/>
                <a:gd name="connsiteX21" fmla="*/ 55137 w 1162418"/>
                <a:gd name="connsiteY21" fmla="*/ 842914 h 1895823"/>
                <a:gd name="connsiteX22" fmla="*/ 13861 w 1162418"/>
                <a:gd name="connsiteY22" fmla="*/ 733377 h 1895823"/>
                <a:gd name="connsiteX23" fmla="*/ 368 w 1162418"/>
                <a:gd name="connsiteY23" fmla="*/ 598836 h 1895823"/>
                <a:gd name="connsiteX24" fmla="*/ 11480 w 1162418"/>
                <a:gd name="connsiteY24" fmla="*/ 473423 h 1895823"/>
                <a:gd name="connsiteX25" fmla="*/ 81330 w 1162418"/>
                <a:gd name="connsiteY25" fmla="*/ 282923 h 1895823"/>
                <a:gd name="connsiteX26" fmla="*/ 265480 w 1162418"/>
                <a:gd name="connsiteY26" fmla="*/ 90835 h 1895823"/>
                <a:gd name="connsiteX27" fmla="*/ 519480 w 1162418"/>
                <a:gd name="connsiteY27" fmla="*/ 5111 h 1895823"/>
                <a:gd name="connsiteX28" fmla="*/ 705218 w 1162418"/>
                <a:gd name="connsiteY28" fmla="*/ 8286 h 1895823"/>
                <a:gd name="connsiteX29" fmla="*/ 943343 w 1162418"/>
                <a:gd name="connsiteY29" fmla="*/ 119411 h 1895823"/>
                <a:gd name="connsiteX30" fmla="*/ 1100505 w 1162418"/>
                <a:gd name="connsiteY30" fmla="*/ 308323 h 1895823"/>
                <a:gd name="connsiteX31" fmla="*/ 1162418 w 1162418"/>
                <a:gd name="connsiteY31" fmla="*/ 511523 h 1895823"/>
                <a:gd name="connsiteX32" fmla="*/ 1159243 w 1162418"/>
                <a:gd name="connsiteY32" fmla="*/ 681386 h 1895823"/>
                <a:gd name="connsiteX33" fmla="*/ 1090980 w 1162418"/>
                <a:gd name="connsiteY33" fmla="*/ 887761 h 1895823"/>
                <a:gd name="connsiteX34" fmla="*/ 957630 w 1162418"/>
                <a:gd name="connsiteY34" fmla="*/ 1056036 h 1895823"/>
                <a:gd name="connsiteX35" fmla="*/ 914768 w 1162418"/>
                <a:gd name="connsiteY35" fmla="*/ 1116361 h 1895823"/>
                <a:gd name="connsiteX36" fmla="*/ 905243 w 1162418"/>
                <a:gd name="connsiteY36" fmla="*/ 1173511 h 1895823"/>
                <a:gd name="connsiteX37" fmla="*/ 905243 w 1162418"/>
                <a:gd name="connsiteY37" fmla="*/ 1262411 h 1895823"/>
                <a:gd name="connsiteX38" fmla="*/ 868730 w 1162418"/>
                <a:gd name="connsiteY38" fmla="*/ 1298923 h 1895823"/>
                <a:gd name="connsiteX39" fmla="*/ 641718 w 1162418"/>
                <a:gd name="connsiteY39" fmla="*/ 1298923 h 1895823"/>
                <a:gd name="connsiteX40" fmla="*/ 590918 w 1162418"/>
                <a:gd name="connsiteY40" fmla="*/ 1276698 h 1895823"/>
                <a:gd name="connsiteX41" fmla="*/ 590918 w 1162418"/>
                <a:gd name="connsiteY41" fmla="*/ 1210023 h 1895823"/>
                <a:gd name="connsiteX0" fmla="*/ 584568 w 1162418"/>
                <a:gd name="connsiteY0" fmla="*/ 1897931 h 1897931"/>
                <a:gd name="connsiteX1" fmla="*/ 581393 w 1162418"/>
                <a:gd name="connsiteY1" fmla="*/ 1767756 h 1897931"/>
                <a:gd name="connsiteX2" fmla="*/ 508368 w 1162418"/>
                <a:gd name="connsiteY2" fmla="*/ 1723306 h 1897931"/>
                <a:gd name="connsiteX3" fmla="*/ 475030 w 1162418"/>
                <a:gd name="connsiteY3" fmla="*/ 1683619 h 1897931"/>
                <a:gd name="connsiteX4" fmla="*/ 505193 w 1162418"/>
                <a:gd name="connsiteY4" fmla="*/ 1643931 h 1897931"/>
                <a:gd name="connsiteX5" fmla="*/ 717918 w 1162418"/>
                <a:gd name="connsiteY5" fmla="*/ 1643931 h 1897931"/>
                <a:gd name="connsiteX6" fmla="*/ 746493 w 1162418"/>
                <a:gd name="connsiteY6" fmla="*/ 1596306 h 1897931"/>
                <a:gd name="connsiteX7" fmla="*/ 716330 w 1162418"/>
                <a:gd name="connsiteY7" fmla="*/ 1559794 h 1897931"/>
                <a:gd name="connsiteX8" fmla="*/ 398830 w 1162418"/>
                <a:gd name="connsiteY8" fmla="*/ 1559794 h 1897931"/>
                <a:gd name="connsiteX9" fmla="*/ 360730 w 1162418"/>
                <a:gd name="connsiteY9" fmla="*/ 1521694 h 1897931"/>
                <a:gd name="connsiteX10" fmla="*/ 382955 w 1162418"/>
                <a:gd name="connsiteY10" fmla="*/ 1474069 h 1897931"/>
                <a:gd name="connsiteX11" fmla="*/ 797293 w 1162418"/>
                <a:gd name="connsiteY11" fmla="*/ 1474069 h 1897931"/>
                <a:gd name="connsiteX12" fmla="*/ 830630 w 1162418"/>
                <a:gd name="connsiteY12" fmla="*/ 1426444 h 1897931"/>
                <a:gd name="connsiteX13" fmla="*/ 795705 w 1162418"/>
                <a:gd name="connsiteY13" fmla="*/ 1383581 h 1897931"/>
                <a:gd name="connsiteX14" fmla="*/ 386130 w 1162418"/>
                <a:gd name="connsiteY14" fmla="*/ 1383581 h 1897931"/>
                <a:gd name="connsiteX15" fmla="*/ 322630 w 1162418"/>
                <a:gd name="connsiteY15" fmla="*/ 1351831 h 1897931"/>
                <a:gd name="connsiteX16" fmla="*/ 283340 w 1162418"/>
                <a:gd name="connsiteY16" fmla="*/ 1299841 h 1897931"/>
                <a:gd name="connsiteX17" fmla="*/ 271830 w 1162418"/>
                <a:gd name="connsiteY17" fmla="*/ 1207369 h 1897931"/>
                <a:gd name="connsiteX18" fmla="*/ 260718 w 1162418"/>
                <a:gd name="connsiteY18" fmla="*/ 1127994 h 1897931"/>
                <a:gd name="connsiteX19" fmla="*/ 205155 w 1162418"/>
                <a:gd name="connsiteY19" fmla="*/ 1037506 h 1897931"/>
                <a:gd name="connsiteX20" fmla="*/ 130543 w 1162418"/>
                <a:gd name="connsiteY20" fmla="*/ 954956 h 1897931"/>
                <a:gd name="connsiteX21" fmla="*/ 55137 w 1162418"/>
                <a:gd name="connsiteY21" fmla="*/ 845022 h 1897931"/>
                <a:gd name="connsiteX22" fmla="*/ 13861 w 1162418"/>
                <a:gd name="connsiteY22" fmla="*/ 735485 h 1897931"/>
                <a:gd name="connsiteX23" fmla="*/ 368 w 1162418"/>
                <a:gd name="connsiteY23" fmla="*/ 600944 h 1897931"/>
                <a:gd name="connsiteX24" fmla="*/ 11480 w 1162418"/>
                <a:gd name="connsiteY24" fmla="*/ 475531 h 1897931"/>
                <a:gd name="connsiteX25" fmla="*/ 81330 w 1162418"/>
                <a:gd name="connsiteY25" fmla="*/ 285031 h 1897931"/>
                <a:gd name="connsiteX26" fmla="*/ 265480 w 1162418"/>
                <a:gd name="connsiteY26" fmla="*/ 92943 h 1897931"/>
                <a:gd name="connsiteX27" fmla="*/ 519480 w 1162418"/>
                <a:gd name="connsiteY27" fmla="*/ 3648 h 1897931"/>
                <a:gd name="connsiteX28" fmla="*/ 705218 w 1162418"/>
                <a:gd name="connsiteY28" fmla="*/ 10394 h 1897931"/>
                <a:gd name="connsiteX29" fmla="*/ 943343 w 1162418"/>
                <a:gd name="connsiteY29" fmla="*/ 121519 h 1897931"/>
                <a:gd name="connsiteX30" fmla="*/ 1100505 w 1162418"/>
                <a:gd name="connsiteY30" fmla="*/ 310431 h 1897931"/>
                <a:gd name="connsiteX31" fmla="*/ 1162418 w 1162418"/>
                <a:gd name="connsiteY31" fmla="*/ 513631 h 1897931"/>
                <a:gd name="connsiteX32" fmla="*/ 1159243 w 1162418"/>
                <a:gd name="connsiteY32" fmla="*/ 683494 h 1897931"/>
                <a:gd name="connsiteX33" fmla="*/ 1090980 w 1162418"/>
                <a:gd name="connsiteY33" fmla="*/ 889869 h 1897931"/>
                <a:gd name="connsiteX34" fmla="*/ 957630 w 1162418"/>
                <a:gd name="connsiteY34" fmla="*/ 1058144 h 1897931"/>
                <a:gd name="connsiteX35" fmla="*/ 914768 w 1162418"/>
                <a:gd name="connsiteY35" fmla="*/ 1118469 h 1897931"/>
                <a:gd name="connsiteX36" fmla="*/ 905243 w 1162418"/>
                <a:gd name="connsiteY36" fmla="*/ 1175619 h 1897931"/>
                <a:gd name="connsiteX37" fmla="*/ 905243 w 1162418"/>
                <a:gd name="connsiteY37" fmla="*/ 1264519 h 1897931"/>
                <a:gd name="connsiteX38" fmla="*/ 868730 w 1162418"/>
                <a:gd name="connsiteY38" fmla="*/ 1301031 h 1897931"/>
                <a:gd name="connsiteX39" fmla="*/ 641718 w 1162418"/>
                <a:gd name="connsiteY39" fmla="*/ 1301031 h 1897931"/>
                <a:gd name="connsiteX40" fmla="*/ 590918 w 1162418"/>
                <a:gd name="connsiteY40" fmla="*/ 1278806 h 1897931"/>
                <a:gd name="connsiteX41" fmla="*/ 590918 w 1162418"/>
                <a:gd name="connsiteY41" fmla="*/ 1212131 h 1897931"/>
                <a:gd name="connsiteX0" fmla="*/ 584568 w 1162418"/>
                <a:gd name="connsiteY0" fmla="*/ 1897931 h 1897931"/>
                <a:gd name="connsiteX1" fmla="*/ 581393 w 1162418"/>
                <a:gd name="connsiteY1" fmla="*/ 1767756 h 1897931"/>
                <a:gd name="connsiteX2" fmla="*/ 508368 w 1162418"/>
                <a:gd name="connsiteY2" fmla="*/ 1723306 h 1897931"/>
                <a:gd name="connsiteX3" fmla="*/ 475030 w 1162418"/>
                <a:gd name="connsiteY3" fmla="*/ 1683619 h 1897931"/>
                <a:gd name="connsiteX4" fmla="*/ 505193 w 1162418"/>
                <a:gd name="connsiteY4" fmla="*/ 1643931 h 1897931"/>
                <a:gd name="connsiteX5" fmla="*/ 717918 w 1162418"/>
                <a:gd name="connsiteY5" fmla="*/ 1643931 h 1897931"/>
                <a:gd name="connsiteX6" fmla="*/ 746493 w 1162418"/>
                <a:gd name="connsiteY6" fmla="*/ 1596306 h 1897931"/>
                <a:gd name="connsiteX7" fmla="*/ 716330 w 1162418"/>
                <a:gd name="connsiteY7" fmla="*/ 1559794 h 1897931"/>
                <a:gd name="connsiteX8" fmla="*/ 398830 w 1162418"/>
                <a:gd name="connsiteY8" fmla="*/ 1559794 h 1897931"/>
                <a:gd name="connsiteX9" fmla="*/ 360730 w 1162418"/>
                <a:gd name="connsiteY9" fmla="*/ 1521694 h 1897931"/>
                <a:gd name="connsiteX10" fmla="*/ 382955 w 1162418"/>
                <a:gd name="connsiteY10" fmla="*/ 1474069 h 1897931"/>
                <a:gd name="connsiteX11" fmla="*/ 797293 w 1162418"/>
                <a:gd name="connsiteY11" fmla="*/ 1474069 h 1897931"/>
                <a:gd name="connsiteX12" fmla="*/ 830630 w 1162418"/>
                <a:gd name="connsiteY12" fmla="*/ 1426444 h 1897931"/>
                <a:gd name="connsiteX13" fmla="*/ 795705 w 1162418"/>
                <a:gd name="connsiteY13" fmla="*/ 1383581 h 1897931"/>
                <a:gd name="connsiteX14" fmla="*/ 386130 w 1162418"/>
                <a:gd name="connsiteY14" fmla="*/ 1383581 h 1897931"/>
                <a:gd name="connsiteX15" fmla="*/ 322630 w 1162418"/>
                <a:gd name="connsiteY15" fmla="*/ 1351831 h 1897931"/>
                <a:gd name="connsiteX16" fmla="*/ 283340 w 1162418"/>
                <a:gd name="connsiteY16" fmla="*/ 1299841 h 1897931"/>
                <a:gd name="connsiteX17" fmla="*/ 271830 w 1162418"/>
                <a:gd name="connsiteY17" fmla="*/ 1207369 h 1897931"/>
                <a:gd name="connsiteX18" fmla="*/ 260718 w 1162418"/>
                <a:gd name="connsiteY18" fmla="*/ 1127994 h 1897931"/>
                <a:gd name="connsiteX19" fmla="*/ 205155 w 1162418"/>
                <a:gd name="connsiteY19" fmla="*/ 1037506 h 1897931"/>
                <a:gd name="connsiteX20" fmla="*/ 130543 w 1162418"/>
                <a:gd name="connsiteY20" fmla="*/ 954956 h 1897931"/>
                <a:gd name="connsiteX21" fmla="*/ 55137 w 1162418"/>
                <a:gd name="connsiteY21" fmla="*/ 845022 h 1897931"/>
                <a:gd name="connsiteX22" fmla="*/ 13861 w 1162418"/>
                <a:gd name="connsiteY22" fmla="*/ 735485 h 1897931"/>
                <a:gd name="connsiteX23" fmla="*/ 368 w 1162418"/>
                <a:gd name="connsiteY23" fmla="*/ 600944 h 1897931"/>
                <a:gd name="connsiteX24" fmla="*/ 11480 w 1162418"/>
                <a:gd name="connsiteY24" fmla="*/ 475531 h 1897931"/>
                <a:gd name="connsiteX25" fmla="*/ 81330 w 1162418"/>
                <a:gd name="connsiteY25" fmla="*/ 285031 h 1897931"/>
                <a:gd name="connsiteX26" fmla="*/ 265480 w 1162418"/>
                <a:gd name="connsiteY26" fmla="*/ 92943 h 1897931"/>
                <a:gd name="connsiteX27" fmla="*/ 519480 w 1162418"/>
                <a:gd name="connsiteY27" fmla="*/ 3648 h 1897931"/>
                <a:gd name="connsiteX28" fmla="*/ 705218 w 1162418"/>
                <a:gd name="connsiteY28" fmla="*/ 10394 h 1897931"/>
                <a:gd name="connsiteX29" fmla="*/ 943343 w 1162418"/>
                <a:gd name="connsiteY29" fmla="*/ 121519 h 1897931"/>
                <a:gd name="connsiteX30" fmla="*/ 1100505 w 1162418"/>
                <a:gd name="connsiteY30" fmla="*/ 310431 h 1897931"/>
                <a:gd name="connsiteX31" fmla="*/ 1162418 w 1162418"/>
                <a:gd name="connsiteY31" fmla="*/ 513631 h 1897931"/>
                <a:gd name="connsiteX32" fmla="*/ 1159243 w 1162418"/>
                <a:gd name="connsiteY32" fmla="*/ 683494 h 1897931"/>
                <a:gd name="connsiteX33" fmla="*/ 1090980 w 1162418"/>
                <a:gd name="connsiteY33" fmla="*/ 889869 h 1897931"/>
                <a:gd name="connsiteX34" fmla="*/ 957630 w 1162418"/>
                <a:gd name="connsiteY34" fmla="*/ 1058144 h 1897931"/>
                <a:gd name="connsiteX35" fmla="*/ 914768 w 1162418"/>
                <a:gd name="connsiteY35" fmla="*/ 1118469 h 1897931"/>
                <a:gd name="connsiteX36" fmla="*/ 905243 w 1162418"/>
                <a:gd name="connsiteY36" fmla="*/ 1175619 h 1897931"/>
                <a:gd name="connsiteX37" fmla="*/ 905243 w 1162418"/>
                <a:gd name="connsiteY37" fmla="*/ 1264519 h 1897931"/>
                <a:gd name="connsiteX38" fmla="*/ 868730 w 1162418"/>
                <a:gd name="connsiteY38" fmla="*/ 1301031 h 1897931"/>
                <a:gd name="connsiteX39" fmla="*/ 641718 w 1162418"/>
                <a:gd name="connsiteY39" fmla="*/ 1301031 h 1897931"/>
                <a:gd name="connsiteX40" fmla="*/ 590918 w 1162418"/>
                <a:gd name="connsiteY40" fmla="*/ 1278806 h 1897931"/>
                <a:gd name="connsiteX41" fmla="*/ 590918 w 1162418"/>
                <a:gd name="connsiteY41" fmla="*/ 1212131 h 1897931"/>
                <a:gd name="connsiteX0" fmla="*/ 584568 w 1162418"/>
                <a:gd name="connsiteY0" fmla="*/ 1894283 h 1894283"/>
                <a:gd name="connsiteX1" fmla="*/ 581393 w 1162418"/>
                <a:gd name="connsiteY1" fmla="*/ 1764108 h 1894283"/>
                <a:gd name="connsiteX2" fmla="*/ 508368 w 1162418"/>
                <a:gd name="connsiteY2" fmla="*/ 1719658 h 1894283"/>
                <a:gd name="connsiteX3" fmla="*/ 475030 w 1162418"/>
                <a:gd name="connsiteY3" fmla="*/ 1679971 h 1894283"/>
                <a:gd name="connsiteX4" fmla="*/ 505193 w 1162418"/>
                <a:gd name="connsiteY4" fmla="*/ 1640283 h 1894283"/>
                <a:gd name="connsiteX5" fmla="*/ 717918 w 1162418"/>
                <a:gd name="connsiteY5" fmla="*/ 1640283 h 1894283"/>
                <a:gd name="connsiteX6" fmla="*/ 746493 w 1162418"/>
                <a:gd name="connsiteY6" fmla="*/ 1592658 h 1894283"/>
                <a:gd name="connsiteX7" fmla="*/ 716330 w 1162418"/>
                <a:gd name="connsiteY7" fmla="*/ 1556146 h 1894283"/>
                <a:gd name="connsiteX8" fmla="*/ 398830 w 1162418"/>
                <a:gd name="connsiteY8" fmla="*/ 1556146 h 1894283"/>
                <a:gd name="connsiteX9" fmla="*/ 360730 w 1162418"/>
                <a:gd name="connsiteY9" fmla="*/ 1518046 h 1894283"/>
                <a:gd name="connsiteX10" fmla="*/ 382955 w 1162418"/>
                <a:gd name="connsiteY10" fmla="*/ 1470421 h 1894283"/>
                <a:gd name="connsiteX11" fmla="*/ 797293 w 1162418"/>
                <a:gd name="connsiteY11" fmla="*/ 1470421 h 1894283"/>
                <a:gd name="connsiteX12" fmla="*/ 830630 w 1162418"/>
                <a:gd name="connsiteY12" fmla="*/ 1422796 h 1894283"/>
                <a:gd name="connsiteX13" fmla="*/ 795705 w 1162418"/>
                <a:gd name="connsiteY13" fmla="*/ 1379933 h 1894283"/>
                <a:gd name="connsiteX14" fmla="*/ 386130 w 1162418"/>
                <a:gd name="connsiteY14" fmla="*/ 1379933 h 1894283"/>
                <a:gd name="connsiteX15" fmla="*/ 322630 w 1162418"/>
                <a:gd name="connsiteY15" fmla="*/ 1348183 h 1894283"/>
                <a:gd name="connsiteX16" fmla="*/ 283340 w 1162418"/>
                <a:gd name="connsiteY16" fmla="*/ 1296193 h 1894283"/>
                <a:gd name="connsiteX17" fmla="*/ 271830 w 1162418"/>
                <a:gd name="connsiteY17" fmla="*/ 1203721 h 1894283"/>
                <a:gd name="connsiteX18" fmla="*/ 260718 w 1162418"/>
                <a:gd name="connsiteY18" fmla="*/ 1124346 h 1894283"/>
                <a:gd name="connsiteX19" fmla="*/ 205155 w 1162418"/>
                <a:gd name="connsiteY19" fmla="*/ 1033858 h 1894283"/>
                <a:gd name="connsiteX20" fmla="*/ 130543 w 1162418"/>
                <a:gd name="connsiteY20" fmla="*/ 951308 h 1894283"/>
                <a:gd name="connsiteX21" fmla="*/ 55137 w 1162418"/>
                <a:gd name="connsiteY21" fmla="*/ 841374 h 1894283"/>
                <a:gd name="connsiteX22" fmla="*/ 13861 w 1162418"/>
                <a:gd name="connsiteY22" fmla="*/ 731837 h 1894283"/>
                <a:gd name="connsiteX23" fmla="*/ 368 w 1162418"/>
                <a:gd name="connsiteY23" fmla="*/ 597296 h 1894283"/>
                <a:gd name="connsiteX24" fmla="*/ 11480 w 1162418"/>
                <a:gd name="connsiteY24" fmla="*/ 471883 h 1894283"/>
                <a:gd name="connsiteX25" fmla="*/ 81330 w 1162418"/>
                <a:gd name="connsiteY25" fmla="*/ 281383 h 1894283"/>
                <a:gd name="connsiteX26" fmla="*/ 265480 w 1162418"/>
                <a:gd name="connsiteY26" fmla="*/ 89295 h 1894283"/>
                <a:gd name="connsiteX27" fmla="*/ 519480 w 1162418"/>
                <a:gd name="connsiteY27" fmla="*/ 0 h 1894283"/>
                <a:gd name="connsiteX28" fmla="*/ 705218 w 1162418"/>
                <a:gd name="connsiteY28" fmla="*/ 6746 h 1894283"/>
                <a:gd name="connsiteX29" fmla="*/ 943343 w 1162418"/>
                <a:gd name="connsiteY29" fmla="*/ 117871 h 1894283"/>
                <a:gd name="connsiteX30" fmla="*/ 1100505 w 1162418"/>
                <a:gd name="connsiteY30" fmla="*/ 306783 h 1894283"/>
                <a:gd name="connsiteX31" fmla="*/ 1162418 w 1162418"/>
                <a:gd name="connsiteY31" fmla="*/ 509983 h 1894283"/>
                <a:gd name="connsiteX32" fmla="*/ 1159243 w 1162418"/>
                <a:gd name="connsiteY32" fmla="*/ 679846 h 1894283"/>
                <a:gd name="connsiteX33" fmla="*/ 1090980 w 1162418"/>
                <a:gd name="connsiteY33" fmla="*/ 886221 h 1894283"/>
                <a:gd name="connsiteX34" fmla="*/ 957630 w 1162418"/>
                <a:gd name="connsiteY34" fmla="*/ 1054496 h 1894283"/>
                <a:gd name="connsiteX35" fmla="*/ 914768 w 1162418"/>
                <a:gd name="connsiteY35" fmla="*/ 1114821 h 1894283"/>
                <a:gd name="connsiteX36" fmla="*/ 905243 w 1162418"/>
                <a:gd name="connsiteY36" fmla="*/ 1171971 h 1894283"/>
                <a:gd name="connsiteX37" fmla="*/ 905243 w 1162418"/>
                <a:gd name="connsiteY37" fmla="*/ 1260871 h 1894283"/>
                <a:gd name="connsiteX38" fmla="*/ 868730 w 1162418"/>
                <a:gd name="connsiteY38" fmla="*/ 1297383 h 1894283"/>
                <a:gd name="connsiteX39" fmla="*/ 641718 w 1162418"/>
                <a:gd name="connsiteY39" fmla="*/ 1297383 h 1894283"/>
                <a:gd name="connsiteX40" fmla="*/ 590918 w 1162418"/>
                <a:gd name="connsiteY40" fmla="*/ 1275158 h 1894283"/>
                <a:gd name="connsiteX41" fmla="*/ 590918 w 1162418"/>
                <a:gd name="connsiteY41" fmla="*/ 1208483 h 1894283"/>
                <a:gd name="connsiteX0" fmla="*/ 584568 w 1162418"/>
                <a:gd name="connsiteY0" fmla="*/ 1896145 h 1896145"/>
                <a:gd name="connsiteX1" fmla="*/ 581393 w 1162418"/>
                <a:gd name="connsiteY1" fmla="*/ 1765970 h 1896145"/>
                <a:gd name="connsiteX2" fmla="*/ 508368 w 1162418"/>
                <a:gd name="connsiteY2" fmla="*/ 1721520 h 1896145"/>
                <a:gd name="connsiteX3" fmla="*/ 475030 w 1162418"/>
                <a:gd name="connsiteY3" fmla="*/ 1681833 h 1896145"/>
                <a:gd name="connsiteX4" fmla="*/ 505193 w 1162418"/>
                <a:gd name="connsiteY4" fmla="*/ 1642145 h 1896145"/>
                <a:gd name="connsiteX5" fmla="*/ 717918 w 1162418"/>
                <a:gd name="connsiteY5" fmla="*/ 1642145 h 1896145"/>
                <a:gd name="connsiteX6" fmla="*/ 746493 w 1162418"/>
                <a:gd name="connsiteY6" fmla="*/ 1594520 h 1896145"/>
                <a:gd name="connsiteX7" fmla="*/ 716330 w 1162418"/>
                <a:gd name="connsiteY7" fmla="*/ 1558008 h 1896145"/>
                <a:gd name="connsiteX8" fmla="*/ 398830 w 1162418"/>
                <a:gd name="connsiteY8" fmla="*/ 1558008 h 1896145"/>
                <a:gd name="connsiteX9" fmla="*/ 360730 w 1162418"/>
                <a:gd name="connsiteY9" fmla="*/ 1519908 h 1896145"/>
                <a:gd name="connsiteX10" fmla="*/ 382955 w 1162418"/>
                <a:gd name="connsiteY10" fmla="*/ 1472283 h 1896145"/>
                <a:gd name="connsiteX11" fmla="*/ 797293 w 1162418"/>
                <a:gd name="connsiteY11" fmla="*/ 1472283 h 1896145"/>
                <a:gd name="connsiteX12" fmla="*/ 830630 w 1162418"/>
                <a:gd name="connsiteY12" fmla="*/ 1424658 h 1896145"/>
                <a:gd name="connsiteX13" fmla="*/ 795705 w 1162418"/>
                <a:gd name="connsiteY13" fmla="*/ 1381795 h 1896145"/>
                <a:gd name="connsiteX14" fmla="*/ 386130 w 1162418"/>
                <a:gd name="connsiteY14" fmla="*/ 1381795 h 1896145"/>
                <a:gd name="connsiteX15" fmla="*/ 322630 w 1162418"/>
                <a:gd name="connsiteY15" fmla="*/ 1350045 h 1896145"/>
                <a:gd name="connsiteX16" fmla="*/ 283340 w 1162418"/>
                <a:gd name="connsiteY16" fmla="*/ 1298055 h 1896145"/>
                <a:gd name="connsiteX17" fmla="*/ 271830 w 1162418"/>
                <a:gd name="connsiteY17" fmla="*/ 1205583 h 1896145"/>
                <a:gd name="connsiteX18" fmla="*/ 260718 w 1162418"/>
                <a:gd name="connsiteY18" fmla="*/ 1126208 h 1896145"/>
                <a:gd name="connsiteX19" fmla="*/ 205155 w 1162418"/>
                <a:gd name="connsiteY19" fmla="*/ 1035720 h 1896145"/>
                <a:gd name="connsiteX20" fmla="*/ 130543 w 1162418"/>
                <a:gd name="connsiteY20" fmla="*/ 953170 h 1896145"/>
                <a:gd name="connsiteX21" fmla="*/ 55137 w 1162418"/>
                <a:gd name="connsiteY21" fmla="*/ 843236 h 1896145"/>
                <a:gd name="connsiteX22" fmla="*/ 13861 w 1162418"/>
                <a:gd name="connsiteY22" fmla="*/ 733699 h 1896145"/>
                <a:gd name="connsiteX23" fmla="*/ 368 w 1162418"/>
                <a:gd name="connsiteY23" fmla="*/ 599158 h 1896145"/>
                <a:gd name="connsiteX24" fmla="*/ 11480 w 1162418"/>
                <a:gd name="connsiteY24" fmla="*/ 473745 h 1896145"/>
                <a:gd name="connsiteX25" fmla="*/ 81330 w 1162418"/>
                <a:gd name="connsiteY25" fmla="*/ 283245 h 1896145"/>
                <a:gd name="connsiteX26" fmla="*/ 265480 w 1162418"/>
                <a:gd name="connsiteY26" fmla="*/ 91157 h 1896145"/>
                <a:gd name="connsiteX27" fmla="*/ 519480 w 1162418"/>
                <a:gd name="connsiteY27" fmla="*/ 1862 h 1896145"/>
                <a:gd name="connsiteX28" fmla="*/ 705218 w 1162418"/>
                <a:gd name="connsiteY28" fmla="*/ 8608 h 1896145"/>
                <a:gd name="connsiteX29" fmla="*/ 943343 w 1162418"/>
                <a:gd name="connsiteY29" fmla="*/ 119733 h 1896145"/>
                <a:gd name="connsiteX30" fmla="*/ 1100505 w 1162418"/>
                <a:gd name="connsiteY30" fmla="*/ 308645 h 1896145"/>
                <a:gd name="connsiteX31" fmla="*/ 1162418 w 1162418"/>
                <a:gd name="connsiteY31" fmla="*/ 511845 h 1896145"/>
                <a:gd name="connsiteX32" fmla="*/ 1159243 w 1162418"/>
                <a:gd name="connsiteY32" fmla="*/ 681708 h 1896145"/>
                <a:gd name="connsiteX33" fmla="*/ 1090980 w 1162418"/>
                <a:gd name="connsiteY33" fmla="*/ 888083 h 1896145"/>
                <a:gd name="connsiteX34" fmla="*/ 957630 w 1162418"/>
                <a:gd name="connsiteY34" fmla="*/ 1056358 h 1896145"/>
                <a:gd name="connsiteX35" fmla="*/ 914768 w 1162418"/>
                <a:gd name="connsiteY35" fmla="*/ 1116683 h 1896145"/>
                <a:gd name="connsiteX36" fmla="*/ 905243 w 1162418"/>
                <a:gd name="connsiteY36" fmla="*/ 1173833 h 1896145"/>
                <a:gd name="connsiteX37" fmla="*/ 905243 w 1162418"/>
                <a:gd name="connsiteY37" fmla="*/ 1262733 h 1896145"/>
                <a:gd name="connsiteX38" fmla="*/ 868730 w 1162418"/>
                <a:gd name="connsiteY38" fmla="*/ 1299245 h 1896145"/>
                <a:gd name="connsiteX39" fmla="*/ 641718 w 1162418"/>
                <a:gd name="connsiteY39" fmla="*/ 1299245 h 1896145"/>
                <a:gd name="connsiteX40" fmla="*/ 590918 w 1162418"/>
                <a:gd name="connsiteY40" fmla="*/ 1277020 h 1896145"/>
                <a:gd name="connsiteX41" fmla="*/ 590918 w 1162418"/>
                <a:gd name="connsiteY41" fmla="*/ 1210345 h 1896145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2418"/>
                <a:gd name="connsiteY0" fmla="*/ 1898273 h 1898273"/>
                <a:gd name="connsiteX1" fmla="*/ 581393 w 1162418"/>
                <a:gd name="connsiteY1" fmla="*/ 1768098 h 1898273"/>
                <a:gd name="connsiteX2" fmla="*/ 508368 w 1162418"/>
                <a:gd name="connsiteY2" fmla="*/ 1723648 h 1898273"/>
                <a:gd name="connsiteX3" fmla="*/ 475030 w 1162418"/>
                <a:gd name="connsiteY3" fmla="*/ 1683961 h 1898273"/>
                <a:gd name="connsiteX4" fmla="*/ 505193 w 1162418"/>
                <a:gd name="connsiteY4" fmla="*/ 1644273 h 1898273"/>
                <a:gd name="connsiteX5" fmla="*/ 717918 w 1162418"/>
                <a:gd name="connsiteY5" fmla="*/ 1644273 h 1898273"/>
                <a:gd name="connsiteX6" fmla="*/ 746493 w 1162418"/>
                <a:gd name="connsiteY6" fmla="*/ 1596648 h 1898273"/>
                <a:gd name="connsiteX7" fmla="*/ 716330 w 1162418"/>
                <a:gd name="connsiteY7" fmla="*/ 1560136 h 1898273"/>
                <a:gd name="connsiteX8" fmla="*/ 398830 w 1162418"/>
                <a:gd name="connsiteY8" fmla="*/ 1560136 h 1898273"/>
                <a:gd name="connsiteX9" fmla="*/ 360730 w 1162418"/>
                <a:gd name="connsiteY9" fmla="*/ 1522036 h 1898273"/>
                <a:gd name="connsiteX10" fmla="*/ 382955 w 1162418"/>
                <a:gd name="connsiteY10" fmla="*/ 1474411 h 1898273"/>
                <a:gd name="connsiteX11" fmla="*/ 797293 w 1162418"/>
                <a:gd name="connsiteY11" fmla="*/ 1474411 h 1898273"/>
                <a:gd name="connsiteX12" fmla="*/ 830630 w 1162418"/>
                <a:gd name="connsiteY12" fmla="*/ 1426786 h 1898273"/>
                <a:gd name="connsiteX13" fmla="*/ 795705 w 1162418"/>
                <a:gd name="connsiteY13" fmla="*/ 1383923 h 1898273"/>
                <a:gd name="connsiteX14" fmla="*/ 386130 w 1162418"/>
                <a:gd name="connsiteY14" fmla="*/ 1383923 h 1898273"/>
                <a:gd name="connsiteX15" fmla="*/ 322630 w 1162418"/>
                <a:gd name="connsiteY15" fmla="*/ 1352173 h 1898273"/>
                <a:gd name="connsiteX16" fmla="*/ 283340 w 1162418"/>
                <a:gd name="connsiteY16" fmla="*/ 1300183 h 1898273"/>
                <a:gd name="connsiteX17" fmla="*/ 271830 w 1162418"/>
                <a:gd name="connsiteY17" fmla="*/ 1207711 h 1898273"/>
                <a:gd name="connsiteX18" fmla="*/ 260718 w 1162418"/>
                <a:gd name="connsiteY18" fmla="*/ 1128336 h 1898273"/>
                <a:gd name="connsiteX19" fmla="*/ 205155 w 1162418"/>
                <a:gd name="connsiteY19" fmla="*/ 1037848 h 1898273"/>
                <a:gd name="connsiteX20" fmla="*/ 130543 w 1162418"/>
                <a:gd name="connsiteY20" fmla="*/ 955298 h 1898273"/>
                <a:gd name="connsiteX21" fmla="*/ 55137 w 1162418"/>
                <a:gd name="connsiteY21" fmla="*/ 845364 h 1898273"/>
                <a:gd name="connsiteX22" fmla="*/ 13861 w 1162418"/>
                <a:gd name="connsiteY22" fmla="*/ 735827 h 1898273"/>
                <a:gd name="connsiteX23" fmla="*/ 368 w 1162418"/>
                <a:gd name="connsiteY23" fmla="*/ 601286 h 1898273"/>
                <a:gd name="connsiteX24" fmla="*/ 11480 w 1162418"/>
                <a:gd name="connsiteY24" fmla="*/ 475873 h 1898273"/>
                <a:gd name="connsiteX25" fmla="*/ 81330 w 1162418"/>
                <a:gd name="connsiteY25" fmla="*/ 285373 h 1898273"/>
                <a:gd name="connsiteX26" fmla="*/ 265480 w 1162418"/>
                <a:gd name="connsiteY26" fmla="*/ 93285 h 1898273"/>
                <a:gd name="connsiteX27" fmla="*/ 519480 w 1162418"/>
                <a:gd name="connsiteY27" fmla="*/ 3990 h 1898273"/>
                <a:gd name="connsiteX28" fmla="*/ 705218 w 1162418"/>
                <a:gd name="connsiteY28" fmla="*/ 10736 h 1898273"/>
                <a:gd name="connsiteX29" fmla="*/ 943343 w 1162418"/>
                <a:gd name="connsiteY29" fmla="*/ 121861 h 1898273"/>
                <a:gd name="connsiteX30" fmla="*/ 1100505 w 1162418"/>
                <a:gd name="connsiteY30" fmla="*/ 310773 h 1898273"/>
                <a:gd name="connsiteX31" fmla="*/ 1162418 w 1162418"/>
                <a:gd name="connsiteY31" fmla="*/ 513973 h 1898273"/>
                <a:gd name="connsiteX32" fmla="*/ 1159243 w 1162418"/>
                <a:gd name="connsiteY32" fmla="*/ 683836 h 1898273"/>
                <a:gd name="connsiteX33" fmla="*/ 1090980 w 1162418"/>
                <a:gd name="connsiteY33" fmla="*/ 890211 h 1898273"/>
                <a:gd name="connsiteX34" fmla="*/ 957630 w 1162418"/>
                <a:gd name="connsiteY34" fmla="*/ 1058486 h 1898273"/>
                <a:gd name="connsiteX35" fmla="*/ 914768 w 1162418"/>
                <a:gd name="connsiteY35" fmla="*/ 1118811 h 1898273"/>
                <a:gd name="connsiteX36" fmla="*/ 905243 w 1162418"/>
                <a:gd name="connsiteY36" fmla="*/ 1175961 h 1898273"/>
                <a:gd name="connsiteX37" fmla="*/ 905243 w 1162418"/>
                <a:gd name="connsiteY37" fmla="*/ 1264861 h 1898273"/>
                <a:gd name="connsiteX38" fmla="*/ 868730 w 1162418"/>
                <a:gd name="connsiteY38" fmla="*/ 1301373 h 1898273"/>
                <a:gd name="connsiteX39" fmla="*/ 641718 w 1162418"/>
                <a:gd name="connsiteY39" fmla="*/ 1301373 h 1898273"/>
                <a:gd name="connsiteX40" fmla="*/ 590918 w 1162418"/>
                <a:gd name="connsiteY40" fmla="*/ 1279148 h 1898273"/>
                <a:gd name="connsiteX41" fmla="*/ 590918 w 1162418"/>
                <a:gd name="connsiteY41" fmla="*/ 1212473 h 1898273"/>
                <a:gd name="connsiteX0" fmla="*/ 584568 w 1166196"/>
                <a:gd name="connsiteY0" fmla="*/ 1898273 h 1898273"/>
                <a:gd name="connsiteX1" fmla="*/ 581393 w 1166196"/>
                <a:gd name="connsiteY1" fmla="*/ 1768098 h 1898273"/>
                <a:gd name="connsiteX2" fmla="*/ 508368 w 1166196"/>
                <a:gd name="connsiteY2" fmla="*/ 1723648 h 1898273"/>
                <a:gd name="connsiteX3" fmla="*/ 475030 w 1166196"/>
                <a:gd name="connsiteY3" fmla="*/ 1683961 h 1898273"/>
                <a:gd name="connsiteX4" fmla="*/ 505193 w 1166196"/>
                <a:gd name="connsiteY4" fmla="*/ 1644273 h 1898273"/>
                <a:gd name="connsiteX5" fmla="*/ 717918 w 1166196"/>
                <a:gd name="connsiteY5" fmla="*/ 1644273 h 1898273"/>
                <a:gd name="connsiteX6" fmla="*/ 746493 w 1166196"/>
                <a:gd name="connsiteY6" fmla="*/ 1596648 h 1898273"/>
                <a:gd name="connsiteX7" fmla="*/ 716330 w 1166196"/>
                <a:gd name="connsiteY7" fmla="*/ 1560136 h 1898273"/>
                <a:gd name="connsiteX8" fmla="*/ 398830 w 1166196"/>
                <a:gd name="connsiteY8" fmla="*/ 1560136 h 1898273"/>
                <a:gd name="connsiteX9" fmla="*/ 360730 w 1166196"/>
                <a:gd name="connsiteY9" fmla="*/ 1522036 h 1898273"/>
                <a:gd name="connsiteX10" fmla="*/ 382955 w 1166196"/>
                <a:gd name="connsiteY10" fmla="*/ 1474411 h 1898273"/>
                <a:gd name="connsiteX11" fmla="*/ 797293 w 1166196"/>
                <a:gd name="connsiteY11" fmla="*/ 1474411 h 1898273"/>
                <a:gd name="connsiteX12" fmla="*/ 830630 w 1166196"/>
                <a:gd name="connsiteY12" fmla="*/ 1426786 h 1898273"/>
                <a:gd name="connsiteX13" fmla="*/ 795705 w 1166196"/>
                <a:gd name="connsiteY13" fmla="*/ 1383923 h 1898273"/>
                <a:gd name="connsiteX14" fmla="*/ 386130 w 1166196"/>
                <a:gd name="connsiteY14" fmla="*/ 1383923 h 1898273"/>
                <a:gd name="connsiteX15" fmla="*/ 322630 w 1166196"/>
                <a:gd name="connsiteY15" fmla="*/ 1352173 h 1898273"/>
                <a:gd name="connsiteX16" fmla="*/ 283340 w 1166196"/>
                <a:gd name="connsiteY16" fmla="*/ 1300183 h 1898273"/>
                <a:gd name="connsiteX17" fmla="*/ 271830 w 1166196"/>
                <a:gd name="connsiteY17" fmla="*/ 1207711 h 1898273"/>
                <a:gd name="connsiteX18" fmla="*/ 260718 w 1166196"/>
                <a:gd name="connsiteY18" fmla="*/ 1128336 h 1898273"/>
                <a:gd name="connsiteX19" fmla="*/ 205155 w 1166196"/>
                <a:gd name="connsiteY19" fmla="*/ 1037848 h 1898273"/>
                <a:gd name="connsiteX20" fmla="*/ 130543 w 1166196"/>
                <a:gd name="connsiteY20" fmla="*/ 955298 h 1898273"/>
                <a:gd name="connsiteX21" fmla="*/ 55137 w 1166196"/>
                <a:gd name="connsiteY21" fmla="*/ 845364 h 1898273"/>
                <a:gd name="connsiteX22" fmla="*/ 13861 w 1166196"/>
                <a:gd name="connsiteY22" fmla="*/ 735827 h 1898273"/>
                <a:gd name="connsiteX23" fmla="*/ 368 w 1166196"/>
                <a:gd name="connsiteY23" fmla="*/ 601286 h 1898273"/>
                <a:gd name="connsiteX24" fmla="*/ 11480 w 1166196"/>
                <a:gd name="connsiteY24" fmla="*/ 475873 h 1898273"/>
                <a:gd name="connsiteX25" fmla="*/ 81330 w 1166196"/>
                <a:gd name="connsiteY25" fmla="*/ 285373 h 1898273"/>
                <a:gd name="connsiteX26" fmla="*/ 265480 w 1166196"/>
                <a:gd name="connsiteY26" fmla="*/ 93285 h 1898273"/>
                <a:gd name="connsiteX27" fmla="*/ 519480 w 1166196"/>
                <a:gd name="connsiteY27" fmla="*/ 3990 h 1898273"/>
                <a:gd name="connsiteX28" fmla="*/ 705218 w 1166196"/>
                <a:gd name="connsiteY28" fmla="*/ 10736 h 1898273"/>
                <a:gd name="connsiteX29" fmla="*/ 943343 w 1166196"/>
                <a:gd name="connsiteY29" fmla="*/ 121861 h 1898273"/>
                <a:gd name="connsiteX30" fmla="*/ 1100505 w 1166196"/>
                <a:gd name="connsiteY30" fmla="*/ 310773 h 1898273"/>
                <a:gd name="connsiteX31" fmla="*/ 1162418 w 1166196"/>
                <a:gd name="connsiteY31" fmla="*/ 513973 h 1898273"/>
                <a:gd name="connsiteX32" fmla="*/ 1159243 w 1166196"/>
                <a:gd name="connsiteY32" fmla="*/ 683836 h 1898273"/>
                <a:gd name="connsiteX33" fmla="*/ 1090980 w 1166196"/>
                <a:gd name="connsiteY33" fmla="*/ 890211 h 1898273"/>
                <a:gd name="connsiteX34" fmla="*/ 957630 w 1166196"/>
                <a:gd name="connsiteY34" fmla="*/ 1058486 h 1898273"/>
                <a:gd name="connsiteX35" fmla="*/ 914768 w 1166196"/>
                <a:gd name="connsiteY35" fmla="*/ 1118811 h 1898273"/>
                <a:gd name="connsiteX36" fmla="*/ 905243 w 1166196"/>
                <a:gd name="connsiteY36" fmla="*/ 1175961 h 1898273"/>
                <a:gd name="connsiteX37" fmla="*/ 905243 w 1166196"/>
                <a:gd name="connsiteY37" fmla="*/ 1264861 h 1898273"/>
                <a:gd name="connsiteX38" fmla="*/ 868730 w 1166196"/>
                <a:gd name="connsiteY38" fmla="*/ 1301373 h 1898273"/>
                <a:gd name="connsiteX39" fmla="*/ 641718 w 1166196"/>
                <a:gd name="connsiteY39" fmla="*/ 1301373 h 1898273"/>
                <a:gd name="connsiteX40" fmla="*/ 590918 w 1166196"/>
                <a:gd name="connsiteY40" fmla="*/ 1279148 h 1898273"/>
                <a:gd name="connsiteX41" fmla="*/ 590918 w 1166196"/>
                <a:gd name="connsiteY41" fmla="*/ 1212473 h 1898273"/>
                <a:gd name="connsiteX0" fmla="*/ 584568 w 1170207"/>
                <a:gd name="connsiteY0" fmla="*/ 1898273 h 1898273"/>
                <a:gd name="connsiteX1" fmla="*/ 581393 w 1170207"/>
                <a:gd name="connsiteY1" fmla="*/ 1768098 h 1898273"/>
                <a:gd name="connsiteX2" fmla="*/ 508368 w 1170207"/>
                <a:gd name="connsiteY2" fmla="*/ 1723648 h 1898273"/>
                <a:gd name="connsiteX3" fmla="*/ 475030 w 1170207"/>
                <a:gd name="connsiteY3" fmla="*/ 1683961 h 1898273"/>
                <a:gd name="connsiteX4" fmla="*/ 505193 w 1170207"/>
                <a:gd name="connsiteY4" fmla="*/ 1644273 h 1898273"/>
                <a:gd name="connsiteX5" fmla="*/ 717918 w 1170207"/>
                <a:gd name="connsiteY5" fmla="*/ 1644273 h 1898273"/>
                <a:gd name="connsiteX6" fmla="*/ 746493 w 1170207"/>
                <a:gd name="connsiteY6" fmla="*/ 1596648 h 1898273"/>
                <a:gd name="connsiteX7" fmla="*/ 716330 w 1170207"/>
                <a:gd name="connsiteY7" fmla="*/ 1560136 h 1898273"/>
                <a:gd name="connsiteX8" fmla="*/ 398830 w 1170207"/>
                <a:gd name="connsiteY8" fmla="*/ 1560136 h 1898273"/>
                <a:gd name="connsiteX9" fmla="*/ 360730 w 1170207"/>
                <a:gd name="connsiteY9" fmla="*/ 1522036 h 1898273"/>
                <a:gd name="connsiteX10" fmla="*/ 382955 w 1170207"/>
                <a:gd name="connsiteY10" fmla="*/ 1474411 h 1898273"/>
                <a:gd name="connsiteX11" fmla="*/ 797293 w 1170207"/>
                <a:gd name="connsiteY11" fmla="*/ 1474411 h 1898273"/>
                <a:gd name="connsiteX12" fmla="*/ 830630 w 1170207"/>
                <a:gd name="connsiteY12" fmla="*/ 1426786 h 1898273"/>
                <a:gd name="connsiteX13" fmla="*/ 795705 w 1170207"/>
                <a:gd name="connsiteY13" fmla="*/ 1383923 h 1898273"/>
                <a:gd name="connsiteX14" fmla="*/ 386130 w 1170207"/>
                <a:gd name="connsiteY14" fmla="*/ 1383923 h 1898273"/>
                <a:gd name="connsiteX15" fmla="*/ 322630 w 1170207"/>
                <a:gd name="connsiteY15" fmla="*/ 1352173 h 1898273"/>
                <a:gd name="connsiteX16" fmla="*/ 283340 w 1170207"/>
                <a:gd name="connsiteY16" fmla="*/ 1300183 h 1898273"/>
                <a:gd name="connsiteX17" fmla="*/ 271830 w 1170207"/>
                <a:gd name="connsiteY17" fmla="*/ 1207711 h 1898273"/>
                <a:gd name="connsiteX18" fmla="*/ 260718 w 1170207"/>
                <a:gd name="connsiteY18" fmla="*/ 1128336 h 1898273"/>
                <a:gd name="connsiteX19" fmla="*/ 205155 w 1170207"/>
                <a:gd name="connsiteY19" fmla="*/ 1037848 h 1898273"/>
                <a:gd name="connsiteX20" fmla="*/ 130543 w 1170207"/>
                <a:gd name="connsiteY20" fmla="*/ 955298 h 1898273"/>
                <a:gd name="connsiteX21" fmla="*/ 55137 w 1170207"/>
                <a:gd name="connsiteY21" fmla="*/ 845364 h 1898273"/>
                <a:gd name="connsiteX22" fmla="*/ 13861 w 1170207"/>
                <a:gd name="connsiteY22" fmla="*/ 735827 h 1898273"/>
                <a:gd name="connsiteX23" fmla="*/ 368 w 1170207"/>
                <a:gd name="connsiteY23" fmla="*/ 601286 h 1898273"/>
                <a:gd name="connsiteX24" fmla="*/ 11480 w 1170207"/>
                <a:gd name="connsiteY24" fmla="*/ 475873 h 1898273"/>
                <a:gd name="connsiteX25" fmla="*/ 81330 w 1170207"/>
                <a:gd name="connsiteY25" fmla="*/ 285373 h 1898273"/>
                <a:gd name="connsiteX26" fmla="*/ 265480 w 1170207"/>
                <a:gd name="connsiteY26" fmla="*/ 93285 h 1898273"/>
                <a:gd name="connsiteX27" fmla="*/ 519480 w 1170207"/>
                <a:gd name="connsiteY27" fmla="*/ 3990 h 1898273"/>
                <a:gd name="connsiteX28" fmla="*/ 705218 w 1170207"/>
                <a:gd name="connsiteY28" fmla="*/ 10736 h 1898273"/>
                <a:gd name="connsiteX29" fmla="*/ 943343 w 1170207"/>
                <a:gd name="connsiteY29" fmla="*/ 121861 h 1898273"/>
                <a:gd name="connsiteX30" fmla="*/ 1100505 w 1170207"/>
                <a:gd name="connsiteY30" fmla="*/ 310773 h 1898273"/>
                <a:gd name="connsiteX31" fmla="*/ 1162418 w 1170207"/>
                <a:gd name="connsiteY31" fmla="*/ 513973 h 1898273"/>
                <a:gd name="connsiteX32" fmla="*/ 1159243 w 1170207"/>
                <a:gd name="connsiteY32" fmla="*/ 683836 h 1898273"/>
                <a:gd name="connsiteX33" fmla="*/ 1090980 w 1170207"/>
                <a:gd name="connsiteY33" fmla="*/ 890211 h 1898273"/>
                <a:gd name="connsiteX34" fmla="*/ 957630 w 1170207"/>
                <a:gd name="connsiteY34" fmla="*/ 1058486 h 1898273"/>
                <a:gd name="connsiteX35" fmla="*/ 914768 w 1170207"/>
                <a:gd name="connsiteY35" fmla="*/ 1118811 h 1898273"/>
                <a:gd name="connsiteX36" fmla="*/ 905243 w 1170207"/>
                <a:gd name="connsiteY36" fmla="*/ 1175961 h 1898273"/>
                <a:gd name="connsiteX37" fmla="*/ 905243 w 1170207"/>
                <a:gd name="connsiteY37" fmla="*/ 1264861 h 1898273"/>
                <a:gd name="connsiteX38" fmla="*/ 868730 w 1170207"/>
                <a:gd name="connsiteY38" fmla="*/ 1301373 h 1898273"/>
                <a:gd name="connsiteX39" fmla="*/ 641718 w 1170207"/>
                <a:gd name="connsiteY39" fmla="*/ 1301373 h 1898273"/>
                <a:gd name="connsiteX40" fmla="*/ 590918 w 1170207"/>
                <a:gd name="connsiteY40" fmla="*/ 1279148 h 1898273"/>
                <a:gd name="connsiteX41" fmla="*/ 590918 w 1170207"/>
                <a:gd name="connsiteY41" fmla="*/ 1212473 h 1898273"/>
                <a:gd name="connsiteX0" fmla="*/ 584568 w 1167505"/>
                <a:gd name="connsiteY0" fmla="*/ 1898273 h 1898273"/>
                <a:gd name="connsiteX1" fmla="*/ 581393 w 1167505"/>
                <a:gd name="connsiteY1" fmla="*/ 1768098 h 1898273"/>
                <a:gd name="connsiteX2" fmla="*/ 508368 w 1167505"/>
                <a:gd name="connsiteY2" fmla="*/ 1723648 h 1898273"/>
                <a:gd name="connsiteX3" fmla="*/ 475030 w 1167505"/>
                <a:gd name="connsiteY3" fmla="*/ 1683961 h 1898273"/>
                <a:gd name="connsiteX4" fmla="*/ 505193 w 1167505"/>
                <a:gd name="connsiteY4" fmla="*/ 1644273 h 1898273"/>
                <a:gd name="connsiteX5" fmla="*/ 717918 w 1167505"/>
                <a:gd name="connsiteY5" fmla="*/ 1644273 h 1898273"/>
                <a:gd name="connsiteX6" fmla="*/ 746493 w 1167505"/>
                <a:gd name="connsiteY6" fmla="*/ 1596648 h 1898273"/>
                <a:gd name="connsiteX7" fmla="*/ 716330 w 1167505"/>
                <a:gd name="connsiteY7" fmla="*/ 1560136 h 1898273"/>
                <a:gd name="connsiteX8" fmla="*/ 398830 w 1167505"/>
                <a:gd name="connsiteY8" fmla="*/ 1560136 h 1898273"/>
                <a:gd name="connsiteX9" fmla="*/ 360730 w 1167505"/>
                <a:gd name="connsiteY9" fmla="*/ 1522036 h 1898273"/>
                <a:gd name="connsiteX10" fmla="*/ 382955 w 1167505"/>
                <a:gd name="connsiteY10" fmla="*/ 1474411 h 1898273"/>
                <a:gd name="connsiteX11" fmla="*/ 797293 w 1167505"/>
                <a:gd name="connsiteY11" fmla="*/ 1474411 h 1898273"/>
                <a:gd name="connsiteX12" fmla="*/ 830630 w 1167505"/>
                <a:gd name="connsiteY12" fmla="*/ 1426786 h 1898273"/>
                <a:gd name="connsiteX13" fmla="*/ 795705 w 1167505"/>
                <a:gd name="connsiteY13" fmla="*/ 1383923 h 1898273"/>
                <a:gd name="connsiteX14" fmla="*/ 386130 w 1167505"/>
                <a:gd name="connsiteY14" fmla="*/ 1383923 h 1898273"/>
                <a:gd name="connsiteX15" fmla="*/ 322630 w 1167505"/>
                <a:gd name="connsiteY15" fmla="*/ 1352173 h 1898273"/>
                <a:gd name="connsiteX16" fmla="*/ 283340 w 1167505"/>
                <a:gd name="connsiteY16" fmla="*/ 1300183 h 1898273"/>
                <a:gd name="connsiteX17" fmla="*/ 271830 w 1167505"/>
                <a:gd name="connsiteY17" fmla="*/ 1207711 h 1898273"/>
                <a:gd name="connsiteX18" fmla="*/ 260718 w 1167505"/>
                <a:gd name="connsiteY18" fmla="*/ 1128336 h 1898273"/>
                <a:gd name="connsiteX19" fmla="*/ 205155 w 1167505"/>
                <a:gd name="connsiteY19" fmla="*/ 1037848 h 1898273"/>
                <a:gd name="connsiteX20" fmla="*/ 130543 w 1167505"/>
                <a:gd name="connsiteY20" fmla="*/ 955298 h 1898273"/>
                <a:gd name="connsiteX21" fmla="*/ 55137 w 1167505"/>
                <a:gd name="connsiteY21" fmla="*/ 845364 h 1898273"/>
                <a:gd name="connsiteX22" fmla="*/ 13861 w 1167505"/>
                <a:gd name="connsiteY22" fmla="*/ 735827 h 1898273"/>
                <a:gd name="connsiteX23" fmla="*/ 368 w 1167505"/>
                <a:gd name="connsiteY23" fmla="*/ 601286 h 1898273"/>
                <a:gd name="connsiteX24" fmla="*/ 11480 w 1167505"/>
                <a:gd name="connsiteY24" fmla="*/ 475873 h 1898273"/>
                <a:gd name="connsiteX25" fmla="*/ 81330 w 1167505"/>
                <a:gd name="connsiteY25" fmla="*/ 285373 h 1898273"/>
                <a:gd name="connsiteX26" fmla="*/ 265480 w 1167505"/>
                <a:gd name="connsiteY26" fmla="*/ 93285 h 1898273"/>
                <a:gd name="connsiteX27" fmla="*/ 519480 w 1167505"/>
                <a:gd name="connsiteY27" fmla="*/ 3990 h 1898273"/>
                <a:gd name="connsiteX28" fmla="*/ 705218 w 1167505"/>
                <a:gd name="connsiteY28" fmla="*/ 10736 h 1898273"/>
                <a:gd name="connsiteX29" fmla="*/ 943343 w 1167505"/>
                <a:gd name="connsiteY29" fmla="*/ 121861 h 1898273"/>
                <a:gd name="connsiteX30" fmla="*/ 1100505 w 1167505"/>
                <a:gd name="connsiteY30" fmla="*/ 310773 h 1898273"/>
                <a:gd name="connsiteX31" fmla="*/ 1162418 w 1167505"/>
                <a:gd name="connsiteY31" fmla="*/ 513973 h 1898273"/>
                <a:gd name="connsiteX32" fmla="*/ 1159243 w 1167505"/>
                <a:gd name="connsiteY32" fmla="*/ 683836 h 1898273"/>
                <a:gd name="connsiteX33" fmla="*/ 1090980 w 1167505"/>
                <a:gd name="connsiteY33" fmla="*/ 890211 h 1898273"/>
                <a:gd name="connsiteX34" fmla="*/ 957630 w 1167505"/>
                <a:gd name="connsiteY34" fmla="*/ 1058486 h 1898273"/>
                <a:gd name="connsiteX35" fmla="*/ 914768 w 1167505"/>
                <a:gd name="connsiteY35" fmla="*/ 1118811 h 1898273"/>
                <a:gd name="connsiteX36" fmla="*/ 905243 w 1167505"/>
                <a:gd name="connsiteY36" fmla="*/ 1175961 h 1898273"/>
                <a:gd name="connsiteX37" fmla="*/ 905243 w 1167505"/>
                <a:gd name="connsiteY37" fmla="*/ 1264861 h 1898273"/>
                <a:gd name="connsiteX38" fmla="*/ 868730 w 1167505"/>
                <a:gd name="connsiteY38" fmla="*/ 1301373 h 1898273"/>
                <a:gd name="connsiteX39" fmla="*/ 641718 w 1167505"/>
                <a:gd name="connsiteY39" fmla="*/ 1301373 h 1898273"/>
                <a:gd name="connsiteX40" fmla="*/ 590918 w 1167505"/>
                <a:gd name="connsiteY40" fmla="*/ 1279148 h 1898273"/>
                <a:gd name="connsiteX41" fmla="*/ 590918 w 1167505"/>
                <a:gd name="connsiteY41" fmla="*/ 1212473 h 1898273"/>
                <a:gd name="connsiteX0" fmla="*/ 584568 w 1167505"/>
                <a:gd name="connsiteY0" fmla="*/ 1898273 h 1898273"/>
                <a:gd name="connsiteX1" fmla="*/ 581393 w 1167505"/>
                <a:gd name="connsiteY1" fmla="*/ 1768098 h 1898273"/>
                <a:gd name="connsiteX2" fmla="*/ 508368 w 1167505"/>
                <a:gd name="connsiteY2" fmla="*/ 1723648 h 1898273"/>
                <a:gd name="connsiteX3" fmla="*/ 475030 w 1167505"/>
                <a:gd name="connsiteY3" fmla="*/ 1683961 h 1898273"/>
                <a:gd name="connsiteX4" fmla="*/ 505193 w 1167505"/>
                <a:gd name="connsiteY4" fmla="*/ 1644273 h 1898273"/>
                <a:gd name="connsiteX5" fmla="*/ 717918 w 1167505"/>
                <a:gd name="connsiteY5" fmla="*/ 1644273 h 1898273"/>
                <a:gd name="connsiteX6" fmla="*/ 746493 w 1167505"/>
                <a:gd name="connsiteY6" fmla="*/ 1596648 h 1898273"/>
                <a:gd name="connsiteX7" fmla="*/ 716330 w 1167505"/>
                <a:gd name="connsiteY7" fmla="*/ 1560136 h 1898273"/>
                <a:gd name="connsiteX8" fmla="*/ 398830 w 1167505"/>
                <a:gd name="connsiteY8" fmla="*/ 1560136 h 1898273"/>
                <a:gd name="connsiteX9" fmla="*/ 360730 w 1167505"/>
                <a:gd name="connsiteY9" fmla="*/ 1522036 h 1898273"/>
                <a:gd name="connsiteX10" fmla="*/ 382955 w 1167505"/>
                <a:gd name="connsiteY10" fmla="*/ 1474411 h 1898273"/>
                <a:gd name="connsiteX11" fmla="*/ 797293 w 1167505"/>
                <a:gd name="connsiteY11" fmla="*/ 1474411 h 1898273"/>
                <a:gd name="connsiteX12" fmla="*/ 830630 w 1167505"/>
                <a:gd name="connsiteY12" fmla="*/ 1426786 h 1898273"/>
                <a:gd name="connsiteX13" fmla="*/ 795705 w 1167505"/>
                <a:gd name="connsiteY13" fmla="*/ 1383923 h 1898273"/>
                <a:gd name="connsiteX14" fmla="*/ 386130 w 1167505"/>
                <a:gd name="connsiteY14" fmla="*/ 1383923 h 1898273"/>
                <a:gd name="connsiteX15" fmla="*/ 322630 w 1167505"/>
                <a:gd name="connsiteY15" fmla="*/ 1352173 h 1898273"/>
                <a:gd name="connsiteX16" fmla="*/ 283340 w 1167505"/>
                <a:gd name="connsiteY16" fmla="*/ 1300183 h 1898273"/>
                <a:gd name="connsiteX17" fmla="*/ 271830 w 1167505"/>
                <a:gd name="connsiteY17" fmla="*/ 1207711 h 1898273"/>
                <a:gd name="connsiteX18" fmla="*/ 260718 w 1167505"/>
                <a:gd name="connsiteY18" fmla="*/ 1128336 h 1898273"/>
                <a:gd name="connsiteX19" fmla="*/ 205155 w 1167505"/>
                <a:gd name="connsiteY19" fmla="*/ 1037848 h 1898273"/>
                <a:gd name="connsiteX20" fmla="*/ 130543 w 1167505"/>
                <a:gd name="connsiteY20" fmla="*/ 955298 h 1898273"/>
                <a:gd name="connsiteX21" fmla="*/ 55137 w 1167505"/>
                <a:gd name="connsiteY21" fmla="*/ 845364 h 1898273"/>
                <a:gd name="connsiteX22" fmla="*/ 13861 w 1167505"/>
                <a:gd name="connsiteY22" fmla="*/ 735827 h 1898273"/>
                <a:gd name="connsiteX23" fmla="*/ 368 w 1167505"/>
                <a:gd name="connsiteY23" fmla="*/ 601286 h 1898273"/>
                <a:gd name="connsiteX24" fmla="*/ 11480 w 1167505"/>
                <a:gd name="connsiteY24" fmla="*/ 475873 h 1898273"/>
                <a:gd name="connsiteX25" fmla="*/ 81330 w 1167505"/>
                <a:gd name="connsiteY25" fmla="*/ 285373 h 1898273"/>
                <a:gd name="connsiteX26" fmla="*/ 265480 w 1167505"/>
                <a:gd name="connsiteY26" fmla="*/ 93285 h 1898273"/>
                <a:gd name="connsiteX27" fmla="*/ 519480 w 1167505"/>
                <a:gd name="connsiteY27" fmla="*/ 3990 h 1898273"/>
                <a:gd name="connsiteX28" fmla="*/ 705218 w 1167505"/>
                <a:gd name="connsiteY28" fmla="*/ 10736 h 1898273"/>
                <a:gd name="connsiteX29" fmla="*/ 943343 w 1167505"/>
                <a:gd name="connsiteY29" fmla="*/ 121861 h 1898273"/>
                <a:gd name="connsiteX30" fmla="*/ 1100505 w 1167505"/>
                <a:gd name="connsiteY30" fmla="*/ 310773 h 1898273"/>
                <a:gd name="connsiteX31" fmla="*/ 1162418 w 1167505"/>
                <a:gd name="connsiteY31" fmla="*/ 513973 h 1898273"/>
                <a:gd name="connsiteX32" fmla="*/ 1159243 w 1167505"/>
                <a:gd name="connsiteY32" fmla="*/ 683836 h 1898273"/>
                <a:gd name="connsiteX33" fmla="*/ 1090980 w 1167505"/>
                <a:gd name="connsiteY33" fmla="*/ 890211 h 1898273"/>
                <a:gd name="connsiteX34" fmla="*/ 957630 w 1167505"/>
                <a:gd name="connsiteY34" fmla="*/ 1058486 h 1898273"/>
                <a:gd name="connsiteX35" fmla="*/ 914768 w 1167505"/>
                <a:gd name="connsiteY35" fmla="*/ 1118811 h 1898273"/>
                <a:gd name="connsiteX36" fmla="*/ 905243 w 1167505"/>
                <a:gd name="connsiteY36" fmla="*/ 1175961 h 1898273"/>
                <a:gd name="connsiteX37" fmla="*/ 905243 w 1167505"/>
                <a:gd name="connsiteY37" fmla="*/ 1264861 h 1898273"/>
                <a:gd name="connsiteX38" fmla="*/ 868730 w 1167505"/>
                <a:gd name="connsiteY38" fmla="*/ 1301373 h 1898273"/>
                <a:gd name="connsiteX39" fmla="*/ 641718 w 1167505"/>
                <a:gd name="connsiteY39" fmla="*/ 1301373 h 1898273"/>
                <a:gd name="connsiteX40" fmla="*/ 590918 w 1167505"/>
                <a:gd name="connsiteY40" fmla="*/ 1279148 h 1898273"/>
                <a:gd name="connsiteX41" fmla="*/ 590918 w 1167505"/>
                <a:gd name="connsiteY41" fmla="*/ 1212473 h 1898273"/>
                <a:gd name="connsiteX0" fmla="*/ 584568 w 1167505"/>
                <a:gd name="connsiteY0" fmla="*/ 1898273 h 1898273"/>
                <a:gd name="connsiteX1" fmla="*/ 581393 w 1167505"/>
                <a:gd name="connsiteY1" fmla="*/ 1768098 h 1898273"/>
                <a:gd name="connsiteX2" fmla="*/ 508368 w 1167505"/>
                <a:gd name="connsiteY2" fmla="*/ 1723648 h 1898273"/>
                <a:gd name="connsiteX3" fmla="*/ 475030 w 1167505"/>
                <a:gd name="connsiteY3" fmla="*/ 1683961 h 1898273"/>
                <a:gd name="connsiteX4" fmla="*/ 505193 w 1167505"/>
                <a:gd name="connsiteY4" fmla="*/ 1644273 h 1898273"/>
                <a:gd name="connsiteX5" fmla="*/ 717918 w 1167505"/>
                <a:gd name="connsiteY5" fmla="*/ 1644273 h 1898273"/>
                <a:gd name="connsiteX6" fmla="*/ 746493 w 1167505"/>
                <a:gd name="connsiteY6" fmla="*/ 1596648 h 1898273"/>
                <a:gd name="connsiteX7" fmla="*/ 716330 w 1167505"/>
                <a:gd name="connsiteY7" fmla="*/ 1560136 h 1898273"/>
                <a:gd name="connsiteX8" fmla="*/ 398830 w 1167505"/>
                <a:gd name="connsiteY8" fmla="*/ 1560136 h 1898273"/>
                <a:gd name="connsiteX9" fmla="*/ 360730 w 1167505"/>
                <a:gd name="connsiteY9" fmla="*/ 1522036 h 1898273"/>
                <a:gd name="connsiteX10" fmla="*/ 382955 w 1167505"/>
                <a:gd name="connsiteY10" fmla="*/ 1474411 h 1898273"/>
                <a:gd name="connsiteX11" fmla="*/ 797293 w 1167505"/>
                <a:gd name="connsiteY11" fmla="*/ 1474411 h 1898273"/>
                <a:gd name="connsiteX12" fmla="*/ 830630 w 1167505"/>
                <a:gd name="connsiteY12" fmla="*/ 1426786 h 1898273"/>
                <a:gd name="connsiteX13" fmla="*/ 795705 w 1167505"/>
                <a:gd name="connsiteY13" fmla="*/ 1383923 h 1898273"/>
                <a:gd name="connsiteX14" fmla="*/ 386130 w 1167505"/>
                <a:gd name="connsiteY14" fmla="*/ 1383923 h 1898273"/>
                <a:gd name="connsiteX15" fmla="*/ 322630 w 1167505"/>
                <a:gd name="connsiteY15" fmla="*/ 1352173 h 1898273"/>
                <a:gd name="connsiteX16" fmla="*/ 283340 w 1167505"/>
                <a:gd name="connsiteY16" fmla="*/ 1300183 h 1898273"/>
                <a:gd name="connsiteX17" fmla="*/ 271830 w 1167505"/>
                <a:gd name="connsiteY17" fmla="*/ 1207711 h 1898273"/>
                <a:gd name="connsiteX18" fmla="*/ 260718 w 1167505"/>
                <a:gd name="connsiteY18" fmla="*/ 1128336 h 1898273"/>
                <a:gd name="connsiteX19" fmla="*/ 205155 w 1167505"/>
                <a:gd name="connsiteY19" fmla="*/ 1037848 h 1898273"/>
                <a:gd name="connsiteX20" fmla="*/ 130543 w 1167505"/>
                <a:gd name="connsiteY20" fmla="*/ 955298 h 1898273"/>
                <a:gd name="connsiteX21" fmla="*/ 55137 w 1167505"/>
                <a:gd name="connsiteY21" fmla="*/ 845364 h 1898273"/>
                <a:gd name="connsiteX22" fmla="*/ 13861 w 1167505"/>
                <a:gd name="connsiteY22" fmla="*/ 735827 h 1898273"/>
                <a:gd name="connsiteX23" fmla="*/ 368 w 1167505"/>
                <a:gd name="connsiteY23" fmla="*/ 601286 h 1898273"/>
                <a:gd name="connsiteX24" fmla="*/ 11480 w 1167505"/>
                <a:gd name="connsiteY24" fmla="*/ 475873 h 1898273"/>
                <a:gd name="connsiteX25" fmla="*/ 81330 w 1167505"/>
                <a:gd name="connsiteY25" fmla="*/ 285373 h 1898273"/>
                <a:gd name="connsiteX26" fmla="*/ 265480 w 1167505"/>
                <a:gd name="connsiteY26" fmla="*/ 93285 h 1898273"/>
                <a:gd name="connsiteX27" fmla="*/ 519480 w 1167505"/>
                <a:gd name="connsiteY27" fmla="*/ 3990 h 1898273"/>
                <a:gd name="connsiteX28" fmla="*/ 705218 w 1167505"/>
                <a:gd name="connsiteY28" fmla="*/ 10736 h 1898273"/>
                <a:gd name="connsiteX29" fmla="*/ 943343 w 1167505"/>
                <a:gd name="connsiteY29" fmla="*/ 121861 h 1898273"/>
                <a:gd name="connsiteX30" fmla="*/ 1100505 w 1167505"/>
                <a:gd name="connsiteY30" fmla="*/ 310773 h 1898273"/>
                <a:gd name="connsiteX31" fmla="*/ 1162418 w 1167505"/>
                <a:gd name="connsiteY31" fmla="*/ 513973 h 1898273"/>
                <a:gd name="connsiteX32" fmla="*/ 1159243 w 1167505"/>
                <a:gd name="connsiteY32" fmla="*/ 683836 h 1898273"/>
                <a:gd name="connsiteX33" fmla="*/ 1090980 w 1167505"/>
                <a:gd name="connsiteY33" fmla="*/ 890211 h 1898273"/>
                <a:gd name="connsiteX34" fmla="*/ 957630 w 1167505"/>
                <a:gd name="connsiteY34" fmla="*/ 1058486 h 1898273"/>
                <a:gd name="connsiteX35" fmla="*/ 914768 w 1167505"/>
                <a:gd name="connsiteY35" fmla="*/ 1118811 h 1898273"/>
                <a:gd name="connsiteX36" fmla="*/ 905243 w 1167505"/>
                <a:gd name="connsiteY36" fmla="*/ 1175961 h 1898273"/>
                <a:gd name="connsiteX37" fmla="*/ 905243 w 1167505"/>
                <a:gd name="connsiteY37" fmla="*/ 1264861 h 1898273"/>
                <a:gd name="connsiteX38" fmla="*/ 868730 w 1167505"/>
                <a:gd name="connsiteY38" fmla="*/ 1301373 h 1898273"/>
                <a:gd name="connsiteX39" fmla="*/ 641718 w 1167505"/>
                <a:gd name="connsiteY39" fmla="*/ 1301373 h 1898273"/>
                <a:gd name="connsiteX40" fmla="*/ 590918 w 1167505"/>
                <a:gd name="connsiteY40" fmla="*/ 1279148 h 1898273"/>
                <a:gd name="connsiteX41" fmla="*/ 590918 w 1167505"/>
                <a:gd name="connsiteY41" fmla="*/ 1212473 h 1898273"/>
                <a:gd name="connsiteX0" fmla="*/ 584568 w 1170104"/>
                <a:gd name="connsiteY0" fmla="*/ 1898273 h 1898273"/>
                <a:gd name="connsiteX1" fmla="*/ 581393 w 1170104"/>
                <a:gd name="connsiteY1" fmla="*/ 1768098 h 1898273"/>
                <a:gd name="connsiteX2" fmla="*/ 508368 w 1170104"/>
                <a:gd name="connsiteY2" fmla="*/ 1723648 h 1898273"/>
                <a:gd name="connsiteX3" fmla="*/ 475030 w 1170104"/>
                <a:gd name="connsiteY3" fmla="*/ 1683961 h 1898273"/>
                <a:gd name="connsiteX4" fmla="*/ 505193 w 1170104"/>
                <a:gd name="connsiteY4" fmla="*/ 1644273 h 1898273"/>
                <a:gd name="connsiteX5" fmla="*/ 717918 w 1170104"/>
                <a:gd name="connsiteY5" fmla="*/ 1644273 h 1898273"/>
                <a:gd name="connsiteX6" fmla="*/ 746493 w 1170104"/>
                <a:gd name="connsiteY6" fmla="*/ 1596648 h 1898273"/>
                <a:gd name="connsiteX7" fmla="*/ 716330 w 1170104"/>
                <a:gd name="connsiteY7" fmla="*/ 1560136 h 1898273"/>
                <a:gd name="connsiteX8" fmla="*/ 398830 w 1170104"/>
                <a:gd name="connsiteY8" fmla="*/ 1560136 h 1898273"/>
                <a:gd name="connsiteX9" fmla="*/ 360730 w 1170104"/>
                <a:gd name="connsiteY9" fmla="*/ 1522036 h 1898273"/>
                <a:gd name="connsiteX10" fmla="*/ 382955 w 1170104"/>
                <a:gd name="connsiteY10" fmla="*/ 1474411 h 1898273"/>
                <a:gd name="connsiteX11" fmla="*/ 797293 w 1170104"/>
                <a:gd name="connsiteY11" fmla="*/ 1474411 h 1898273"/>
                <a:gd name="connsiteX12" fmla="*/ 830630 w 1170104"/>
                <a:gd name="connsiteY12" fmla="*/ 1426786 h 1898273"/>
                <a:gd name="connsiteX13" fmla="*/ 795705 w 1170104"/>
                <a:gd name="connsiteY13" fmla="*/ 1383923 h 1898273"/>
                <a:gd name="connsiteX14" fmla="*/ 386130 w 1170104"/>
                <a:gd name="connsiteY14" fmla="*/ 1383923 h 1898273"/>
                <a:gd name="connsiteX15" fmla="*/ 322630 w 1170104"/>
                <a:gd name="connsiteY15" fmla="*/ 1352173 h 1898273"/>
                <a:gd name="connsiteX16" fmla="*/ 283340 w 1170104"/>
                <a:gd name="connsiteY16" fmla="*/ 1300183 h 1898273"/>
                <a:gd name="connsiteX17" fmla="*/ 271830 w 1170104"/>
                <a:gd name="connsiteY17" fmla="*/ 1207711 h 1898273"/>
                <a:gd name="connsiteX18" fmla="*/ 260718 w 1170104"/>
                <a:gd name="connsiteY18" fmla="*/ 1128336 h 1898273"/>
                <a:gd name="connsiteX19" fmla="*/ 205155 w 1170104"/>
                <a:gd name="connsiteY19" fmla="*/ 1037848 h 1898273"/>
                <a:gd name="connsiteX20" fmla="*/ 130543 w 1170104"/>
                <a:gd name="connsiteY20" fmla="*/ 955298 h 1898273"/>
                <a:gd name="connsiteX21" fmla="*/ 55137 w 1170104"/>
                <a:gd name="connsiteY21" fmla="*/ 845364 h 1898273"/>
                <a:gd name="connsiteX22" fmla="*/ 13861 w 1170104"/>
                <a:gd name="connsiteY22" fmla="*/ 735827 h 1898273"/>
                <a:gd name="connsiteX23" fmla="*/ 368 w 1170104"/>
                <a:gd name="connsiteY23" fmla="*/ 601286 h 1898273"/>
                <a:gd name="connsiteX24" fmla="*/ 11480 w 1170104"/>
                <a:gd name="connsiteY24" fmla="*/ 475873 h 1898273"/>
                <a:gd name="connsiteX25" fmla="*/ 81330 w 1170104"/>
                <a:gd name="connsiteY25" fmla="*/ 285373 h 1898273"/>
                <a:gd name="connsiteX26" fmla="*/ 265480 w 1170104"/>
                <a:gd name="connsiteY26" fmla="*/ 93285 h 1898273"/>
                <a:gd name="connsiteX27" fmla="*/ 519480 w 1170104"/>
                <a:gd name="connsiteY27" fmla="*/ 3990 h 1898273"/>
                <a:gd name="connsiteX28" fmla="*/ 705218 w 1170104"/>
                <a:gd name="connsiteY28" fmla="*/ 10736 h 1898273"/>
                <a:gd name="connsiteX29" fmla="*/ 943343 w 1170104"/>
                <a:gd name="connsiteY29" fmla="*/ 121861 h 1898273"/>
                <a:gd name="connsiteX30" fmla="*/ 1100505 w 1170104"/>
                <a:gd name="connsiteY30" fmla="*/ 310773 h 1898273"/>
                <a:gd name="connsiteX31" fmla="*/ 1162418 w 1170104"/>
                <a:gd name="connsiteY31" fmla="*/ 513973 h 1898273"/>
                <a:gd name="connsiteX32" fmla="*/ 1165196 w 1170104"/>
                <a:gd name="connsiteY32" fmla="*/ 683836 h 1898273"/>
                <a:gd name="connsiteX33" fmla="*/ 1090980 w 1170104"/>
                <a:gd name="connsiteY33" fmla="*/ 890211 h 1898273"/>
                <a:gd name="connsiteX34" fmla="*/ 957630 w 1170104"/>
                <a:gd name="connsiteY34" fmla="*/ 1058486 h 1898273"/>
                <a:gd name="connsiteX35" fmla="*/ 914768 w 1170104"/>
                <a:gd name="connsiteY35" fmla="*/ 1118811 h 1898273"/>
                <a:gd name="connsiteX36" fmla="*/ 905243 w 1170104"/>
                <a:gd name="connsiteY36" fmla="*/ 1175961 h 1898273"/>
                <a:gd name="connsiteX37" fmla="*/ 905243 w 1170104"/>
                <a:gd name="connsiteY37" fmla="*/ 1264861 h 1898273"/>
                <a:gd name="connsiteX38" fmla="*/ 868730 w 1170104"/>
                <a:gd name="connsiteY38" fmla="*/ 1301373 h 1898273"/>
                <a:gd name="connsiteX39" fmla="*/ 641718 w 1170104"/>
                <a:gd name="connsiteY39" fmla="*/ 1301373 h 1898273"/>
                <a:gd name="connsiteX40" fmla="*/ 590918 w 1170104"/>
                <a:gd name="connsiteY40" fmla="*/ 1279148 h 1898273"/>
                <a:gd name="connsiteX41" fmla="*/ 590918 w 1170104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90980 w 1167899"/>
                <a:gd name="connsiteY33" fmla="*/ 890211 h 1898273"/>
                <a:gd name="connsiteX34" fmla="*/ 957630 w 1167899"/>
                <a:gd name="connsiteY34" fmla="*/ 1058486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90980 w 1167899"/>
                <a:gd name="connsiteY33" fmla="*/ 890211 h 1898273"/>
                <a:gd name="connsiteX34" fmla="*/ 957630 w 1167899"/>
                <a:gd name="connsiteY34" fmla="*/ 1058486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90980 w 1167899"/>
                <a:gd name="connsiteY33" fmla="*/ 890211 h 1898273"/>
                <a:gd name="connsiteX34" fmla="*/ 957630 w 1167899"/>
                <a:gd name="connsiteY34" fmla="*/ 1058486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7630 w 1167899"/>
                <a:gd name="connsiteY34" fmla="*/ 1058486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7630 w 1167899"/>
                <a:gd name="connsiteY34" fmla="*/ 1058486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7630 w 1167899"/>
                <a:gd name="connsiteY34" fmla="*/ 1058486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7630 w 1167899"/>
                <a:gd name="connsiteY34" fmla="*/ 1058486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5243 w 1167899"/>
                <a:gd name="connsiteY37" fmla="*/ 1264861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902862 w 1167899"/>
                <a:gd name="connsiteY37" fmla="*/ 1261289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5243 w 1167899"/>
                <a:gd name="connsiteY36" fmla="*/ 1175961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2955 w 1167899"/>
                <a:gd name="connsiteY10" fmla="*/ 1474411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5030 w 1167899"/>
                <a:gd name="connsiteY3" fmla="*/ 1683961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8368 w 1167899"/>
                <a:gd name="connsiteY2" fmla="*/ 1723648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0033 w 1167899"/>
                <a:gd name="connsiteY2" fmla="*/ 1728411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00033 w 1167899"/>
                <a:gd name="connsiteY2" fmla="*/ 1728411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6493 w 1167899"/>
                <a:gd name="connsiteY6" fmla="*/ 1596648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60718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9527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30630 w 1167899"/>
                <a:gd name="connsiteY12" fmla="*/ 1426786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28249 w 1167899"/>
                <a:gd name="connsiteY12" fmla="*/ 1425595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28249 w 1167899"/>
                <a:gd name="connsiteY12" fmla="*/ 1425595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28249 w 1167899"/>
                <a:gd name="connsiteY12" fmla="*/ 1425595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0136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28249 w 1167899"/>
                <a:gd name="connsiteY12" fmla="*/ 1425595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1327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28249 w 1167899"/>
                <a:gd name="connsiteY12" fmla="*/ 1425595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68730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1327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28249 w 1167899"/>
                <a:gd name="connsiteY12" fmla="*/ 1425595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58014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1327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28249 w 1167899"/>
                <a:gd name="connsiteY12" fmla="*/ 1425595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2868 w 1167899"/>
                <a:gd name="connsiteY34" fmla="*/ 1056105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58014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7899"/>
                <a:gd name="connsiteY0" fmla="*/ 1898273 h 1898273"/>
                <a:gd name="connsiteX1" fmla="*/ 581393 w 1167899"/>
                <a:gd name="connsiteY1" fmla="*/ 1768098 h 1898273"/>
                <a:gd name="connsiteX2" fmla="*/ 513130 w 1167899"/>
                <a:gd name="connsiteY2" fmla="*/ 1726030 h 1898273"/>
                <a:gd name="connsiteX3" fmla="*/ 470268 w 1167899"/>
                <a:gd name="connsiteY3" fmla="*/ 1680389 h 1898273"/>
                <a:gd name="connsiteX4" fmla="*/ 505193 w 1167899"/>
                <a:gd name="connsiteY4" fmla="*/ 1644273 h 1898273"/>
                <a:gd name="connsiteX5" fmla="*/ 717918 w 1167899"/>
                <a:gd name="connsiteY5" fmla="*/ 1644273 h 1898273"/>
                <a:gd name="connsiteX6" fmla="*/ 748874 w 1167899"/>
                <a:gd name="connsiteY6" fmla="*/ 1603792 h 1898273"/>
                <a:gd name="connsiteX7" fmla="*/ 716330 w 1167899"/>
                <a:gd name="connsiteY7" fmla="*/ 1561327 h 1898273"/>
                <a:gd name="connsiteX8" fmla="*/ 398830 w 1167899"/>
                <a:gd name="connsiteY8" fmla="*/ 1560136 h 1898273"/>
                <a:gd name="connsiteX9" fmla="*/ 360730 w 1167899"/>
                <a:gd name="connsiteY9" fmla="*/ 1522036 h 1898273"/>
                <a:gd name="connsiteX10" fmla="*/ 387717 w 1167899"/>
                <a:gd name="connsiteY10" fmla="*/ 1476793 h 1898273"/>
                <a:gd name="connsiteX11" fmla="*/ 797293 w 1167899"/>
                <a:gd name="connsiteY11" fmla="*/ 1474411 h 1898273"/>
                <a:gd name="connsiteX12" fmla="*/ 828249 w 1167899"/>
                <a:gd name="connsiteY12" fmla="*/ 1425595 h 1898273"/>
                <a:gd name="connsiteX13" fmla="*/ 795705 w 1167899"/>
                <a:gd name="connsiteY13" fmla="*/ 1383923 h 1898273"/>
                <a:gd name="connsiteX14" fmla="*/ 386130 w 1167899"/>
                <a:gd name="connsiteY14" fmla="*/ 1383923 h 1898273"/>
                <a:gd name="connsiteX15" fmla="*/ 322630 w 1167899"/>
                <a:gd name="connsiteY15" fmla="*/ 1352173 h 1898273"/>
                <a:gd name="connsiteX16" fmla="*/ 283340 w 1167899"/>
                <a:gd name="connsiteY16" fmla="*/ 1300183 h 1898273"/>
                <a:gd name="connsiteX17" fmla="*/ 271830 w 1167899"/>
                <a:gd name="connsiteY17" fmla="*/ 1207711 h 1898273"/>
                <a:gd name="connsiteX18" fmla="*/ 255955 w 1167899"/>
                <a:gd name="connsiteY18" fmla="*/ 1128336 h 1898273"/>
                <a:gd name="connsiteX19" fmla="*/ 205155 w 1167899"/>
                <a:gd name="connsiteY19" fmla="*/ 1037848 h 1898273"/>
                <a:gd name="connsiteX20" fmla="*/ 130543 w 1167899"/>
                <a:gd name="connsiteY20" fmla="*/ 955298 h 1898273"/>
                <a:gd name="connsiteX21" fmla="*/ 55137 w 1167899"/>
                <a:gd name="connsiteY21" fmla="*/ 845364 h 1898273"/>
                <a:gd name="connsiteX22" fmla="*/ 13861 w 1167899"/>
                <a:gd name="connsiteY22" fmla="*/ 735827 h 1898273"/>
                <a:gd name="connsiteX23" fmla="*/ 368 w 1167899"/>
                <a:gd name="connsiteY23" fmla="*/ 601286 h 1898273"/>
                <a:gd name="connsiteX24" fmla="*/ 11480 w 1167899"/>
                <a:gd name="connsiteY24" fmla="*/ 475873 h 1898273"/>
                <a:gd name="connsiteX25" fmla="*/ 81330 w 1167899"/>
                <a:gd name="connsiteY25" fmla="*/ 285373 h 1898273"/>
                <a:gd name="connsiteX26" fmla="*/ 265480 w 1167899"/>
                <a:gd name="connsiteY26" fmla="*/ 93285 h 1898273"/>
                <a:gd name="connsiteX27" fmla="*/ 519480 w 1167899"/>
                <a:gd name="connsiteY27" fmla="*/ 3990 h 1898273"/>
                <a:gd name="connsiteX28" fmla="*/ 705218 w 1167899"/>
                <a:gd name="connsiteY28" fmla="*/ 10736 h 1898273"/>
                <a:gd name="connsiteX29" fmla="*/ 943343 w 1167899"/>
                <a:gd name="connsiteY29" fmla="*/ 121861 h 1898273"/>
                <a:gd name="connsiteX30" fmla="*/ 1100505 w 1167899"/>
                <a:gd name="connsiteY30" fmla="*/ 310773 h 1898273"/>
                <a:gd name="connsiteX31" fmla="*/ 1162418 w 1167899"/>
                <a:gd name="connsiteY31" fmla="*/ 513973 h 1898273"/>
                <a:gd name="connsiteX32" fmla="*/ 1165196 w 1167899"/>
                <a:gd name="connsiteY32" fmla="*/ 683836 h 1898273"/>
                <a:gd name="connsiteX33" fmla="*/ 1085027 w 1167899"/>
                <a:gd name="connsiteY33" fmla="*/ 889020 h 1898273"/>
                <a:gd name="connsiteX34" fmla="*/ 950487 w 1167899"/>
                <a:gd name="connsiteY34" fmla="*/ 1054914 h 1898273"/>
                <a:gd name="connsiteX35" fmla="*/ 914768 w 1167899"/>
                <a:gd name="connsiteY35" fmla="*/ 1118811 h 1898273"/>
                <a:gd name="connsiteX36" fmla="*/ 900480 w 1167899"/>
                <a:gd name="connsiteY36" fmla="*/ 1177152 h 1898273"/>
                <a:gd name="connsiteX37" fmla="*/ 898100 w 1167899"/>
                <a:gd name="connsiteY37" fmla="*/ 1258908 h 1898273"/>
                <a:gd name="connsiteX38" fmla="*/ 858014 w 1167899"/>
                <a:gd name="connsiteY38" fmla="*/ 1301373 h 1898273"/>
                <a:gd name="connsiteX39" fmla="*/ 641718 w 1167899"/>
                <a:gd name="connsiteY39" fmla="*/ 1301373 h 1898273"/>
                <a:gd name="connsiteX40" fmla="*/ 590918 w 1167899"/>
                <a:gd name="connsiteY40" fmla="*/ 1279148 h 1898273"/>
                <a:gd name="connsiteX41" fmla="*/ 590918 w 1167899"/>
                <a:gd name="connsiteY41" fmla="*/ 1212473 h 1898273"/>
                <a:gd name="connsiteX0" fmla="*/ 584568 w 1169166"/>
                <a:gd name="connsiteY0" fmla="*/ 1898273 h 1898273"/>
                <a:gd name="connsiteX1" fmla="*/ 581393 w 1169166"/>
                <a:gd name="connsiteY1" fmla="*/ 1768098 h 1898273"/>
                <a:gd name="connsiteX2" fmla="*/ 513130 w 1169166"/>
                <a:gd name="connsiteY2" fmla="*/ 1726030 h 1898273"/>
                <a:gd name="connsiteX3" fmla="*/ 470268 w 1169166"/>
                <a:gd name="connsiteY3" fmla="*/ 1680389 h 1898273"/>
                <a:gd name="connsiteX4" fmla="*/ 505193 w 1169166"/>
                <a:gd name="connsiteY4" fmla="*/ 1644273 h 1898273"/>
                <a:gd name="connsiteX5" fmla="*/ 717918 w 1169166"/>
                <a:gd name="connsiteY5" fmla="*/ 1644273 h 1898273"/>
                <a:gd name="connsiteX6" fmla="*/ 748874 w 1169166"/>
                <a:gd name="connsiteY6" fmla="*/ 1603792 h 1898273"/>
                <a:gd name="connsiteX7" fmla="*/ 716330 w 1169166"/>
                <a:gd name="connsiteY7" fmla="*/ 1561327 h 1898273"/>
                <a:gd name="connsiteX8" fmla="*/ 398830 w 1169166"/>
                <a:gd name="connsiteY8" fmla="*/ 1560136 h 1898273"/>
                <a:gd name="connsiteX9" fmla="*/ 360730 w 1169166"/>
                <a:gd name="connsiteY9" fmla="*/ 1522036 h 1898273"/>
                <a:gd name="connsiteX10" fmla="*/ 387717 w 1169166"/>
                <a:gd name="connsiteY10" fmla="*/ 1476793 h 1898273"/>
                <a:gd name="connsiteX11" fmla="*/ 797293 w 1169166"/>
                <a:gd name="connsiteY11" fmla="*/ 1474411 h 1898273"/>
                <a:gd name="connsiteX12" fmla="*/ 828249 w 1169166"/>
                <a:gd name="connsiteY12" fmla="*/ 1425595 h 1898273"/>
                <a:gd name="connsiteX13" fmla="*/ 795705 w 1169166"/>
                <a:gd name="connsiteY13" fmla="*/ 1383923 h 1898273"/>
                <a:gd name="connsiteX14" fmla="*/ 386130 w 1169166"/>
                <a:gd name="connsiteY14" fmla="*/ 1383923 h 1898273"/>
                <a:gd name="connsiteX15" fmla="*/ 322630 w 1169166"/>
                <a:gd name="connsiteY15" fmla="*/ 1352173 h 1898273"/>
                <a:gd name="connsiteX16" fmla="*/ 283340 w 1169166"/>
                <a:gd name="connsiteY16" fmla="*/ 1300183 h 1898273"/>
                <a:gd name="connsiteX17" fmla="*/ 271830 w 1169166"/>
                <a:gd name="connsiteY17" fmla="*/ 1207711 h 1898273"/>
                <a:gd name="connsiteX18" fmla="*/ 255955 w 1169166"/>
                <a:gd name="connsiteY18" fmla="*/ 1128336 h 1898273"/>
                <a:gd name="connsiteX19" fmla="*/ 205155 w 1169166"/>
                <a:gd name="connsiteY19" fmla="*/ 1037848 h 1898273"/>
                <a:gd name="connsiteX20" fmla="*/ 130543 w 1169166"/>
                <a:gd name="connsiteY20" fmla="*/ 955298 h 1898273"/>
                <a:gd name="connsiteX21" fmla="*/ 55137 w 1169166"/>
                <a:gd name="connsiteY21" fmla="*/ 845364 h 1898273"/>
                <a:gd name="connsiteX22" fmla="*/ 13861 w 1169166"/>
                <a:gd name="connsiteY22" fmla="*/ 735827 h 1898273"/>
                <a:gd name="connsiteX23" fmla="*/ 368 w 1169166"/>
                <a:gd name="connsiteY23" fmla="*/ 601286 h 1898273"/>
                <a:gd name="connsiteX24" fmla="*/ 11480 w 1169166"/>
                <a:gd name="connsiteY24" fmla="*/ 475873 h 1898273"/>
                <a:gd name="connsiteX25" fmla="*/ 81330 w 1169166"/>
                <a:gd name="connsiteY25" fmla="*/ 285373 h 1898273"/>
                <a:gd name="connsiteX26" fmla="*/ 265480 w 1169166"/>
                <a:gd name="connsiteY26" fmla="*/ 93285 h 1898273"/>
                <a:gd name="connsiteX27" fmla="*/ 519480 w 1169166"/>
                <a:gd name="connsiteY27" fmla="*/ 3990 h 1898273"/>
                <a:gd name="connsiteX28" fmla="*/ 705218 w 1169166"/>
                <a:gd name="connsiteY28" fmla="*/ 10736 h 1898273"/>
                <a:gd name="connsiteX29" fmla="*/ 943343 w 1169166"/>
                <a:gd name="connsiteY29" fmla="*/ 121861 h 1898273"/>
                <a:gd name="connsiteX30" fmla="*/ 1100505 w 1169166"/>
                <a:gd name="connsiteY30" fmla="*/ 310773 h 1898273"/>
                <a:gd name="connsiteX31" fmla="*/ 1162418 w 1169166"/>
                <a:gd name="connsiteY31" fmla="*/ 513973 h 1898273"/>
                <a:gd name="connsiteX32" fmla="*/ 1165196 w 1169166"/>
                <a:gd name="connsiteY32" fmla="*/ 683836 h 1898273"/>
                <a:gd name="connsiteX33" fmla="*/ 1085027 w 1169166"/>
                <a:gd name="connsiteY33" fmla="*/ 889020 h 1898273"/>
                <a:gd name="connsiteX34" fmla="*/ 950487 w 1169166"/>
                <a:gd name="connsiteY34" fmla="*/ 1054914 h 1898273"/>
                <a:gd name="connsiteX35" fmla="*/ 914768 w 1169166"/>
                <a:gd name="connsiteY35" fmla="*/ 1118811 h 1898273"/>
                <a:gd name="connsiteX36" fmla="*/ 900480 w 1169166"/>
                <a:gd name="connsiteY36" fmla="*/ 1177152 h 1898273"/>
                <a:gd name="connsiteX37" fmla="*/ 898100 w 1169166"/>
                <a:gd name="connsiteY37" fmla="*/ 1258908 h 1898273"/>
                <a:gd name="connsiteX38" fmla="*/ 858014 w 1169166"/>
                <a:gd name="connsiteY38" fmla="*/ 1301373 h 1898273"/>
                <a:gd name="connsiteX39" fmla="*/ 641718 w 1169166"/>
                <a:gd name="connsiteY39" fmla="*/ 1301373 h 1898273"/>
                <a:gd name="connsiteX40" fmla="*/ 590918 w 1169166"/>
                <a:gd name="connsiteY40" fmla="*/ 1279148 h 1898273"/>
                <a:gd name="connsiteX41" fmla="*/ 590918 w 1169166"/>
                <a:gd name="connsiteY41" fmla="*/ 1212473 h 1898273"/>
                <a:gd name="connsiteX0" fmla="*/ 584568 w 1169166"/>
                <a:gd name="connsiteY0" fmla="*/ 1898273 h 1898273"/>
                <a:gd name="connsiteX1" fmla="*/ 581393 w 1169166"/>
                <a:gd name="connsiteY1" fmla="*/ 1768098 h 1898273"/>
                <a:gd name="connsiteX2" fmla="*/ 513130 w 1169166"/>
                <a:gd name="connsiteY2" fmla="*/ 1726030 h 1898273"/>
                <a:gd name="connsiteX3" fmla="*/ 470268 w 1169166"/>
                <a:gd name="connsiteY3" fmla="*/ 1680389 h 1898273"/>
                <a:gd name="connsiteX4" fmla="*/ 505193 w 1169166"/>
                <a:gd name="connsiteY4" fmla="*/ 1644273 h 1898273"/>
                <a:gd name="connsiteX5" fmla="*/ 717918 w 1169166"/>
                <a:gd name="connsiteY5" fmla="*/ 1644273 h 1898273"/>
                <a:gd name="connsiteX6" fmla="*/ 748874 w 1169166"/>
                <a:gd name="connsiteY6" fmla="*/ 1603792 h 1898273"/>
                <a:gd name="connsiteX7" fmla="*/ 716330 w 1169166"/>
                <a:gd name="connsiteY7" fmla="*/ 1561327 h 1898273"/>
                <a:gd name="connsiteX8" fmla="*/ 398830 w 1169166"/>
                <a:gd name="connsiteY8" fmla="*/ 1560136 h 1898273"/>
                <a:gd name="connsiteX9" fmla="*/ 360730 w 1169166"/>
                <a:gd name="connsiteY9" fmla="*/ 1522036 h 1898273"/>
                <a:gd name="connsiteX10" fmla="*/ 387717 w 1169166"/>
                <a:gd name="connsiteY10" fmla="*/ 1476793 h 1898273"/>
                <a:gd name="connsiteX11" fmla="*/ 797293 w 1169166"/>
                <a:gd name="connsiteY11" fmla="*/ 1474411 h 1898273"/>
                <a:gd name="connsiteX12" fmla="*/ 828249 w 1169166"/>
                <a:gd name="connsiteY12" fmla="*/ 1425595 h 1898273"/>
                <a:gd name="connsiteX13" fmla="*/ 795705 w 1169166"/>
                <a:gd name="connsiteY13" fmla="*/ 1383923 h 1898273"/>
                <a:gd name="connsiteX14" fmla="*/ 386130 w 1169166"/>
                <a:gd name="connsiteY14" fmla="*/ 1383923 h 1898273"/>
                <a:gd name="connsiteX15" fmla="*/ 322630 w 1169166"/>
                <a:gd name="connsiteY15" fmla="*/ 1352173 h 1898273"/>
                <a:gd name="connsiteX16" fmla="*/ 283340 w 1169166"/>
                <a:gd name="connsiteY16" fmla="*/ 1300183 h 1898273"/>
                <a:gd name="connsiteX17" fmla="*/ 271830 w 1169166"/>
                <a:gd name="connsiteY17" fmla="*/ 1207711 h 1898273"/>
                <a:gd name="connsiteX18" fmla="*/ 255955 w 1169166"/>
                <a:gd name="connsiteY18" fmla="*/ 1128336 h 1898273"/>
                <a:gd name="connsiteX19" fmla="*/ 205155 w 1169166"/>
                <a:gd name="connsiteY19" fmla="*/ 1037848 h 1898273"/>
                <a:gd name="connsiteX20" fmla="*/ 130543 w 1169166"/>
                <a:gd name="connsiteY20" fmla="*/ 955298 h 1898273"/>
                <a:gd name="connsiteX21" fmla="*/ 55137 w 1169166"/>
                <a:gd name="connsiteY21" fmla="*/ 845364 h 1898273"/>
                <a:gd name="connsiteX22" fmla="*/ 13861 w 1169166"/>
                <a:gd name="connsiteY22" fmla="*/ 735827 h 1898273"/>
                <a:gd name="connsiteX23" fmla="*/ 368 w 1169166"/>
                <a:gd name="connsiteY23" fmla="*/ 601286 h 1898273"/>
                <a:gd name="connsiteX24" fmla="*/ 11480 w 1169166"/>
                <a:gd name="connsiteY24" fmla="*/ 475873 h 1898273"/>
                <a:gd name="connsiteX25" fmla="*/ 81330 w 1169166"/>
                <a:gd name="connsiteY25" fmla="*/ 285373 h 1898273"/>
                <a:gd name="connsiteX26" fmla="*/ 265480 w 1169166"/>
                <a:gd name="connsiteY26" fmla="*/ 93285 h 1898273"/>
                <a:gd name="connsiteX27" fmla="*/ 519480 w 1169166"/>
                <a:gd name="connsiteY27" fmla="*/ 3990 h 1898273"/>
                <a:gd name="connsiteX28" fmla="*/ 705218 w 1169166"/>
                <a:gd name="connsiteY28" fmla="*/ 10736 h 1898273"/>
                <a:gd name="connsiteX29" fmla="*/ 943343 w 1169166"/>
                <a:gd name="connsiteY29" fmla="*/ 121861 h 1898273"/>
                <a:gd name="connsiteX30" fmla="*/ 1100505 w 1169166"/>
                <a:gd name="connsiteY30" fmla="*/ 310773 h 1898273"/>
                <a:gd name="connsiteX31" fmla="*/ 1162418 w 1169166"/>
                <a:gd name="connsiteY31" fmla="*/ 513973 h 1898273"/>
                <a:gd name="connsiteX32" fmla="*/ 1165196 w 1169166"/>
                <a:gd name="connsiteY32" fmla="*/ 683836 h 1898273"/>
                <a:gd name="connsiteX33" fmla="*/ 1085027 w 1169166"/>
                <a:gd name="connsiteY33" fmla="*/ 889020 h 1898273"/>
                <a:gd name="connsiteX34" fmla="*/ 950487 w 1169166"/>
                <a:gd name="connsiteY34" fmla="*/ 1054914 h 1898273"/>
                <a:gd name="connsiteX35" fmla="*/ 914768 w 1169166"/>
                <a:gd name="connsiteY35" fmla="*/ 1118811 h 1898273"/>
                <a:gd name="connsiteX36" fmla="*/ 900480 w 1169166"/>
                <a:gd name="connsiteY36" fmla="*/ 1177152 h 1898273"/>
                <a:gd name="connsiteX37" fmla="*/ 898100 w 1169166"/>
                <a:gd name="connsiteY37" fmla="*/ 1258908 h 1898273"/>
                <a:gd name="connsiteX38" fmla="*/ 858014 w 1169166"/>
                <a:gd name="connsiteY38" fmla="*/ 1301373 h 1898273"/>
                <a:gd name="connsiteX39" fmla="*/ 641718 w 1169166"/>
                <a:gd name="connsiteY39" fmla="*/ 1301373 h 1898273"/>
                <a:gd name="connsiteX40" fmla="*/ 590918 w 1169166"/>
                <a:gd name="connsiteY40" fmla="*/ 1279148 h 1898273"/>
                <a:gd name="connsiteX41" fmla="*/ 590918 w 1169166"/>
                <a:gd name="connsiteY41" fmla="*/ 1212473 h 1898273"/>
                <a:gd name="connsiteX0" fmla="*/ 584568 w 1170467"/>
                <a:gd name="connsiteY0" fmla="*/ 1898273 h 1898273"/>
                <a:gd name="connsiteX1" fmla="*/ 581393 w 1170467"/>
                <a:gd name="connsiteY1" fmla="*/ 1768098 h 1898273"/>
                <a:gd name="connsiteX2" fmla="*/ 513130 w 1170467"/>
                <a:gd name="connsiteY2" fmla="*/ 1726030 h 1898273"/>
                <a:gd name="connsiteX3" fmla="*/ 470268 w 1170467"/>
                <a:gd name="connsiteY3" fmla="*/ 1680389 h 1898273"/>
                <a:gd name="connsiteX4" fmla="*/ 505193 w 1170467"/>
                <a:gd name="connsiteY4" fmla="*/ 1644273 h 1898273"/>
                <a:gd name="connsiteX5" fmla="*/ 717918 w 1170467"/>
                <a:gd name="connsiteY5" fmla="*/ 1644273 h 1898273"/>
                <a:gd name="connsiteX6" fmla="*/ 748874 w 1170467"/>
                <a:gd name="connsiteY6" fmla="*/ 1603792 h 1898273"/>
                <a:gd name="connsiteX7" fmla="*/ 716330 w 1170467"/>
                <a:gd name="connsiteY7" fmla="*/ 1561327 h 1898273"/>
                <a:gd name="connsiteX8" fmla="*/ 398830 w 1170467"/>
                <a:gd name="connsiteY8" fmla="*/ 1560136 h 1898273"/>
                <a:gd name="connsiteX9" fmla="*/ 360730 w 1170467"/>
                <a:gd name="connsiteY9" fmla="*/ 1522036 h 1898273"/>
                <a:gd name="connsiteX10" fmla="*/ 387717 w 1170467"/>
                <a:gd name="connsiteY10" fmla="*/ 1476793 h 1898273"/>
                <a:gd name="connsiteX11" fmla="*/ 797293 w 1170467"/>
                <a:gd name="connsiteY11" fmla="*/ 1474411 h 1898273"/>
                <a:gd name="connsiteX12" fmla="*/ 828249 w 1170467"/>
                <a:gd name="connsiteY12" fmla="*/ 1425595 h 1898273"/>
                <a:gd name="connsiteX13" fmla="*/ 795705 w 1170467"/>
                <a:gd name="connsiteY13" fmla="*/ 1383923 h 1898273"/>
                <a:gd name="connsiteX14" fmla="*/ 386130 w 1170467"/>
                <a:gd name="connsiteY14" fmla="*/ 1383923 h 1898273"/>
                <a:gd name="connsiteX15" fmla="*/ 322630 w 1170467"/>
                <a:gd name="connsiteY15" fmla="*/ 1352173 h 1898273"/>
                <a:gd name="connsiteX16" fmla="*/ 283340 w 1170467"/>
                <a:gd name="connsiteY16" fmla="*/ 1300183 h 1898273"/>
                <a:gd name="connsiteX17" fmla="*/ 271830 w 1170467"/>
                <a:gd name="connsiteY17" fmla="*/ 1207711 h 1898273"/>
                <a:gd name="connsiteX18" fmla="*/ 255955 w 1170467"/>
                <a:gd name="connsiteY18" fmla="*/ 1128336 h 1898273"/>
                <a:gd name="connsiteX19" fmla="*/ 205155 w 1170467"/>
                <a:gd name="connsiteY19" fmla="*/ 1037848 h 1898273"/>
                <a:gd name="connsiteX20" fmla="*/ 130543 w 1170467"/>
                <a:gd name="connsiteY20" fmla="*/ 955298 h 1898273"/>
                <a:gd name="connsiteX21" fmla="*/ 55137 w 1170467"/>
                <a:gd name="connsiteY21" fmla="*/ 845364 h 1898273"/>
                <a:gd name="connsiteX22" fmla="*/ 13861 w 1170467"/>
                <a:gd name="connsiteY22" fmla="*/ 735827 h 1898273"/>
                <a:gd name="connsiteX23" fmla="*/ 368 w 1170467"/>
                <a:gd name="connsiteY23" fmla="*/ 601286 h 1898273"/>
                <a:gd name="connsiteX24" fmla="*/ 11480 w 1170467"/>
                <a:gd name="connsiteY24" fmla="*/ 475873 h 1898273"/>
                <a:gd name="connsiteX25" fmla="*/ 81330 w 1170467"/>
                <a:gd name="connsiteY25" fmla="*/ 285373 h 1898273"/>
                <a:gd name="connsiteX26" fmla="*/ 265480 w 1170467"/>
                <a:gd name="connsiteY26" fmla="*/ 93285 h 1898273"/>
                <a:gd name="connsiteX27" fmla="*/ 519480 w 1170467"/>
                <a:gd name="connsiteY27" fmla="*/ 3990 h 1898273"/>
                <a:gd name="connsiteX28" fmla="*/ 705218 w 1170467"/>
                <a:gd name="connsiteY28" fmla="*/ 10736 h 1898273"/>
                <a:gd name="connsiteX29" fmla="*/ 943343 w 1170467"/>
                <a:gd name="connsiteY29" fmla="*/ 121861 h 1898273"/>
                <a:gd name="connsiteX30" fmla="*/ 1100505 w 1170467"/>
                <a:gd name="connsiteY30" fmla="*/ 310773 h 1898273"/>
                <a:gd name="connsiteX31" fmla="*/ 1164799 w 1170467"/>
                <a:gd name="connsiteY31" fmla="*/ 512783 h 1898273"/>
                <a:gd name="connsiteX32" fmla="*/ 1165196 w 1170467"/>
                <a:gd name="connsiteY32" fmla="*/ 683836 h 1898273"/>
                <a:gd name="connsiteX33" fmla="*/ 1085027 w 1170467"/>
                <a:gd name="connsiteY33" fmla="*/ 889020 h 1898273"/>
                <a:gd name="connsiteX34" fmla="*/ 950487 w 1170467"/>
                <a:gd name="connsiteY34" fmla="*/ 1054914 h 1898273"/>
                <a:gd name="connsiteX35" fmla="*/ 914768 w 1170467"/>
                <a:gd name="connsiteY35" fmla="*/ 1118811 h 1898273"/>
                <a:gd name="connsiteX36" fmla="*/ 900480 w 1170467"/>
                <a:gd name="connsiteY36" fmla="*/ 1177152 h 1898273"/>
                <a:gd name="connsiteX37" fmla="*/ 898100 w 1170467"/>
                <a:gd name="connsiteY37" fmla="*/ 1258908 h 1898273"/>
                <a:gd name="connsiteX38" fmla="*/ 858014 w 1170467"/>
                <a:gd name="connsiteY38" fmla="*/ 1301373 h 1898273"/>
                <a:gd name="connsiteX39" fmla="*/ 641718 w 1170467"/>
                <a:gd name="connsiteY39" fmla="*/ 1301373 h 1898273"/>
                <a:gd name="connsiteX40" fmla="*/ 590918 w 1170467"/>
                <a:gd name="connsiteY40" fmla="*/ 1279148 h 1898273"/>
                <a:gd name="connsiteX41" fmla="*/ 590918 w 1170467"/>
                <a:gd name="connsiteY41" fmla="*/ 1212473 h 1898273"/>
                <a:gd name="connsiteX0" fmla="*/ 584993 w 1170892"/>
                <a:gd name="connsiteY0" fmla="*/ 1898273 h 1898273"/>
                <a:gd name="connsiteX1" fmla="*/ 581818 w 1170892"/>
                <a:gd name="connsiteY1" fmla="*/ 1768098 h 1898273"/>
                <a:gd name="connsiteX2" fmla="*/ 513555 w 1170892"/>
                <a:gd name="connsiteY2" fmla="*/ 1726030 h 1898273"/>
                <a:gd name="connsiteX3" fmla="*/ 470693 w 1170892"/>
                <a:gd name="connsiteY3" fmla="*/ 1680389 h 1898273"/>
                <a:gd name="connsiteX4" fmla="*/ 505618 w 1170892"/>
                <a:gd name="connsiteY4" fmla="*/ 1644273 h 1898273"/>
                <a:gd name="connsiteX5" fmla="*/ 718343 w 1170892"/>
                <a:gd name="connsiteY5" fmla="*/ 1644273 h 1898273"/>
                <a:gd name="connsiteX6" fmla="*/ 749299 w 1170892"/>
                <a:gd name="connsiteY6" fmla="*/ 1603792 h 1898273"/>
                <a:gd name="connsiteX7" fmla="*/ 716755 w 1170892"/>
                <a:gd name="connsiteY7" fmla="*/ 1561327 h 1898273"/>
                <a:gd name="connsiteX8" fmla="*/ 399255 w 1170892"/>
                <a:gd name="connsiteY8" fmla="*/ 1560136 h 1898273"/>
                <a:gd name="connsiteX9" fmla="*/ 361155 w 1170892"/>
                <a:gd name="connsiteY9" fmla="*/ 1522036 h 1898273"/>
                <a:gd name="connsiteX10" fmla="*/ 388142 w 1170892"/>
                <a:gd name="connsiteY10" fmla="*/ 1476793 h 1898273"/>
                <a:gd name="connsiteX11" fmla="*/ 797718 w 1170892"/>
                <a:gd name="connsiteY11" fmla="*/ 1474411 h 1898273"/>
                <a:gd name="connsiteX12" fmla="*/ 828674 w 1170892"/>
                <a:gd name="connsiteY12" fmla="*/ 1425595 h 1898273"/>
                <a:gd name="connsiteX13" fmla="*/ 796130 w 1170892"/>
                <a:gd name="connsiteY13" fmla="*/ 1383923 h 1898273"/>
                <a:gd name="connsiteX14" fmla="*/ 386555 w 1170892"/>
                <a:gd name="connsiteY14" fmla="*/ 1383923 h 1898273"/>
                <a:gd name="connsiteX15" fmla="*/ 323055 w 1170892"/>
                <a:gd name="connsiteY15" fmla="*/ 1352173 h 1898273"/>
                <a:gd name="connsiteX16" fmla="*/ 283765 w 1170892"/>
                <a:gd name="connsiteY16" fmla="*/ 1300183 h 1898273"/>
                <a:gd name="connsiteX17" fmla="*/ 272255 w 1170892"/>
                <a:gd name="connsiteY17" fmla="*/ 1207711 h 1898273"/>
                <a:gd name="connsiteX18" fmla="*/ 256380 w 1170892"/>
                <a:gd name="connsiteY18" fmla="*/ 1128336 h 1898273"/>
                <a:gd name="connsiteX19" fmla="*/ 205580 w 1170892"/>
                <a:gd name="connsiteY19" fmla="*/ 1037848 h 1898273"/>
                <a:gd name="connsiteX20" fmla="*/ 130968 w 1170892"/>
                <a:gd name="connsiteY20" fmla="*/ 955298 h 1898273"/>
                <a:gd name="connsiteX21" fmla="*/ 55562 w 1170892"/>
                <a:gd name="connsiteY21" fmla="*/ 845364 h 1898273"/>
                <a:gd name="connsiteX22" fmla="*/ 14286 w 1170892"/>
                <a:gd name="connsiteY22" fmla="*/ 735827 h 1898273"/>
                <a:gd name="connsiteX23" fmla="*/ 793 w 1170892"/>
                <a:gd name="connsiteY23" fmla="*/ 601286 h 1898273"/>
                <a:gd name="connsiteX24" fmla="*/ 9524 w 1170892"/>
                <a:gd name="connsiteY24" fmla="*/ 475873 h 1898273"/>
                <a:gd name="connsiteX25" fmla="*/ 81755 w 1170892"/>
                <a:gd name="connsiteY25" fmla="*/ 285373 h 1898273"/>
                <a:gd name="connsiteX26" fmla="*/ 265905 w 1170892"/>
                <a:gd name="connsiteY26" fmla="*/ 93285 h 1898273"/>
                <a:gd name="connsiteX27" fmla="*/ 519905 w 1170892"/>
                <a:gd name="connsiteY27" fmla="*/ 3990 h 1898273"/>
                <a:gd name="connsiteX28" fmla="*/ 705643 w 1170892"/>
                <a:gd name="connsiteY28" fmla="*/ 10736 h 1898273"/>
                <a:gd name="connsiteX29" fmla="*/ 943768 w 1170892"/>
                <a:gd name="connsiteY29" fmla="*/ 121861 h 1898273"/>
                <a:gd name="connsiteX30" fmla="*/ 1100930 w 1170892"/>
                <a:gd name="connsiteY30" fmla="*/ 310773 h 1898273"/>
                <a:gd name="connsiteX31" fmla="*/ 1165224 w 1170892"/>
                <a:gd name="connsiteY31" fmla="*/ 512783 h 1898273"/>
                <a:gd name="connsiteX32" fmla="*/ 1165621 w 1170892"/>
                <a:gd name="connsiteY32" fmla="*/ 683836 h 1898273"/>
                <a:gd name="connsiteX33" fmla="*/ 1085452 w 1170892"/>
                <a:gd name="connsiteY33" fmla="*/ 889020 h 1898273"/>
                <a:gd name="connsiteX34" fmla="*/ 950912 w 1170892"/>
                <a:gd name="connsiteY34" fmla="*/ 1054914 h 1898273"/>
                <a:gd name="connsiteX35" fmla="*/ 915193 w 1170892"/>
                <a:gd name="connsiteY35" fmla="*/ 1118811 h 1898273"/>
                <a:gd name="connsiteX36" fmla="*/ 900905 w 1170892"/>
                <a:gd name="connsiteY36" fmla="*/ 1177152 h 1898273"/>
                <a:gd name="connsiteX37" fmla="*/ 898525 w 1170892"/>
                <a:gd name="connsiteY37" fmla="*/ 1258908 h 1898273"/>
                <a:gd name="connsiteX38" fmla="*/ 858439 w 1170892"/>
                <a:gd name="connsiteY38" fmla="*/ 1301373 h 1898273"/>
                <a:gd name="connsiteX39" fmla="*/ 642143 w 1170892"/>
                <a:gd name="connsiteY39" fmla="*/ 1301373 h 1898273"/>
                <a:gd name="connsiteX40" fmla="*/ 591343 w 1170892"/>
                <a:gd name="connsiteY40" fmla="*/ 1279148 h 1898273"/>
                <a:gd name="connsiteX41" fmla="*/ 591343 w 1170892"/>
                <a:gd name="connsiteY41" fmla="*/ 1212473 h 1898273"/>
                <a:gd name="connsiteX0" fmla="*/ 584993 w 1170892"/>
                <a:gd name="connsiteY0" fmla="*/ 1898273 h 1898273"/>
                <a:gd name="connsiteX1" fmla="*/ 581818 w 1170892"/>
                <a:gd name="connsiteY1" fmla="*/ 1768098 h 1898273"/>
                <a:gd name="connsiteX2" fmla="*/ 513555 w 1170892"/>
                <a:gd name="connsiteY2" fmla="*/ 1726030 h 1898273"/>
                <a:gd name="connsiteX3" fmla="*/ 470693 w 1170892"/>
                <a:gd name="connsiteY3" fmla="*/ 1680389 h 1898273"/>
                <a:gd name="connsiteX4" fmla="*/ 505618 w 1170892"/>
                <a:gd name="connsiteY4" fmla="*/ 1644273 h 1898273"/>
                <a:gd name="connsiteX5" fmla="*/ 718343 w 1170892"/>
                <a:gd name="connsiteY5" fmla="*/ 1644273 h 1898273"/>
                <a:gd name="connsiteX6" fmla="*/ 749299 w 1170892"/>
                <a:gd name="connsiteY6" fmla="*/ 1603792 h 1898273"/>
                <a:gd name="connsiteX7" fmla="*/ 716755 w 1170892"/>
                <a:gd name="connsiteY7" fmla="*/ 1561327 h 1898273"/>
                <a:gd name="connsiteX8" fmla="*/ 399255 w 1170892"/>
                <a:gd name="connsiteY8" fmla="*/ 1560136 h 1898273"/>
                <a:gd name="connsiteX9" fmla="*/ 361155 w 1170892"/>
                <a:gd name="connsiteY9" fmla="*/ 1522036 h 1898273"/>
                <a:gd name="connsiteX10" fmla="*/ 394095 w 1170892"/>
                <a:gd name="connsiteY10" fmla="*/ 1476793 h 1898273"/>
                <a:gd name="connsiteX11" fmla="*/ 797718 w 1170892"/>
                <a:gd name="connsiteY11" fmla="*/ 1474411 h 1898273"/>
                <a:gd name="connsiteX12" fmla="*/ 828674 w 1170892"/>
                <a:gd name="connsiteY12" fmla="*/ 1425595 h 1898273"/>
                <a:gd name="connsiteX13" fmla="*/ 796130 w 1170892"/>
                <a:gd name="connsiteY13" fmla="*/ 1383923 h 1898273"/>
                <a:gd name="connsiteX14" fmla="*/ 386555 w 1170892"/>
                <a:gd name="connsiteY14" fmla="*/ 1383923 h 1898273"/>
                <a:gd name="connsiteX15" fmla="*/ 323055 w 1170892"/>
                <a:gd name="connsiteY15" fmla="*/ 1352173 h 1898273"/>
                <a:gd name="connsiteX16" fmla="*/ 283765 w 1170892"/>
                <a:gd name="connsiteY16" fmla="*/ 1300183 h 1898273"/>
                <a:gd name="connsiteX17" fmla="*/ 272255 w 1170892"/>
                <a:gd name="connsiteY17" fmla="*/ 1207711 h 1898273"/>
                <a:gd name="connsiteX18" fmla="*/ 256380 w 1170892"/>
                <a:gd name="connsiteY18" fmla="*/ 1128336 h 1898273"/>
                <a:gd name="connsiteX19" fmla="*/ 205580 w 1170892"/>
                <a:gd name="connsiteY19" fmla="*/ 1037848 h 1898273"/>
                <a:gd name="connsiteX20" fmla="*/ 130968 w 1170892"/>
                <a:gd name="connsiteY20" fmla="*/ 955298 h 1898273"/>
                <a:gd name="connsiteX21" fmla="*/ 55562 w 1170892"/>
                <a:gd name="connsiteY21" fmla="*/ 845364 h 1898273"/>
                <a:gd name="connsiteX22" fmla="*/ 14286 w 1170892"/>
                <a:gd name="connsiteY22" fmla="*/ 735827 h 1898273"/>
                <a:gd name="connsiteX23" fmla="*/ 793 w 1170892"/>
                <a:gd name="connsiteY23" fmla="*/ 601286 h 1898273"/>
                <a:gd name="connsiteX24" fmla="*/ 9524 w 1170892"/>
                <a:gd name="connsiteY24" fmla="*/ 475873 h 1898273"/>
                <a:gd name="connsiteX25" fmla="*/ 81755 w 1170892"/>
                <a:gd name="connsiteY25" fmla="*/ 285373 h 1898273"/>
                <a:gd name="connsiteX26" fmla="*/ 265905 w 1170892"/>
                <a:gd name="connsiteY26" fmla="*/ 93285 h 1898273"/>
                <a:gd name="connsiteX27" fmla="*/ 519905 w 1170892"/>
                <a:gd name="connsiteY27" fmla="*/ 3990 h 1898273"/>
                <a:gd name="connsiteX28" fmla="*/ 705643 w 1170892"/>
                <a:gd name="connsiteY28" fmla="*/ 10736 h 1898273"/>
                <a:gd name="connsiteX29" fmla="*/ 943768 w 1170892"/>
                <a:gd name="connsiteY29" fmla="*/ 121861 h 1898273"/>
                <a:gd name="connsiteX30" fmla="*/ 1100930 w 1170892"/>
                <a:gd name="connsiteY30" fmla="*/ 310773 h 1898273"/>
                <a:gd name="connsiteX31" fmla="*/ 1165224 w 1170892"/>
                <a:gd name="connsiteY31" fmla="*/ 512783 h 1898273"/>
                <a:gd name="connsiteX32" fmla="*/ 1165621 w 1170892"/>
                <a:gd name="connsiteY32" fmla="*/ 683836 h 1898273"/>
                <a:gd name="connsiteX33" fmla="*/ 1085452 w 1170892"/>
                <a:gd name="connsiteY33" fmla="*/ 889020 h 1898273"/>
                <a:gd name="connsiteX34" fmla="*/ 950912 w 1170892"/>
                <a:gd name="connsiteY34" fmla="*/ 1054914 h 1898273"/>
                <a:gd name="connsiteX35" fmla="*/ 915193 w 1170892"/>
                <a:gd name="connsiteY35" fmla="*/ 1118811 h 1898273"/>
                <a:gd name="connsiteX36" fmla="*/ 900905 w 1170892"/>
                <a:gd name="connsiteY36" fmla="*/ 1177152 h 1898273"/>
                <a:gd name="connsiteX37" fmla="*/ 898525 w 1170892"/>
                <a:gd name="connsiteY37" fmla="*/ 1258908 h 1898273"/>
                <a:gd name="connsiteX38" fmla="*/ 858439 w 1170892"/>
                <a:gd name="connsiteY38" fmla="*/ 1301373 h 1898273"/>
                <a:gd name="connsiteX39" fmla="*/ 642143 w 1170892"/>
                <a:gd name="connsiteY39" fmla="*/ 1301373 h 1898273"/>
                <a:gd name="connsiteX40" fmla="*/ 591343 w 1170892"/>
                <a:gd name="connsiteY40" fmla="*/ 1279148 h 1898273"/>
                <a:gd name="connsiteX41" fmla="*/ 591343 w 1170892"/>
                <a:gd name="connsiteY41" fmla="*/ 1212473 h 1898273"/>
                <a:gd name="connsiteX0" fmla="*/ 584993 w 1170892"/>
                <a:gd name="connsiteY0" fmla="*/ 1898273 h 1898273"/>
                <a:gd name="connsiteX1" fmla="*/ 581818 w 1170892"/>
                <a:gd name="connsiteY1" fmla="*/ 1768098 h 1898273"/>
                <a:gd name="connsiteX2" fmla="*/ 513555 w 1170892"/>
                <a:gd name="connsiteY2" fmla="*/ 1726030 h 1898273"/>
                <a:gd name="connsiteX3" fmla="*/ 470693 w 1170892"/>
                <a:gd name="connsiteY3" fmla="*/ 1680389 h 1898273"/>
                <a:gd name="connsiteX4" fmla="*/ 505618 w 1170892"/>
                <a:gd name="connsiteY4" fmla="*/ 1644273 h 1898273"/>
                <a:gd name="connsiteX5" fmla="*/ 718343 w 1170892"/>
                <a:gd name="connsiteY5" fmla="*/ 1644273 h 1898273"/>
                <a:gd name="connsiteX6" fmla="*/ 749299 w 1170892"/>
                <a:gd name="connsiteY6" fmla="*/ 1603792 h 1898273"/>
                <a:gd name="connsiteX7" fmla="*/ 716755 w 1170892"/>
                <a:gd name="connsiteY7" fmla="*/ 1561327 h 1898273"/>
                <a:gd name="connsiteX8" fmla="*/ 399255 w 1170892"/>
                <a:gd name="connsiteY8" fmla="*/ 1560136 h 1898273"/>
                <a:gd name="connsiteX9" fmla="*/ 361155 w 1170892"/>
                <a:gd name="connsiteY9" fmla="*/ 1522036 h 1898273"/>
                <a:gd name="connsiteX10" fmla="*/ 394095 w 1170892"/>
                <a:gd name="connsiteY10" fmla="*/ 1476793 h 1898273"/>
                <a:gd name="connsiteX11" fmla="*/ 797718 w 1170892"/>
                <a:gd name="connsiteY11" fmla="*/ 1474411 h 1898273"/>
                <a:gd name="connsiteX12" fmla="*/ 828674 w 1170892"/>
                <a:gd name="connsiteY12" fmla="*/ 1425595 h 1898273"/>
                <a:gd name="connsiteX13" fmla="*/ 796130 w 1170892"/>
                <a:gd name="connsiteY13" fmla="*/ 1383923 h 1898273"/>
                <a:gd name="connsiteX14" fmla="*/ 386555 w 1170892"/>
                <a:gd name="connsiteY14" fmla="*/ 1383923 h 1898273"/>
                <a:gd name="connsiteX15" fmla="*/ 323055 w 1170892"/>
                <a:gd name="connsiteY15" fmla="*/ 1352173 h 1898273"/>
                <a:gd name="connsiteX16" fmla="*/ 283765 w 1170892"/>
                <a:gd name="connsiteY16" fmla="*/ 1300183 h 1898273"/>
                <a:gd name="connsiteX17" fmla="*/ 272255 w 1170892"/>
                <a:gd name="connsiteY17" fmla="*/ 1207711 h 1898273"/>
                <a:gd name="connsiteX18" fmla="*/ 256380 w 1170892"/>
                <a:gd name="connsiteY18" fmla="*/ 1128336 h 1898273"/>
                <a:gd name="connsiteX19" fmla="*/ 205580 w 1170892"/>
                <a:gd name="connsiteY19" fmla="*/ 1037848 h 1898273"/>
                <a:gd name="connsiteX20" fmla="*/ 130968 w 1170892"/>
                <a:gd name="connsiteY20" fmla="*/ 955298 h 1898273"/>
                <a:gd name="connsiteX21" fmla="*/ 55562 w 1170892"/>
                <a:gd name="connsiteY21" fmla="*/ 845364 h 1898273"/>
                <a:gd name="connsiteX22" fmla="*/ 14286 w 1170892"/>
                <a:gd name="connsiteY22" fmla="*/ 735827 h 1898273"/>
                <a:gd name="connsiteX23" fmla="*/ 793 w 1170892"/>
                <a:gd name="connsiteY23" fmla="*/ 601286 h 1898273"/>
                <a:gd name="connsiteX24" fmla="*/ 9524 w 1170892"/>
                <a:gd name="connsiteY24" fmla="*/ 475873 h 1898273"/>
                <a:gd name="connsiteX25" fmla="*/ 81755 w 1170892"/>
                <a:gd name="connsiteY25" fmla="*/ 285373 h 1898273"/>
                <a:gd name="connsiteX26" fmla="*/ 265905 w 1170892"/>
                <a:gd name="connsiteY26" fmla="*/ 93285 h 1898273"/>
                <a:gd name="connsiteX27" fmla="*/ 519905 w 1170892"/>
                <a:gd name="connsiteY27" fmla="*/ 3990 h 1898273"/>
                <a:gd name="connsiteX28" fmla="*/ 705643 w 1170892"/>
                <a:gd name="connsiteY28" fmla="*/ 10736 h 1898273"/>
                <a:gd name="connsiteX29" fmla="*/ 943768 w 1170892"/>
                <a:gd name="connsiteY29" fmla="*/ 121861 h 1898273"/>
                <a:gd name="connsiteX30" fmla="*/ 1100930 w 1170892"/>
                <a:gd name="connsiteY30" fmla="*/ 310773 h 1898273"/>
                <a:gd name="connsiteX31" fmla="*/ 1165224 w 1170892"/>
                <a:gd name="connsiteY31" fmla="*/ 512783 h 1898273"/>
                <a:gd name="connsiteX32" fmla="*/ 1165621 w 1170892"/>
                <a:gd name="connsiteY32" fmla="*/ 683836 h 1898273"/>
                <a:gd name="connsiteX33" fmla="*/ 1085452 w 1170892"/>
                <a:gd name="connsiteY33" fmla="*/ 889020 h 1898273"/>
                <a:gd name="connsiteX34" fmla="*/ 950912 w 1170892"/>
                <a:gd name="connsiteY34" fmla="*/ 1054914 h 1898273"/>
                <a:gd name="connsiteX35" fmla="*/ 915193 w 1170892"/>
                <a:gd name="connsiteY35" fmla="*/ 1118811 h 1898273"/>
                <a:gd name="connsiteX36" fmla="*/ 900905 w 1170892"/>
                <a:gd name="connsiteY36" fmla="*/ 1177152 h 1898273"/>
                <a:gd name="connsiteX37" fmla="*/ 898525 w 1170892"/>
                <a:gd name="connsiteY37" fmla="*/ 1258908 h 1898273"/>
                <a:gd name="connsiteX38" fmla="*/ 858439 w 1170892"/>
                <a:gd name="connsiteY38" fmla="*/ 1301373 h 1898273"/>
                <a:gd name="connsiteX39" fmla="*/ 642143 w 1170892"/>
                <a:gd name="connsiteY39" fmla="*/ 1301373 h 1898273"/>
                <a:gd name="connsiteX40" fmla="*/ 591343 w 1170892"/>
                <a:gd name="connsiteY40" fmla="*/ 1279148 h 1898273"/>
                <a:gd name="connsiteX41" fmla="*/ 591343 w 1170892"/>
                <a:gd name="connsiteY41" fmla="*/ 1212473 h 1898273"/>
                <a:gd name="connsiteX0" fmla="*/ 584993 w 1170892"/>
                <a:gd name="connsiteY0" fmla="*/ 1898273 h 1898273"/>
                <a:gd name="connsiteX1" fmla="*/ 581818 w 1170892"/>
                <a:gd name="connsiteY1" fmla="*/ 1768098 h 1898273"/>
                <a:gd name="connsiteX2" fmla="*/ 513555 w 1170892"/>
                <a:gd name="connsiteY2" fmla="*/ 1726030 h 1898273"/>
                <a:gd name="connsiteX3" fmla="*/ 470693 w 1170892"/>
                <a:gd name="connsiteY3" fmla="*/ 1680389 h 1898273"/>
                <a:gd name="connsiteX4" fmla="*/ 505618 w 1170892"/>
                <a:gd name="connsiteY4" fmla="*/ 1644273 h 1898273"/>
                <a:gd name="connsiteX5" fmla="*/ 718343 w 1170892"/>
                <a:gd name="connsiteY5" fmla="*/ 1644273 h 1898273"/>
                <a:gd name="connsiteX6" fmla="*/ 749299 w 1170892"/>
                <a:gd name="connsiteY6" fmla="*/ 1603792 h 1898273"/>
                <a:gd name="connsiteX7" fmla="*/ 716755 w 1170892"/>
                <a:gd name="connsiteY7" fmla="*/ 1561327 h 1898273"/>
                <a:gd name="connsiteX8" fmla="*/ 399255 w 1170892"/>
                <a:gd name="connsiteY8" fmla="*/ 1560136 h 1898273"/>
                <a:gd name="connsiteX9" fmla="*/ 361155 w 1170892"/>
                <a:gd name="connsiteY9" fmla="*/ 1522036 h 1898273"/>
                <a:gd name="connsiteX10" fmla="*/ 394095 w 1170892"/>
                <a:gd name="connsiteY10" fmla="*/ 1476793 h 1898273"/>
                <a:gd name="connsiteX11" fmla="*/ 797718 w 1170892"/>
                <a:gd name="connsiteY11" fmla="*/ 1474411 h 1898273"/>
                <a:gd name="connsiteX12" fmla="*/ 828674 w 1170892"/>
                <a:gd name="connsiteY12" fmla="*/ 1425595 h 1898273"/>
                <a:gd name="connsiteX13" fmla="*/ 796130 w 1170892"/>
                <a:gd name="connsiteY13" fmla="*/ 1383923 h 1898273"/>
                <a:gd name="connsiteX14" fmla="*/ 386555 w 1170892"/>
                <a:gd name="connsiteY14" fmla="*/ 1383923 h 1898273"/>
                <a:gd name="connsiteX15" fmla="*/ 323055 w 1170892"/>
                <a:gd name="connsiteY15" fmla="*/ 1352173 h 1898273"/>
                <a:gd name="connsiteX16" fmla="*/ 283765 w 1170892"/>
                <a:gd name="connsiteY16" fmla="*/ 1300183 h 1898273"/>
                <a:gd name="connsiteX17" fmla="*/ 272255 w 1170892"/>
                <a:gd name="connsiteY17" fmla="*/ 1207711 h 1898273"/>
                <a:gd name="connsiteX18" fmla="*/ 256380 w 1170892"/>
                <a:gd name="connsiteY18" fmla="*/ 1128336 h 1898273"/>
                <a:gd name="connsiteX19" fmla="*/ 205580 w 1170892"/>
                <a:gd name="connsiteY19" fmla="*/ 1037848 h 1898273"/>
                <a:gd name="connsiteX20" fmla="*/ 130968 w 1170892"/>
                <a:gd name="connsiteY20" fmla="*/ 955298 h 1898273"/>
                <a:gd name="connsiteX21" fmla="*/ 55562 w 1170892"/>
                <a:gd name="connsiteY21" fmla="*/ 845364 h 1898273"/>
                <a:gd name="connsiteX22" fmla="*/ 14286 w 1170892"/>
                <a:gd name="connsiteY22" fmla="*/ 735827 h 1898273"/>
                <a:gd name="connsiteX23" fmla="*/ 793 w 1170892"/>
                <a:gd name="connsiteY23" fmla="*/ 601286 h 1898273"/>
                <a:gd name="connsiteX24" fmla="*/ 9524 w 1170892"/>
                <a:gd name="connsiteY24" fmla="*/ 475873 h 1898273"/>
                <a:gd name="connsiteX25" fmla="*/ 81755 w 1170892"/>
                <a:gd name="connsiteY25" fmla="*/ 285373 h 1898273"/>
                <a:gd name="connsiteX26" fmla="*/ 265905 w 1170892"/>
                <a:gd name="connsiteY26" fmla="*/ 93285 h 1898273"/>
                <a:gd name="connsiteX27" fmla="*/ 519905 w 1170892"/>
                <a:gd name="connsiteY27" fmla="*/ 3990 h 1898273"/>
                <a:gd name="connsiteX28" fmla="*/ 705643 w 1170892"/>
                <a:gd name="connsiteY28" fmla="*/ 10736 h 1898273"/>
                <a:gd name="connsiteX29" fmla="*/ 943768 w 1170892"/>
                <a:gd name="connsiteY29" fmla="*/ 121861 h 1898273"/>
                <a:gd name="connsiteX30" fmla="*/ 1100930 w 1170892"/>
                <a:gd name="connsiteY30" fmla="*/ 310773 h 1898273"/>
                <a:gd name="connsiteX31" fmla="*/ 1165224 w 1170892"/>
                <a:gd name="connsiteY31" fmla="*/ 512783 h 1898273"/>
                <a:gd name="connsiteX32" fmla="*/ 1165621 w 1170892"/>
                <a:gd name="connsiteY32" fmla="*/ 683836 h 1898273"/>
                <a:gd name="connsiteX33" fmla="*/ 1085452 w 1170892"/>
                <a:gd name="connsiteY33" fmla="*/ 889020 h 1898273"/>
                <a:gd name="connsiteX34" fmla="*/ 950912 w 1170892"/>
                <a:gd name="connsiteY34" fmla="*/ 1054914 h 1898273"/>
                <a:gd name="connsiteX35" fmla="*/ 915193 w 1170892"/>
                <a:gd name="connsiteY35" fmla="*/ 1118811 h 1898273"/>
                <a:gd name="connsiteX36" fmla="*/ 900905 w 1170892"/>
                <a:gd name="connsiteY36" fmla="*/ 1177152 h 1898273"/>
                <a:gd name="connsiteX37" fmla="*/ 898525 w 1170892"/>
                <a:gd name="connsiteY37" fmla="*/ 1258908 h 1898273"/>
                <a:gd name="connsiteX38" fmla="*/ 858439 w 1170892"/>
                <a:gd name="connsiteY38" fmla="*/ 1301373 h 1898273"/>
                <a:gd name="connsiteX39" fmla="*/ 642143 w 1170892"/>
                <a:gd name="connsiteY39" fmla="*/ 1301373 h 1898273"/>
                <a:gd name="connsiteX40" fmla="*/ 591343 w 1170892"/>
                <a:gd name="connsiteY40" fmla="*/ 1279148 h 1898273"/>
                <a:gd name="connsiteX41" fmla="*/ 591343 w 1170892"/>
                <a:gd name="connsiteY41" fmla="*/ 1212473 h 1898273"/>
                <a:gd name="connsiteX0" fmla="*/ 584993 w 1170892"/>
                <a:gd name="connsiteY0" fmla="*/ 1898273 h 1898273"/>
                <a:gd name="connsiteX1" fmla="*/ 581818 w 1170892"/>
                <a:gd name="connsiteY1" fmla="*/ 1768098 h 1898273"/>
                <a:gd name="connsiteX2" fmla="*/ 513555 w 1170892"/>
                <a:gd name="connsiteY2" fmla="*/ 1726030 h 1898273"/>
                <a:gd name="connsiteX3" fmla="*/ 470693 w 1170892"/>
                <a:gd name="connsiteY3" fmla="*/ 1680389 h 1898273"/>
                <a:gd name="connsiteX4" fmla="*/ 505618 w 1170892"/>
                <a:gd name="connsiteY4" fmla="*/ 1644273 h 1898273"/>
                <a:gd name="connsiteX5" fmla="*/ 718343 w 1170892"/>
                <a:gd name="connsiteY5" fmla="*/ 1644273 h 1898273"/>
                <a:gd name="connsiteX6" fmla="*/ 749299 w 1170892"/>
                <a:gd name="connsiteY6" fmla="*/ 1603792 h 1898273"/>
                <a:gd name="connsiteX7" fmla="*/ 716755 w 1170892"/>
                <a:gd name="connsiteY7" fmla="*/ 1561327 h 1898273"/>
                <a:gd name="connsiteX8" fmla="*/ 399255 w 1170892"/>
                <a:gd name="connsiteY8" fmla="*/ 1560136 h 1898273"/>
                <a:gd name="connsiteX9" fmla="*/ 361155 w 1170892"/>
                <a:gd name="connsiteY9" fmla="*/ 1522036 h 1898273"/>
                <a:gd name="connsiteX10" fmla="*/ 394095 w 1170892"/>
                <a:gd name="connsiteY10" fmla="*/ 1476793 h 1898273"/>
                <a:gd name="connsiteX11" fmla="*/ 797718 w 1170892"/>
                <a:gd name="connsiteY11" fmla="*/ 1474411 h 1898273"/>
                <a:gd name="connsiteX12" fmla="*/ 828674 w 1170892"/>
                <a:gd name="connsiteY12" fmla="*/ 1425595 h 1898273"/>
                <a:gd name="connsiteX13" fmla="*/ 796130 w 1170892"/>
                <a:gd name="connsiteY13" fmla="*/ 1383923 h 1898273"/>
                <a:gd name="connsiteX14" fmla="*/ 386555 w 1170892"/>
                <a:gd name="connsiteY14" fmla="*/ 1383923 h 1898273"/>
                <a:gd name="connsiteX15" fmla="*/ 323055 w 1170892"/>
                <a:gd name="connsiteY15" fmla="*/ 1352173 h 1898273"/>
                <a:gd name="connsiteX16" fmla="*/ 283765 w 1170892"/>
                <a:gd name="connsiteY16" fmla="*/ 1300183 h 1898273"/>
                <a:gd name="connsiteX17" fmla="*/ 272255 w 1170892"/>
                <a:gd name="connsiteY17" fmla="*/ 1207711 h 1898273"/>
                <a:gd name="connsiteX18" fmla="*/ 256380 w 1170892"/>
                <a:gd name="connsiteY18" fmla="*/ 1128336 h 1898273"/>
                <a:gd name="connsiteX19" fmla="*/ 205580 w 1170892"/>
                <a:gd name="connsiteY19" fmla="*/ 1037848 h 1898273"/>
                <a:gd name="connsiteX20" fmla="*/ 130968 w 1170892"/>
                <a:gd name="connsiteY20" fmla="*/ 955298 h 1898273"/>
                <a:gd name="connsiteX21" fmla="*/ 55562 w 1170892"/>
                <a:gd name="connsiteY21" fmla="*/ 845364 h 1898273"/>
                <a:gd name="connsiteX22" fmla="*/ 14286 w 1170892"/>
                <a:gd name="connsiteY22" fmla="*/ 735827 h 1898273"/>
                <a:gd name="connsiteX23" fmla="*/ 793 w 1170892"/>
                <a:gd name="connsiteY23" fmla="*/ 601286 h 1898273"/>
                <a:gd name="connsiteX24" fmla="*/ 9524 w 1170892"/>
                <a:gd name="connsiteY24" fmla="*/ 475873 h 1898273"/>
                <a:gd name="connsiteX25" fmla="*/ 81755 w 1170892"/>
                <a:gd name="connsiteY25" fmla="*/ 285373 h 1898273"/>
                <a:gd name="connsiteX26" fmla="*/ 265905 w 1170892"/>
                <a:gd name="connsiteY26" fmla="*/ 93285 h 1898273"/>
                <a:gd name="connsiteX27" fmla="*/ 519905 w 1170892"/>
                <a:gd name="connsiteY27" fmla="*/ 3990 h 1898273"/>
                <a:gd name="connsiteX28" fmla="*/ 705643 w 1170892"/>
                <a:gd name="connsiteY28" fmla="*/ 10736 h 1898273"/>
                <a:gd name="connsiteX29" fmla="*/ 943768 w 1170892"/>
                <a:gd name="connsiteY29" fmla="*/ 121861 h 1898273"/>
                <a:gd name="connsiteX30" fmla="*/ 1100930 w 1170892"/>
                <a:gd name="connsiteY30" fmla="*/ 310773 h 1898273"/>
                <a:gd name="connsiteX31" fmla="*/ 1165224 w 1170892"/>
                <a:gd name="connsiteY31" fmla="*/ 512783 h 1898273"/>
                <a:gd name="connsiteX32" fmla="*/ 1165621 w 1170892"/>
                <a:gd name="connsiteY32" fmla="*/ 683836 h 1898273"/>
                <a:gd name="connsiteX33" fmla="*/ 1085452 w 1170892"/>
                <a:gd name="connsiteY33" fmla="*/ 889020 h 1898273"/>
                <a:gd name="connsiteX34" fmla="*/ 950912 w 1170892"/>
                <a:gd name="connsiteY34" fmla="*/ 1054914 h 1898273"/>
                <a:gd name="connsiteX35" fmla="*/ 915193 w 1170892"/>
                <a:gd name="connsiteY35" fmla="*/ 1118811 h 1898273"/>
                <a:gd name="connsiteX36" fmla="*/ 900905 w 1170892"/>
                <a:gd name="connsiteY36" fmla="*/ 1177152 h 1898273"/>
                <a:gd name="connsiteX37" fmla="*/ 898525 w 1170892"/>
                <a:gd name="connsiteY37" fmla="*/ 1258908 h 1898273"/>
                <a:gd name="connsiteX38" fmla="*/ 858439 w 1170892"/>
                <a:gd name="connsiteY38" fmla="*/ 1301373 h 1898273"/>
                <a:gd name="connsiteX39" fmla="*/ 642143 w 1170892"/>
                <a:gd name="connsiteY39" fmla="*/ 1301373 h 1898273"/>
                <a:gd name="connsiteX40" fmla="*/ 591343 w 1170892"/>
                <a:gd name="connsiteY40" fmla="*/ 1279148 h 1898273"/>
                <a:gd name="connsiteX41" fmla="*/ 591343 w 1170892"/>
                <a:gd name="connsiteY41" fmla="*/ 1212473 h 1898273"/>
                <a:gd name="connsiteX0" fmla="*/ 584993 w 1170892"/>
                <a:gd name="connsiteY0" fmla="*/ 1898273 h 1898273"/>
                <a:gd name="connsiteX1" fmla="*/ 581818 w 1170892"/>
                <a:gd name="connsiteY1" fmla="*/ 1768098 h 1898273"/>
                <a:gd name="connsiteX2" fmla="*/ 513555 w 1170892"/>
                <a:gd name="connsiteY2" fmla="*/ 1726030 h 1898273"/>
                <a:gd name="connsiteX3" fmla="*/ 470693 w 1170892"/>
                <a:gd name="connsiteY3" fmla="*/ 1680389 h 1898273"/>
                <a:gd name="connsiteX4" fmla="*/ 505618 w 1170892"/>
                <a:gd name="connsiteY4" fmla="*/ 1644273 h 1898273"/>
                <a:gd name="connsiteX5" fmla="*/ 718343 w 1170892"/>
                <a:gd name="connsiteY5" fmla="*/ 1644273 h 1898273"/>
                <a:gd name="connsiteX6" fmla="*/ 749299 w 1170892"/>
                <a:gd name="connsiteY6" fmla="*/ 1603792 h 1898273"/>
                <a:gd name="connsiteX7" fmla="*/ 716755 w 1170892"/>
                <a:gd name="connsiteY7" fmla="*/ 1561327 h 1898273"/>
                <a:gd name="connsiteX8" fmla="*/ 399255 w 1170892"/>
                <a:gd name="connsiteY8" fmla="*/ 1560136 h 1898273"/>
                <a:gd name="connsiteX9" fmla="*/ 361155 w 1170892"/>
                <a:gd name="connsiteY9" fmla="*/ 1522036 h 1898273"/>
                <a:gd name="connsiteX10" fmla="*/ 394095 w 1170892"/>
                <a:gd name="connsiteY10" fmla="*/ 1476793 h 1898273"/>
                <a:gd name="connsiteX11" fmla="*/ 797718 w 1170892"/>
                <a:gd name="connsiteY11" fmla="*/ 1474411 h 1898273"/>
                <a:gd name="connsiteX12" fmla="*/ 828674 w 1170892"/>
                <a:gd name="connsiteY12" fmla="*/ 1425595 h 1898273"/>
                <a:gd name="connsiteX13" fmla="*/ 796130 w 1170892"/>
                <a:gd name="connsiteY13" fmla="*/ 1383923 h 1898273"/>
                <a:gd name="connsiteX14" fmla="*/ 386555 w 1170892"/>
                <a:gd name="connsiteY14" fmla="*/ 1383923 h 1898273"/>
                <a:gd name="connsiteX15" fmla="*/ 323055 w 1170892"/>
                <a:gd name="connsiteY15" fmla="*/ 1352173 h 1898273"/>
                <a:gd name="connsiteX16" fmla="*/ 283765 w 1170892"/>
                <a:gd name="connsiteY16" fmla="*/ 1300183 h 1898273"/>
                <a:gd name="connsiteX17" fmla="*/ 272255 w 1170892"/>
                <a:gd name="connsiteY17" fmla="*/ 1207711 h 1898273"/>
                <a:gd name="connsiteX18" fmla="*/ 256380 w 1170892"/>
                <a:gd name="connsiteY18" fmla="*/ 1128336 h 1898273"/>
                <a:gd name="connsiteX19" fmla="*/ 205580 w 1170892"/>
                <a:gd name="connsiteY19" fmla="*/ 1037848 h 1898273"/>
                <a:gd name="connsiteX20" fmla="*/ 130968 w 1170892"/>
                <a:gd name="connsiteY20" fmla="*/ 955298 h 1898273"/>
                <a:gd name="connsiteX21" fmla="*/ 55562 w 1170892"/>
                <a:gd name="connsiteY21" fmla="*/ 845364 h 1898273"/>
                <a:gd name="connsiteX22" fmla="*/ 14286 w 1170892"/>
                <a:gd name="connsiteY22" fmla="*/ 735827 h 1898273"/>
                <a:gd name="connsiteX23" fmla="*/ 793 w 1170892"/>
                <a:gd name="connsiteY23" fmla="*/ 601286 h 1898273"/>
                <a:gd name="connsiteX24" fmla="*/ 9524 w 1170892"/>
                <a:gd name="connsiteY24" fmla="*/ 475873 h 1898273"/>
                <a:gd name="connsiteX25" fmla="*/ 81755 w 1170892"/>
                <a:gd name="connsiteY25" fmla="*/ 285373 h 1898273"/>
                <a:gd name="connsiteX26" fmla="*/ 265905 w 1170892"/>
                <a:gd name="connsiteY26" fmla="*/ 93285 h 1898273"/>
                <a:gd name="connsiteX27" fmla="*/ 519905 w 1170892"/>
                <a:gd name="connsiteY27" fmla="*/ 3990 h 1898273"/>
                <a:gd name="connsiteX28" fmla="*/ 705643 w 1170892"/>
                <a:gd name="connsiteY28" fmla="*/ 10736 h 1898273"/>
                <a:gd name="connsiteX29" fmla="*/ 943768 w 1170892"/>
                <a:gd name="connsiteY29" fmla="*/ 121861 h 1898273"/>
                <a:gd name="connsiteX30" fmla="*/ 1100930 w 1170892"/>
                <a:gd name="connsiteY30" fmla="*/ 310773 h 1898273"/>
                <a:gd name="connsiteX31" fmla="*/ 1165224 w 1170892"/>
                <a:gd name="connsiteY31" fmla="*/ 512783 h 1898273"/>
                <a:gd name="connsiteX32" fmla="*/ 1165621 w 1170892"/>
                <a:gd name="connsiteY32" fmla="*/ 683836 h 1898273"/>
                <a:gd name="connsiteX33" fmla="*/ 1085452 w 1170892"/>
                <a:gd name="connsiteY33" fmla="*/ 889020 h 1898273"/>
                <a:gd name="connsiteX34" fmla="*/ 950912 w 1170892"/>
                <a:gd name="connsiteY34" fmla="*/ 1054914 h 1898273"/>
                <a:gd name="connsiteX35" fmla="*/ 915193 w 1170892"/>
                <a:gd name="connsiteY35" fmla="*/ 1118811 h 1898273"/>
                <a:gd name="connsiteX36" fmla="*/ 900905 w 1170892"/>
                <a:gd name="connsiteY36" fmla="*/ 1177152 h 1898273"/>
                <a:gd name="connsiteX37" fmla="*/ 898525 w 1170892"/>
                <a:gd name="connsiteY37" fmla="*/ 1258908 h 1898273"/>
                <a:gd name="connsiteX38" fmla="*/ 858439 w 1170892"/>
                <a:gd name="connsiteY38" fmla="*/ 1301373 h 1898273"/>
                <a:gd name="connsiteX39" fmla="*/ 642143 w 1170892"/>
                <a:gd name="connsiteY39" fmla="*/ 1301373 h 1898273"/>
                <a:gd name="connsiteX40" fmla="*/ 591343 w 1170892"/>
                <a:gd name="connsiteY40" fmla="*/ 1279148 h 1898273"/>
                <a:gd name="connsiteX41" fmla="*/ 591343 w 1170892"/>
                <a:gd name="connsiteY41" fmla="*/ 1212473 h 1898273"/>
                <a:gd name="connsiteX0" fmla="*/ 584993 w 1170892"/>
                <a:gd name="connsiteY0" fmla="*/ 1898273 h 1898273"/>
                <a:gd name="connsiteX1" fmla="*/ 581818 w 1170892"/>
                <a:gd name="connsiteY1" fmla="*/ 1768098 h 1898273"/>
                <a:gd name="connsiteX2" fmla="*/ 513555 w 1170892"/>
                <a:gd name="connsiteY2" fmla="*/ 1726030 h 1898273"/>
                <a:gd name="connsiteX3" fmla="*/ 470693 w 1170892"/>
                <a:gd name="connsiteY3" fmla="*/ 1680389 h 1898273"/>
                <a:gd name="connsiteX4" fmla="*/ 505618 w 1170892"/>
                <a:gd name="connsiteY4" fmla="*/ 1644273 h 1898273"/>
                <a:gd name="connsiteX5" fmla="*/ 718343 w 1170892"/>
                <a:gd name="connsiteY5" fmla="*/ 1644273 h 1898273"/>
                <a:gd name="connsiteX6" fmla="*/ 749299 w 1170892"/>
                <a:gd name="connsiteY6" fmla="*/ 1603792 h 1898273"/>
                <a:gd name="connsiteX7" fmla="*/ 716755 w 1170892"/>
                <a:gd name="connsiteY7" fmla="*/ 1561327 h 1898273"/>
                <a:gd name="connsiteX8" fmla="*/ 399255 w 1170892"/>
                <a:gd name="connsiteY8" fmla="*/ 1560136 h 1898273"/>
                <a:gd name="connsiteX9" fmla="*/ 361155 w 1170892"/>
                <a:gd name="connsiteY9" fmla="*/ 1522036 h 1898273"/>
                <a:gd name="connsiteX10" fmla="*/ 394095 w 1170892"/>
                <a:gd name="connsiteY10" fmla="*/ 1476793 h 1898273"/>
                <a:gd name="connsiteX11" fmla="*/ 797718 w 1170892"/>
                <a:gd name="connsiteY11" fmla="*/ 1474411 h 1898273"/>
                <a:gd name="connsiteX12" fmla="*/ 828674 w 1170892"/>
                <a:gd name="connsiteY12" fmla="*/ 1425595 h 1898273"/>
                <a:gd name="connsiteX13" fmla="*/ 796130 w 1170892"/>
                <a:gd name="connsiteY13" fmla="*/ 1383923 h 1898273"/>
                <a:gd name="connsiteX14" fmla="*/ 386555 w 1170892"/>
                <a:gd name="connsiteY14" fmla="*/ 1383923 h 1898273"/>
                <a:gd name="connsiteX15" fmla="*/ 323055 w 1170892"/>
                <a:gd name="connsiteY15" fmla="*/ 1352173 h 1898273"/>
                <a:gd name="connsiteX16" fmla="*/ 283765 w 1170892"/>
                <a:gd name="connsiteY16" fmla="*/ 1300183 h 1898273"/>
                <a:gd name="connsiteX17" fmla="*/ 272255 w 1170892"/>
                <a:gd name="connsiteY17" fmla="*/ 1207711 h 1898273"/>
                <a:gd name="connsiteX18" fmla="*/ 256380 w 1170892"/>
                <a:gd name="connsiteY18" fmla="*/ 1128336 h 1898273"/>
                <a:gd name="connsiteX19" fmla="*/ 205580 w 1170892"/>
                <a:gd name="connsiteY19" fmla="*/ 1037848 h 1898273"/>
                <a:gd name="connsiteX20" fmla="*/ 130968 w 1170892"/>
                <a:gd name="connsiteY20" fmla="*/ 955298 h 1898273"/>
                <a:gd name="connsiteX21" fmla="*/ 55562 w 1170892"/>
                <a:gd name="connsiteY21" fmla="*/ 845364 h 1898273"/>
                <a:gd name="connsiteX22" fmla="*/ 14286 w 1170892"/>
                <a:gd name="connsiteY22" fmla="*/ 735827 h 1898273"/>
                <a:gd name="connsiteX23" fmla="*/ 793 w 1170892"/>
                <a:gd name="connsiteY23" fmla="*/ 601286 h 1898273"/>
                <a:gd name="connsiteX24" fmla="*/ 9524 w 1170892"/>
                <a:gd name="connsiteY24" fmla="*/ 475873 h 1898273"/>
                <a:gd name="connsiteX25" fmla="*/ 81755 w 1170892"/>
                <a:gd name="connsiteY25" fmla="*/ 285373 h 1898273"/>
                <a:gd name="connsiteX26" fmla="*/ 265905 w 1170892"/>
                <a:gd name="connsiteY26" fmla="*/ 93285 h 1898273"/>
                <a:gd name="connsiteX27" fmla="*/ 519905 w 1170892"/>
                <a:gd name="connsiteY27" fmla="*/ 3990 h 1898273"/>
                <a:gd name="connsiteX28" fmla="*/ 705643 w 1170892"/>
                <a:gd name="connsiteY28" fmla="*/ 10736 h 1898273"/>
                <a:gd name="connsiteX29" fmla="*/ 943768 w 1170892"/>
                <a:gd name="connsiteY29" fmla="*/ 121861 h 1898273"/>
                <a:gd name="connsiteX30" fmla="*/ 1100930 w 1170892"/>
                <a:gd name="connsiteY30" fmla="*/ 310773 h 1898273"/>
                <a:gd name="connsiteX31" fmla="*/ 1165224 w 1170892"/>
                <a:gd name="connsiteY31" fmla="*/ 512783 h 1898273"/>
                <a:gd name="connsiteX32" fmla="*/ 1165621 w 1170892"/>
                <a:gd name="connsiteY32" fmla="*/ 683836 h 1898273"/>
                <a:gd name="connsiteX33" fmla="*/ 1085452 w 1170892"/>
                <a:gd name="connsiteY33" fmla="*/ 889020 h 1898273"/>
                <a:gd name="connsiteX34" fmla="*/ 950912 w 1170892"/>
                <a:gd name="connsiteY34" fmla="*/ 1054914 h 1898273"/>
                <a:gd name="connsiteX35" fmla="*/ 915193 w 1170892"/>
                <a:gd name="connsiteY35" fmla="*/ 1118811 h 1898273"/>
                <a:gd name="connsiteX36" fmla="*/ 900905 w 1170892"/>
                <a:gd name="connsiteY36" fmla="*/ 1177152 h 1898273"/>
                <a:gd name="connsiteX37" fmla="*/ 898525 w 1170892"/>
                <a:gd name="connsiteY37" fmla="*/ 1258908 h 1898273"/>
                <a:gd name="connsiteX38" fmla="*/ 858439 w 1170892"/>
                <a:gd name="connsiteY38" fmla="*/ 1301373 h 1898273"/>
                <a:gd name="connsiteX39" fmla="*/ 642143 w 1170892"/>
                <a:gd name="connsiteY39" fmla="*/ 1301373 h 1898273"/>
                <a:gd name="connsiteX40" fmla="*/ 591343 w 1170892"/>
                <a:gd name="connsiteY40" fmla="*/ 1279148 h 1898273"/>
                <a:gd name="connsiteX41" fmla="*/ 591343 w 1170892"/>
                <a:gd name="connsiteY41" fmla="*/ 1212473 h 1898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170892" h="1898273">
                  <a:moveTo>
                    <a:pt x="584993" y="1898273"/>
                  </a:moveTo>
                  <a:cubicBezTo>
                    <a:pt x="583935" y="1854881"/>
                    <a:pt x="582876" y="1811490"/>
                    <a:pt x="581818" y="1768098"/>
                  </a:cubicBezTo>
                  <a:cubicBezTo>
                    <a:pt x="573352" y="1746931"/>
                    <a:pt x="562503" y="1729338"/>
                    <a:pt x="513555" y="1726030"/>
                  </a:cubicBezTo>
                  <a:cubicBezTo>
                    <a:pt x="487759" y="1721135"/>
                    <a:pt x="471487" y="1707906"/>
                    <a:pt x="470693" y="1680389"/>
                  </a:cubicBezTo>
                  <a:cubicBezTo>
                    <a:pt x="474793" y="1662398"/>
                    <a:pt x="478895" y="1650358"/>
                    <a:pt x="505618" y="1644273"/>
                  </a:cubicBezTo>
                  <a:lnTo>
                    <a:pt x="718343" y="1644273"/>
                  </a:lnTo>
                  <a:cubicBezTo>
                    <a:pt x="736202" y="1631970"/>
                    <a:pt x="744536" y="1626810"/>
                    <a:pt x="749299" y="1603792"/>
                  </a:cubicBezTo>
                  <a:cubicBezTo>
                    <a:pt x="745198" y="1586858"/>
                    <a:pt x="741097" y="1572308"/>
                    <a:pt x="716755" y="1561327"/>
                  </a:cubicBezTo>
                  <a:lnTo>
                    <a:pt x="399255" y="1560136"/>
                  </a:lnTo>
                  <a:cubicBezTo>
                    <a:pt x="375839" y="1555770"/>
                    <a:pt x="367902" y="1546642"/>
                    <a:pt x="361155" y="1522036"/>
                  </a:cubicBezTo>
                  <a:cubicBezTo>
                    <a:pt x="362610" y="1506161"/>
                    <a:pt x="365255" y="1491478"/>
                    <a:pt x="394095" y="1476793"/>
                  </a:cubicBezTo>
                  <a:lnTo>
                    <a:pt x="797718" y="1474411"/>
                  </a:lnTo>
                  <a:cubicBezTo>
                    <a:pt x="819546" y="1463299"/>
                    <a:pt x="827088" y="1449805"/>
                    <a:pt x="828674" y="1425595"/>
                  </a:cubicBezTo>
                  <a:cubicBezTo>
                    <a:pt x="824177" y="1402972"/>
                    <a:pt x="825632" y="1399402"/>
                    <a:pt x="796130" y="1383923"/>
                  </a:cubicBezTo>
                  <a:lnTo>
                    <a:pt x="386555" y="1383923"/>
                  </a:lnTo>
                  <a:cubicBezTo>
                    <a:pt x="360625" y="1374530"/>
                    <a:pt x="343031" y="1368709"/>
                    <a:pt x="323055" y="1352173"/>
                  </a:cubicBezTo>
                  <a:cubicBezTo>
                    <a:pt x="314721" y="1341193"/>
                    <a:pt x="295670" y="1327832"/>
                    <a:pt x="283765" y="1300183"/>
                  </a:cubicBezTo>
                  <a:cubicBezTo>
                    <a:pt x="275166" y="1267772"/>
                    <a:pt x="274901" y="1238932"/>
                    <a:pt x="272255" y="1207711"/>
                  </a:cubicBezTo>
                  <a:lnTo>
                    <a:pt x="256380" y="1128336"/>
                  </a:lnTo>
                  <a:cubicBezTo>
                    <a:pt x="240241" y="1093410"/>
                    <a:pt x="227673" y="1070392"/>
                    <a:pt x="205580" y="1037848"/>
                  </a:cubicBezTo>
                  <a:cubicBezTo>
                    <a:pt x="184281" y="1006760"/>
                    <a:pt x="162982" y="981625"/>
                    <a:pt x="130968" y="955298"/>
                  </a:cubicBezTo>
                  <a:cubicBezTo>
                    <a:pt x="101071" y="924606"/>
                    <a:pt x="77125" y="886771"/>
                    <a:pt x="55562" y="845364"/>
                  </a:cubicBezTo>
                  <a:cubicBezTo>
                    <a:pt x="23150" y="783054"/>
                    <a:pt x="26457" y="770752"/>
                    <a:pt x="14286" y="735827"/>
                  </a:cubicBezTo>
                  <a:cubicBezTo>
                    <a:pt x="6217" y="686615"/>
                    <a:pt x="1322" y="648911"/>
                    <a:pt x="793" y="601286"/>
                  </a:cubicBezTo>
                  <a:cubicBezTo>
                    <a:pt x="-265" y="557894"/>
                    <a:pt x="-2118" y="514502"/>
                    <a:pt x="9524" y="475873"/>
                  </a:cubicBezTo>
                  <a:cubicBezTo>
                    <a:pt x="20107" y="409198"/>
                    <a:pt x="44184" y="347286"/>
                    <a:pt x="81755" y="285373"/>
                  </a:cubicBezTo>
                  <a:cubicBezTo>
                    <a:pt x="130438" y="213406"/>
                    <a:pt x="185472" y="143027"/>
                    <a:pt x="265905" y="93285"/>
                  </a:cubicBezTo>
                  <a:cubicBezTo>
                    <a:pt x="333638" y="48306"/>
                    <a:pt x="420819" y="15632"/>
                    <a:pt x="519905" y="3990"/>
                  </a:cubicBezTo>
                  <a:cubicBezTo>
                    <a:pt x="584200" y="-2095"/>
                    <a:pt x="644921" y="-2228"/>
                    <a:pt x="705643" y="10736"/>
                  </a:cubicBezTo>
                  <a:cubicBezTo>
                    <a:pt x="805259" y="37062"/>
                    <a:pt x="872727" y="72912"/>
                    <a:pt x="943768" y="121861"/>
                  </a:cubicBezTo>
                  <a:cubicBezTo>
                    <a:pt x="1009252" y="178879"/>
                    <a:pt x="1058067" y="229942"/>
                    <a:pt x="1100930" y="310773"/>
                  </a:cubicBezTo>
                  <a:cubicBezTo>
                    <a:pt x="1137046" y="378506"/>
                    <a:pt x="1160063" y="439096"/>
                    <a:pt x="1165224" y="512783"/>
                  </a:cubicBezTo>
                  <a:cubicBezTo>
                    <a:pt x="1174881" y="568213"/>
                    <a:pt x="1170250" y="629597"/>
                    <a:pt x="1165621" y="683836"/>
                  </a:cubicBezTo>
                  <a:cubicBezTo>
                    <a:pt x="1151202" y="755009"/>
                    <a:pt x="1129637" y="822609"/>
                    <a:pt x="1085452" y="889020"/>
                  </a:cubicBezTo>
                  <a:cubicBezTo>
                    <a:pt x="1047749" y="946699"/>
                    <a:pt x="994569" y="992472"/>
                    <a:pt x="950912" y="1054914"/>
                  </a:cubicBezTo>
                  <a:cubicBezTo>
                    <a:pt x="937021" y="1078197"/>
                    <a:pt x="923130" y="1091956"/>
                    <a:pt x="915193" y="1118811"/>
                  </a:cubicBezTo>
                  <a:cubicBezTo>
                    <a:pt x="906065" y="1147386"/>
                    <a:pt x="904080" y="1158102"/>
                    <a:pt x="900905" y="1177152"/>
                  </a:cubicBezTo>
                  <a:cubicBezTo>
                    <a:pt x="898920" y="1217501"/>
                    <a:pt x="899319" y="1230465"/>
                    <a:pt x="898525" y="1258908"/>
                  </a:cubicBezTo>
                  <a:cubicBezTo>
                    <a:pt x="898260" y="1276635"/>
                    <a:pt x="886089" y="1291981"/>
                    <a:pt x="858439" y="1301373"/>
                  </a:cubicBezTo>
                  <a:lnTo>
                    <a:pt x="642143" y="1301373"/>
                  </a:lnTo>
                  <a:cubicBezTo>
                    <a:pt x="604968" y="1298728"/>
                    <a:pt x="601133" y="1297271"/>
                    <a:pt x="591343" y="1279148"/>
                  </a:cubicBezTo>
                  <a:lnTo>
                    <a:pt x="591343" y="1212473"/>
                  </a:lnTo>
                </a:path>
              </a:pathLst>
            </a:custGeom>
            <a:noFill/>
            <a:ln w="25400" algn="ctr">
              <a:solidFill>
                <a:schemeClr val="accent1"/>
              </a:solidFill>
              <a:miter lim="800000"/>
              <a:headEnd type="none" w="sm" len="sm"/>
              <a:tailEnd type="oval" w="sm" len="sm"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11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6" name="Round Same Side Corner Rectangle 37">
              <a:extLst>
                <a:ext uri="{FF2B5EF4-FFF2-40B4-BE49-F238E27FC236}">
                  <a16:creationId xmlns:a16="http://schemas.microsoft.com/office/drawing/2014/main" id="{B5CDBD07-CAFD-4BFB-9DED-630073CB3EA9}"/>
                </a:ext>
              </a:extLst>
            </p:cNvPr>
            <p:cNvSpPr/>
            <p:nvPr/>
          </p:nvSpPr>
          <p:spPr bwMode="gray">
            <a:xfrm>
              <a:off x="1289779" y="3495046"/>
              <a:ext cx="116350" cy="108039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hu-HU" sz="11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7" name="Round Same Side Corner Rectangle 38">
              <a:extLst>
                <a:ext uri="{FF2B5EF4-FFF2-40B4-BE49-F238E27FC236}">
                  <a16:creationId xmlns:a16="http://schemas.microsoft.com/office/drawing/2014/main" id="{AEC94D2E-E1A7-4D10-BA81-003849D17C91}"/>
                </a:ext>
              </a:extLst>
            </p:cNvPr>
            <p:cNvSpPr/>
            <p:nvPr/>
          </p:nvSpPr>
          <p:spPr bwMode="gray">
            <a:xfrm flipV="1">
              <a:off x="1312850" y="3603085"/>
              <a:ext cx="21108" cy="45231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hu-HU" sz="11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8" name="Round Same Side Corner Rectangle 39">
              <a:extLst>
                <a:ext uri="{FF2B5EF4-FFF2-40B4-BE49-F238E27FC236}">
                  <a16:creationId xmlns:a16="http://schemas.microsoft.com/office/drawing/2014/main" id="{778F7CB4-BB09-47A7-B414-E5BD0D753ED3}"/>
                </a:ext>
              </a:extLst>
            </p:cNvPr>
            <p:cNvSpPr/>
            <p:nvPr/>
          </p:nvSpPr>
          <p:spPr bwMode="gray">
            <a:xfrm flipV="1">
              <a:off x="1362714" y="3603085"/>
              <a:ext cx="21108" cy="45231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hu-HU" sz="11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A06532EA-C3F2-4A70-8D22-D8A31D9C4ADE}"/>
                </a:ext>
              </a:extLst>
            </p:cNvPr>
            <p:cNvSpPr/>
            <p:nvPr/>
          </p:nvSpPr>
          <p:spPr bwMode="gray">
            <a:xfrm>
              <a:off x="1329954" y="3531065"/>
              <a:ext cx="36000" cy="36000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hu-HU" sz="11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93F25216-8420-70B4-14C5-EC318C1CCB09}"/>
              </a:ext>
            </a:extLst>
          </p:cNvPr>
          <p:cNvSpPr txBox="1">
            <a:spLocks/>
          </p:cNvSpPr>
          <p:nvPr/>
        </p:nvSpPr>
        <p:spPr>
          <a:xfrm>
            <a:off x="498538" y="651600"/>
            <a:ext cx="112014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/>
              <a:t>Kísérletek a definícióra</a:t>
            </a:r>
          </a:p>
        </p:txBody>
      </p:sp>
      <p:grpSp>
        <p:nvGrpSpPr>
          <p:cNvPr id="90" name="Graphic 4">
            <a:extLst>
              <a:ext uri="{FF2B5EF4-FFF2-40B4-BE49-F238E27FC236}">
                <a16:creationId xmlns:a16="http://schemas.microsoft.com/office/drawing/2014/main" id="{00D2924C-DF7F-64CE-ED25-6893D1DFCF73}"/>
              </a:ext>
            </a:extLst>
          </p:cNvPr>
          <p:cNvGrpSpPr>
            <a:grpSpLocks noChangeAspect="1"/>
          </p:cNvGrpSpPr>
          <p:nvPr/>
        </p:nvGrpSpPr>
        <p:grpSpPr>
          <a:xfrm>
            <a:off x="5797005" y="2523222"/>
            <a:ext cx="602751" cy="602182"/>
            <a:chOff x="2559808" y="918179"/>
            <a:chExt cx="362313" cy="361971"/>
          </a:xfrm>
          <a:solidFill>
            <a:schemeClr val="accent1"/>
          </a:solidFill>
        </p:grpSpPr>
        <p:sp>
          <p:nvSpPr>
            <p:cNvPr id="91" name="Graphic 4">
              <a:extLst>
                <a:ext uri="{FF2B5EF4-FFF2-40B4-BE49-F238E27FC236}">
                  <a16:creationId xmlns:a16="http://schemas.microsoft.com/office/drawing/2014/main" id="{43A528D6-DCDC-6513-64DF-A60434BB2635}"/>
                </a:ext>
              </a:extLst>
            </p:cNvPr>
            <p:cNvSpPr/>
            <p:nvPr/>
          </p:nvSpPr>
          <p:spPr>
            <a:xfrm>
              <a:off x="2559808" y="918179"/>
              <a:ext cx="362313" cy="361971"/>
            </a:xfrm>
            <a:custGeom>
              <a:avLst/>
              <a:gdLst>
                <a:gd name="connsiteX0" fmla="*/ 181474 w 362313"/>
                <a:gd name="connsiteY0" fmla="*/ 0 h 361971"/>
                <a:gd name="connsiteX1" fmla="*/ 0 w 362313"/>
                <a:gd name="connsiteY1" fmla="*/ 180667 h 361971"/>
                <a:gd name="connsiteX2" fmla="*/ 180835 w 362313"/>
                <a:gd name="connsiteY2" fmla="*/ 361972 h 361971"/>
                <a:gd name="connsiteX3" fmla="*/ 362309 w 362313"/>
                <a:gd name="connsiteY3" fmla="*/ 181305 h 361971"/>
                <a:gd name="connsiteX4" fmla="*/ 362309 w 362313"/>
                <a:gd name="connsiteY4" fmla="*/ 181305 h 361971"/>
                <a:gd name="connsiteX5" fmla="*/ 181474 w 362313"/>
                <a:gd name="connsiteY5" fmla="*/ 0 h 361971"/>
                <a:gd name="connsiteX6" fmla="*/ 181474 w 362313"/>
                <a:gd name="connsiteY6" fmla="*/ 349204 h 361971"/>
                <a:gd name="connsiteX7" fmla="*/ 12780 w 362313"/>
                <a:gd name="connsiteY7" fmla="*/ 181305 h 361971"/>
                <a:gd name="connsiteX8" fmla="*/ 180835 w 362313"/>
                <a:gd name="connsiteY8" fmla="*/ 12768 h 361971"/>
                <a:gd name="connsiteX9" fmla="*/ 349529 w 362313"/>
                <a:gd name="connsiteY9" fmla="*/ 180667 h 361971"/>
                <a:gd name="connsiteX10" fmla="*/ 349529 w 362313"/>
                <a:gd name="connsiteY10" fmla="*/ 180667 h 361971"/>
                <a:gd name="connsiteX11" fmla="*/ 181474 w 362313"/>
                <a:gd name="connsiteY11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313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257"/>
                    <a:pt x="81152" y="361972"/>
                    <a:pt x="180835" y="361972"/>
                  </a:cubicBezTo>
                  <a:cubicBezTo>
                    <a:pt x="281157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2948" y="81077"/>
                    <a:pt x="281796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7"/>
                    <a:pt x="88181" y="12768"/>
                    <a:pt x="180835" y="12768"/>
                  </a:cubicBezTo>
                  <a:cubicBezTo>
                    <a:pt x="273489" y="12768"/>
                    <a:pt x="349529" y="88099"/>
                    <a:pt x="349529" y="180667"/>
                  </a:cubicBezTo>
                  <a:cubicBezTo>
                    <a:pt x="349529" y="180667"/>
                    <a:pt x="349529" y="180667"/>
                    <a:pt x="349529" y="180667"/>
                  </a:cubicBezTo>
                  <a:cubicBezTo>
                    <a:pt x="350168" y="273873"/>
                    <a:pt x="274767" y="348565"/>
                    <a:pt x="181474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92" name="Graphic 4">
              <a:extLst>
                <a:ext uri="{FF2B5EF4-FFF2-40B4-BE49-F238E27FC236}">
                  <a16:creationId xmlns:a16="http://schemas.microsoft.com/office/drawing/2014/main" id="{625D84CE-E917-ACE6-5BC5-7DA24082C14F}"/>
                </a:ext>
              </a:extLst>
            </p:cNvPr>
            <p:cNvSpPr/>
            <p:nvPr/>
          </p:nvSpPr>
          <p:spPr>
            <a:xfrm>
              <a:off x="2724179" y="990477"/>
              <a:ext cx="35634" cy="17715"/>
            </a:xfrm>
            <a:custGeom>
              <a:avLst/>
              <a:gdLst>
                <a:gd name="connsiteX0" fmla="*/ 31800 w 35634"/>
                <a:gd name="connsiteY0" fmla="*/ 5586 h 17715"/>
                <a:gd name="connsiteX1" fmla="*/ 20299 w 35634"/>
                <a:gd name="connsiteY1" fmla="*/ 479 h 17715"/>
                <a:gd name="connsiteX2" fmla="*/ 15187 w 35634"/>
                <a:gd name="connsiteY2" fmla="*/ 479 h 17715"/>
                <a:gd name="connsiteX3" fmla="*/ 3685 w 35634"/>
                <a:gd name="connsiteY3" fmla="*/ 5586 h 17715"/>
                <a:gd name="connsiteX4" fmla="*/ 490 w 35634"/>
                <a:gd name="connsiteY4" fmla="*/ 13885 h 17715"/>
                <a:gd name="connsiteX5" fmla="*/ 8797 w 35634"/>
                <a:gd name="connsiteY5" fmla="*/ 17077 h 17715"/>
                <a:gd name="connsiteX6" fmla="*/ 17743 w 35634"/>
                <a:gd name="connsiteY6" fmla="*/ 13247 h 17715"/>
                <a:gd name="connsiteX7" fmla="*/ 26688 w 35634"/>
                <a:gd name="connsiteY7" fmla="*/ 17077 h 17715"/>
                <a:gd name="connsiteX8" fmla="*/ 29244 w 35634"/>
                <a:gd name="connsiteY8" fmla="*/ 17716 h 17715"/>
                <a:gd name="connsiteX9" fmla="*/ 35634 w 35634"/>
                <a:gd name="connsiteY9" fmla="*/ 11332 h 17715"/>
                <a:gd name="connsiteX10" fmla="*/ 31800 w 35634"/>
                <a:gd name="connsiteY10" fmla="*/ 5586 h 17715"/>
                <a:gd name="connsiteX11" fmla="*/ 31800 w 35634"/>
                <a:gd name="connsiteY11" fmla="*/ 5586 h 1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634" h="17715">
                  <a:moveTo>
                    <a:pt x="31800" y="5586"/>
                  </a:moveTo>
                  <a:lnTo>
                    <a:pt x="20299" y="479"/>
                  </a:lnTo>
                  <a:cubicBezTo>
                    <a:pt x="18382" y="-160"/>
                    <a:pt x="16465" y="-160"/>
                    <a:pt x="15187" y="479"/>
                  </a:cubicBezTo>
                  <a:lnTo>
                    <a:pt x="3685" y="5586"/>
                  </a:lnTo>
                  <a:cubicBezTo>
                    <a:pt x="490" y="6863"/>
                    <a:pt x="-788" y="10693"/>
                    <a:pt x="490" y="13885"/>
                  </a:cubicBezTo>
                  <a:cubicBezTo>
                    <a:pt x="1768" y="17077"/>
                    <a:pt x="5602" y="18354"/>
                    <a:pt x="8797" y="17077"/>
                  </a:cubicBezTo>
                  <a:lnTo>
                    <a:pt x="17743" y="13247"/>
                  </a:lnTo>
                  <a:lnTo>
                    <a:pt x="26688" y="17077"/>
                  </a:lnTo>
                  <a:cubicBezTo>
                    <a:pt x="27327" y="17716"/>
                    <a:pt x="28605" y="17716"/>
                    <a:pt x="29244" y="17716"/>
                  </a:cubicBezTo>
                  <a:cubicBezTo>
                    <a:pt x="33078" y="17716"/>
                    <a:pt x="35634" y="15162"/>
                    <a:pt x="35634" y="11332"/>
                  </a:cubicBezTo>
                  <a:cubicBezTo>
                    <a:pt x="35634" y="8778"/>
                    <a:pt x="33717" y="6224"/>
                    <a:pt x="31800" y="5586"/>
                  </a:cubicBezTo>
                  <a:lnTo>
                    <a:pt x="31800" y="558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93" name="Graphic 4">
              <a:extLst>
                <a:ext uri="{FF2B5EF4-FFF2-40B4-BE49-F238E27FC236}">
                  <a16:creationId xmlns:a16="http://schemas.microsoft.com/office/drawing/2014/main" id="{EB10B765-E614-9F17-F02F-EF8BA84802CF}"/>
                </a:ext>
              </a:extLst>
            </p:cNvPr>
            <p:cNvSpPr/>
            <p:nvPr/>
          </p:nvSpPr>
          <p:spPr>
            <a:xfrm>
              <a:off x="2671142" y="1007155"/>
              <a:ext cx="39229" cy="25297"/>
            </a:xfrm>
            <a:custGeom>
              <a:avLst/>
              <a:gdLst>
                <a:gd name="connsiteX0" fmla="*/ 5602 w 39229"/>
                <a:gd name="connsiteY0" fmla="*/ 25298 h 25297"/>
                <a:gd name="connsiteX1" fmla="*/ 8158 w 39229"/>
                <a:gd name="connsiteY1" fmla="*/ 24659 h 25297"/>
                <a:gd name="connsiteX2" fmla="*/ 34995 w 39229"/>
                <a:gd name="connsiteY2" fmla="*/ 12530 h 25297"/>
                <a:gd name="connsiteX3" fmla="*/ 38829 w 39229"/>
                <a:gd name="connsiteY3" fmla="*/ 4230 h 25297"/>
                <a:gd name="connsiteX4" fmla="*/ 30522 w 39229"/>
                <a:gd name="connsiteY4" fmla="*/ 400 h 25297"/>
                <a:gd name="connsiteX5" fmla="*/ 29884 w 39229"/>
                <a:gd name="connsiteY5" fmla="*/ 1038 h 25297"/>
                <a:gd name="connsiteX6" fmla="*/ 3685 w 39229"/>
                <a:gd name="connsiteY6" fmla="*/ 13168 h 25297"/>
                <a:gd name="connsiteX7" fmla="*/ 490 w 39229"/>
                <a:gd name="connsiteY7" fmla="*/ 21467 h 25297"/>
                <a:gd name="connsiteX8" fmla="*/ 5602 w 39229"/>
                <a:gd name="connsiteY8" fmla="*/ 25298 h 25297"/>
                <a:gd name="connsiteX9" fmla="*/ 5602 w 39229"/>
                <a:gd name="connsiteY9" fmla="*/ 25298 h 2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229" h="25297">
                  <a:moveTo>
                    <a:pt x="5602" y="25298"/>
                  </a:moveTo>
                  <a:cubicBezTo>
                    <a:pt x="6241" y="25298"/>
                    <a:pt x="7519" y="25298"/>
                    <a:pt x="8158" y="24659"/>
                  </a:cubicBezTo>
                  <a:lnTo>
                    <a:pt x="34995" y="12530"/>
                  </a:lnTo>
                  <a:cubicBezTo>
                    <a:pt x="38190" y="11253"/>
                    <a:pt x="40107" y="7422"/>
                    <a:pt x="38829" y="4230"/>
                  </a:cubicBezTo>
                  <a:cubicBezTo>
                    <a:pt x="37551" y="1038"/>
                    <a:pt x="33717" y="-877"/>
                    <a:pt x="30522" y="400"/>
                  </a:cubicBezTo>
                  <a:cubicBezTo>
                    <a:pt x="30522" y="400"/>
                    <a:pt x="29884" y="400"/>
                    <a:pt x="29884" y="1038"/>
                  </a:cubicBezTo>
                  <a:lnTo>
                    <a:pt x="3685" y="13168"/>
                  </a:lnTo>
                  <a:cubicBezTo>
                    <a:pt x="490" y="14445"/>
                    <a:pt x="-788" y="18275"/>
                    <a:pt x="490" y="21467"/>
                  </a:cubicBezTo>
                  <a:cubicBezTo>
                    <a:pt x="1129" y="24021"/>
                    <a:pt x="3046" y="25298"/>
                    <a:pt x="5602" y="25298"/>
                  </a:cubicBezTo>
                  <a:lnTo>
                    <a:pt x="5602" y="2529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94" name="Graphic 4">
              <a:extLst>
                <a:ext uri="{FF2B5EF4-FFF2-40B4-BE49-F238E27FC236}">
                  <a16:creationId xmlns:a16="http://schemas.microsoft.com/office/drawing/2014/main" id="{D4DE011B-AB68-5237-3A15-C2BB146E0218}"/>
                </a:ext>
              </a:extLst>
            </p:cNvPr>
            <p:cNvSpPr/>
            <p:nvPr/>
          </p:nvSpPr>
          <p:spPr>
            <a:xfrm>
              <a:off x="2632654" y="1031963"/>
              <a:ext cx="24281" cy="31132"/>
            </a:xfrm>
            <a:custGeom>
              <a:avLst/>
              <a:gdLst>
                <a:gd name="connsiteX0" fmla="*/ 23643 w 24281"/>
                <a:gd name="connsiteY0" fmla="*/ 3681 h 31132"/>
                <a:gd name="connsiteX1" fmla="*/ 15336 w 24281"/>
                <a:gd name="connsiteY1" fmla="*/ 489 h 31132"/>
                <a:gd name="connsiteX2" fmla="*/ 15336 w 24281"/>
                <a:gd name="connsiteY2" fmla="*/ 489 h 31132"/>
                <a:gd name="connsiteX3" fmla="*/ 3834 w 24281"/>
                <a:gd name="connsiteY3" fmla="*/ 5596 h 31132"/>
                <a:gd name="connsiteX4" fmla="*/ 1917 w 24281"/>
                <a:gd name="connsiteY4" fmla="*/ 6873 h 31132"/>
                <a:gd name="connsiteX5" fmla="*/ 1278 w 24281"/>
                <a:gd name="connsiteY5" fmla="*/ 7512 h 31132"/>
                <a:gd name="connsiteX6" fmla="*/ 639 w 24281"/>
                <a:gd name="connsiteY6" fmla="*/ 8788 h 31132"/>
                <a:gd name="connsiteX7" fmla="*/ 639 w 24281"/>
                <a:gd name="connsiteY7" fmla="*/ 9427 h 31132"/>
                <a:gd name="connsiteX8" fmla="*/ 0 w 24281"/>
                <a:gd name="connsiteY8" fmla="*/ 11980 h 31132"/>
                <a:gd name="connsiteX9" fmla="*/ 0 w 24281"/>
                <a:gd name="connsiteY9" fmla="*/ 24748 h 31132"/>
                <a:gd name="connsiteX10" fmla="*/ 6390 w 24281"/>
                <a:gd name="connsiteY10" fmla="*/ 31132 h 31132"/>
                <a:gd name="connsiteX11" fmla="*/ 12780 w 24281"/>
                <a:gd name="connsiteY11" fmla="*/ 24748 h 31132"/>
                <a:gd name="connsiteX12" fmla="*/ 12780 w 24281"/>
                <a:gd name="connsiteY12" fmla="*/ 22195 h 31132"/>
                <a:gd name="connsiteX13" fmla="*/ 15336 w 24281"/>
                <a:gd name="connsiteY13" fmla="*/ 23472 h 31132"/>
                <a:gd name="connsiteX14" fmla="*/ 17892 w 24281"/>
                <a:gd name="connsiteY14" fmla="*/ 24110 h 31132"/>
                <a:gd name="connsiteX15" fmla="*/ 24282 w 24281"/>
                <a:gd name="connsiteY15" fmla="*/ 17726 h 31132"/>
                <a:gd name="connsiteX16" fmla="*/ 21726 w 24281"/>
                <a:gd name="connsiteY16" fmla="*/ 12619 h 31132"/>
                <a:gd name="connsiteX17" fmla="*/ 23643 w 24281"/>
                <a:gd name="connsiteY17" fmla="*/ 3681 h 3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281" h="31132">
                  <a:moveTo>
                    <a:pt x="23643" y="3681"/>
                  </a:moveTo>
                  <a:cubicBezTo>
                    <a:pt x="22365" y="489"/>
                    <a:pt x="18531" y="-788"/>
                    <a:pt x="15336" y="489"/>
                  </a:cubicBezTo>
                  <a:cubicBezTo>
                    <a:pt x="15336" y="489"/>
                    <a:pt x="15336" y="489"/>
                    <a:pt x="15336" y="489"/>
                  </a:cubicBezTo>
                  <a:lnTo>
                    <a:pt x="3834" y="5596"/>
                  </a:lnTo>
                  <a:cubicBezTo>
                    <a:pt x="3195" y="5596"/>
                    <a:pt x="2556" y="6235"/>
                    <a:pt x="1917" y="6873"/>
                  </a:cubicBezTo>
                  <a:lnTo>
                    <a:pt x="1278" y="7512"/>
                  </a:lnTo>
                  <a:cubicBezTo>
                    <a:pt x="639" y="8150"/>
                    <a:pt x="639" y="8150"/>
                    <a:pt x="639" y="8788"/>
                  </a:cubicBezTo>
                  <a:cubicBezTo>
                    <a:pt x="639" y="8788"/>
                    <a:pt x="639" y="9427"/>
                    <a:pt x="639" y="9427"/>
                  </a:cubicBezTo>
                  <a:cubicBezTo>
                    <a:pt x="639" y="10065"/>
                    <a:pt x="0" y="10704"/>
                    <a:pt x="0" y="11980"/>
                  </a:cubicBezTo>
                  <a:lnTo>
                    <a:pt x="0" y="24748"/>
                  </a:lnTo>
                  <a:cubicBezTo>
                    <a:pt x="0" y="28579"/>
                    <a:pt x="2556" y="31132"/>
                    <a:pt x="6390" y="31132"/>
                  </a:cubicBezTo>
                  <a:cubicBezTo>
                    <a:pt x="10224" y="31132"/>
                    <a:pt x="12780" y="28579"/>
                    <a:pt x="12780" y="24748"/>
                  </a:cubicBezTo>
                  <a:lnTo>
                    <a:pt x="12780" y="22195"/>
                  </a:lnTo>
                  <a:lnTo>
                    <a:pt x="15336" y="23472"/>
                  </a:lnTo>
                  <a:cubicBezTo>
                    <a:pt x="15975" y="24110"/>
                    <a:pt x="17253" y="24110"/>
                    <a:pt x="17892" y="24110"/>
                  </a:cubicBezTo>
                  <a:cubicBezTo>
                    <a:pt x="21726" y="24110"/>
                    <a:pt x="24282" y="20918"/>
                    <a:pt x="24282" y="17726"/>
                  </a:cubicBezTo>
                  <a:cubicBezTo>
                    <a:pt x="24282" y="15811"/>
                    <a:pt x="23004" y="13896"/>
                    <a:pt x="21726" y="12619"/>
                  </a:cubicBezTo>
                  <a:cubicBezTo>
                    <a:pt x="24282" y="10065"/>
                    <a:pt x="24921" y="6235"/>
                    <a:pt x="23643" y="368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95" name="Graphic 4">
              <a:extLst>
                <a:ext uri="{FF2B5EF4-FFF2-40B4-BE49-F238E27FC236}">
                  <a16:creationId xmlns:a16="http://schemas.microsoft.com/office/drawing/2014/main" id="{C9759BA8-F83D-D359-1E44-7DCCFAEBA039}"/>
                </a:ext>
              </a:extLst>
            </p:cNvPr>
            <p:cNvSpPr/>
            <p:nvPr/>
          </p:nvSpPr>
          <p:spPr>
            <a:xfrm>
              <a:off x="2670503" y="1054945"/>
              <a:ext cx="38992" cy="24748"/>
            </a:xfrm>
            <a:custGeom>
              <a:avLst/>
              <a:gdLst>
                <a:gd name="connsiteX0" fmla="*/ 35634 w 38992"/>
                <a:gd name="connsiteY0" fmla="*/ 12619 h 24748"/>
                <a:gd name="connsiteX1" fmla="*/ 8797 w 38992"/>
                <a:gd name="connsiteY1" fmla="*/ 489 h 24748"/>
                <a:gd name="connsiteX2" fmla="*/ 490 w 38992"/>
                <a:gd name="connsiteY2" fmla="*/ 3681 h 24748"/>
                <a:gd name="connsiteX3" fmla="*/ 3685 w 38992"/>
                <a:gd name="connsiteY3" fmla="*/ 11980 h 24748"/>
                <a:gd name="connsiteX4" fmla="*/ 29884 w 38992"/>
                <a:gd name="connsiteY4" fmla="*/ 24110 h 24748"/>
                <a:gd name="connsiteX5" fmla="*/ 32439 w 38992"/>
                <a:gd name="connsiteY5" fmla="*/ 24748 h 24748"/>
                <a:gd name="connsiteX6" fmla="*/ 38829 w 38992"/>
                <a:gd name="connsiteY6" fmla="*/ 18364 h 24748"/>
                <a:gd name="connsiteX7" fmla="*/ 35634 w 38992"/>
                <a:gd name="connsiteY7" fmla="*/ 12619 h 24748"/>
                <a:gd name="connsiteX8" fmla="*/ 35634 w 38992"/>
                <a:gd name="connsiteY8" fmla="*/ 12619 h 24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992" h="24748">
                  <a:moveTo>
                    <a:pt x="35634" y="12619"/>
                  </a:moveTo>
                  <a:lnTo>
                    <a:pt x="8797" y="489"/>
                  </a:lnTo>
                  <a:cubicBezTo>
                    <a:pt x="5602" y="-788"/>
                    <a:pt x="1768" y="489"/>
                    <a:pt x="490" y="3681"/>
                  </a:cubicBezTo>
                  <a:cubicBezTo>
                    <a:pt x="-788" y="6873"/>
                    <a:pt x="490" y="10704"/>
                    <a:pt x="3685" y="11980"/>
                  </a:cubicBezTo>
                  <a:lnTo>
                    <a:pt x="29884" y="24110"/>
                  </a:lnTo>
                  <a:cubicBezTo>
                    <a:pt x="30523" y="24748"/>
                    <a:pt x="31800" y="24748"/>
                    <a:pt x="32439" y="24748"/>
                  </a:cubicBezTo>
                  <a:cubicBezTo>
                    <a:pt x="36273" y="24748"/>
                    <a:pt x="38829" y="22195"/>
                    <a:pt x="38829" y="18364"/>
                  </a:cubicBezTo>
                  <a:cubicBezTo>
                    <a:pt x="39468" y="15811"/>
                    <a:pt x="38190" y="13896"/>
                    <a:pt x="35634" y="12619"/>
                  </a:cubicBezTo>
                  <a:lnTo>
                    <a:pt x="35634" y="1261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96" name="Graphic 4">
              <a:extLst>
                <a:ext uri="{FF2B5EF4-FFF2-40B4-BE49-F238E27FC236}">
                  <a16:creationId xmlns:a16="http://schemas.microsoft.com/office/drawing/2014/main" id="{7A94299F-B03C-F3A4-A2FE-7C1EF6AE662A}"/>
                </a:ext>
              </a:extLst>
            </p:cNvPr>
            <p:cNvSpPr/>
            <p:nvPr/>
          </p:nvSpPr>
          <p:spPr>
            <a:xfrm>
              <a:off x="2722490" y="1078794"/>
              <a:ext cx="35896" cy="32181"/>
            </a:xfrm>
            <a:custGeom>
              <a:avLst/>
              <a:gdLst>
                <a:gd name="connsiteX0" fmla="*/ 27738 w 35896"/>
                <a:gd name="connsiteY0" fmla="*/ 900 h 32181"/>
                <a:gd name="connsiteX1" fmla="*/ 18792 w 35896"/>
                <a:gd name="connsiteY1" fmla="*/ 4730 h 32181"/>
                <a:gd name="connsiteX2" fmla="*/ 9847 w 35896"/>
                <a:gd name="connsiteY2" fmla="*/ 900 h 32181"/>
                <a:gd name="connsiteX3" fmla="*/ 901 w 35896"/>
                <a:gd name="connsiteY3" fmla="*/ 3453 h 32181"/>
                <a:gd name="connsiteX4" fmla="*/ 3457 w 35896"/>
                <a:gd name="connsiteY4" fmla="*/ 12391 h 32181"/>
                <a:gd name="connsiteX5" fmla="*/ 4096 w 35896"/>
                <a:gd name="connsiteY5" fmla="*/ 13029 h 32181"/>
                <a:gd name="connsiteX6" fmla="*/ 11764 w 35896"/>
                <a:gd name="connsiteY6" fmla="*/ 16860 h 32181"/>
                <a:gd name="connsiteX7" fmla="*/ 11764 w 35896"/>
                <a:gd name="connsiteY7" fmla="*/ 25797 h 32181"/>
                <a:gd name="connsiteX8" fmla="*/ 18153 w 35896"/>
                <a:gd name="connsiteY8" fmla="*/ 32181 h 32181"/>
                <a:gd name="connsiteX9" fmla="*/ 24543 w 35896"/>
                <a:gd name="connsiteY9" fmla="*/ 25797 h 32181"/>
                <a:gd name="connsiteX10" fmla="*/ 24543 w 35896"/>
                <a:gd name="connsiteY10" fmla="*/ 16860 h 32181"/>
                <a:gd name="connsiteX11" fmla="*/ 32211 w 35896"/>
                <a:gd name="connsiteY11" fmla="*/ 13029 h 32181"/>
                <a:gd name="connsiteX12" fmla="*/ 35406 w 35896"/>
                <a:gd name="connsiteY12" fmla="*/ 4730 h 32181"/>
                <a:gd name="connsiteX13" fmla="*/ 35406 w 35896"/>
                <a:gd name="connsiteY13" fmla="*/ 4730 h 32181"/>
                <a:gd name="connsiteX14" fmla="*/ 27738 w 35896"/>
                <a:gd name="connsiteY14" fmla="*/ 900 h 32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896" h="32181">
                  <a:moveTo>
                    <a:pt x="27738" y="900"/>
                  </a:moveTo>
                  <a:lnTo>
                    <a:pt x="18792" y="4730"/>
                  </a:lnTo>
                  <a:lnTo>
                    <a:pt x="9847" y="900"/>
                  </a:lnTo>
                  <a:cubicBezTo>
                    <a:pt x="6652" y="-1015"/>
                    <a:pt x="2818" y="261"/>
                    <a:pt x="901" y="3453"/>
                  </a:cubicBezTo>
                  <a:cubicBezTo>
                    <a:pt x="-1016" y="6645"/>
                    <a:pt x="262" y="10476"/>
                    <a:pt x="3457" y="12391"/>
                  </a:cubicBezTo>
                  <a:cubicBezTo>
                    <a:pt x="3457" y="12391"/>
                    <a:pt x="4096" y="12391"/>
                    <a:pt x="4096" y="13029"/>
                  </a:cubicBezTo>
                  <a:lnTo>
                    <a:pt x="11764" y="16860"/>
                  </a:lnTo>
                  <a:lnTo>
                    <a:pt x="11764" y="25797"/>
                  </a:lnTo>
                  <a:cubicBezTo>
                    <a:pt x="11764" y="29628"/>
                    <a:pt x="14319" y="32181"/>
                    <a:pt x="18153" y="32181"/>
                  </a:cubicBezTo>
                  <a:cubicBezTo>
                    <a:pt x="21987" y="32181"/>
                    <a:pt x="24543" y="29628"/>
                    <a:pt x="24543" y="25797"/>
                  </a:cubicBezTo>
                  <a:lnTo>
                    <a:pt x="24543" y="16860"/>
                  </a:lnTo>
                  <a:lnTo>
                    <a:pt x="32211" y="13029"/>
                  </a:lnTo>
                  <a:cubicBezTo>
                    <a:pt x="35406" y="11753"/>
                    <a:pt x="36684" y="7922"/>
                    <a:pt x="35406" y="4730"/>
                  </a:cubicBezTo>
                  <a:cubicBezTo>
                    <a:pt x="35406" y="4730"/>
                    <a:pt x="35406" y="4730"/>
                    <a:pt x="35406" y="4730"/>
                  </a:cubicBezTo>
                  <a:cubicBezTo>
                    <a:pt x="34767" y="900"/>
                    <a:pt x="30933" y="-377"/>
                    <a:pt x="27738" y="90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97" name="Graphic 4">
              <a:extLst>
                <a:ext uri="{FF2B5EF4-FFF2-40B4-BE49-F238E27FC236}">
                  <a16:creationId xmlns:a16="http://schemas.microsoft.com/office/drawing/2014/main" id="{E8CA574A-1700-887D-5149-34795FFD821E}"/>
                </a:ext>
              </a:extLst>
            </p:cNvPr>
            <p:cNvSpPr/>
            <p:nvPr/>
          </p:nvSpPr>
          <p:spPr>
            <a:xfrm>
              <a:off x="2774021" y="1054945"/>
              <a:ext cx="38680" cy="24748"/>
            </a:xfrm>
            <a:custGeom>
              <a:avLst/>
              <a:gdLst>
                <a:gd name="connsiteX0" fmla="*/ 29883 w 38680"/>
                <a:gd name="connsiteY0" fmla="*/ 489 h 24748"/>
                <a:gd name="connsiteX1" fmla="*/ 3685 w 38680"/>
                <a:gd name="connsiteY1" fmla="*/ 12619 h 24748"/>
                <a:gd name="connsiteX2" fmla="*/ 490 w 38680"/>
                <a:gd name="connsiteY2" fmla="*/ 20918 h 24748"/>
                <a:gd name="connsiteX3" fmla="*/ 6241 w 38680"/>
                <a:gd name="connsiteY3" fmla="*/ 24748 h 24748"/>
                <a:gd name="connsiteX4" fmla="*/ 8797 w 38680"/>
                <a:gd name="connsiteY4" fmla="*/ 24110 h 24748"/>
                <a:gd name="connsiteX5" fmla="*/ 34995 w 38680"/>
                <a:gd name="connsiteY5" fmla="*/ 11980 h 24748"/>
                <a:gd name="connsiteX6" fmla="*/ 38190 w 38680"/>
                <a:gd name="connsiteY6" fmla="*/ 3681 h 24748"/>
                <a:gd name="connsiteX7" fmla="*/ 29883 w 38680"/>
                <a:gd name="connsiteY7" fmla="*/ 489 h 24748"/>
                <a:gd name="connsiteX8" fmla="*/ 29883 w 38680"/>
                <a:gd name="connsiteY8" fmla="*/ 489 h 24748"/>
                <a:gd name="connsiteX9" fmla="*/ 29883 w 38680"/>
                <a:gd name="connsiteY9" fmla="*/ 489 h 24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680" h="24748">
                  <a:moveTo>
                    <a:pt x="29883" y="489"/>
                  </a:moveTo>
                  <a:lnTo>
                    <a:pt x="3685" y="12619"/>
                  </a:lnTo>
                  <a:cubicBezTo>
                    <a:pt x="490" y="13896"/>
                    <a:pt x="-788" y="17726"/>
                    <a:pt x="490" y="20918"/>
                  </a:cubicBezTo>
                  <a:cubicBezTo>
                    <a:pt x="1768" y="23472"/>
                    <a:pt x="3685" y="24748"/>
                    <a:pt x="6241" y="24748"/>
                  </a:cubicBezTo>
                  <a:cubicBezTo>
                    <a:pt x="6880" y="24748"/>
                    <a:pt x="8158" y="24748"/>
                    <a:pt x="8797" y="24110"/>
                  </a:cubicBezTo>
                  <a:lnTo>
                    <a:pt x="34995" y="11980"/>
                  </a:lnTo>
                  <a:cubicBezTo>
                    <a:pt x="38190" y="10704"/>
                    <a:pt x="39468" y="6873"/>
                    <a:pt x="38190" y="3681"/>
                  </a:cubicBezTo>
                  <a:cubicBezTo>
                    <a:pt x="36273" y="489"/>
                    <a:pt x="33078" y="-788"/>
                    <a:pt x="29883" y="489"/>
                  </a:cubicBezTo>
                  <a:lnTo>
                    <a:pt x="29883" y="489"/>
                  </a:lnTo>
                  <a:lnTo>
                    <a:pt x="29883" y="48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98" name="Graphic 4">
              <a:extLst>
                <a:ext uri="{FF2B5EF4-FFF2-40B4-BE49-F238E27FC236}">
                  <a16:creationId xmlns:a16="http://schemas.microsoft.com/office/drawing/2014/main" id="{36CE5798-B648-A3E2-1EA0-F1606819FCFD}"/>
                </a:ext>
              </a:extLst>
            </p:cNvPr>
            <p:cNvSpPr/>
            <p:nvPr/>
          </p:nvSpPr>
          <p:spPr>
            <a:xfrm>
              <a:off x="2772970" y="1007293"/>
              <a:ext cx="39502" cy="25797"/>
            </a:xfrm>
            <a:custGeom>
              <a:avLst/>
              <a:gdLst>
                <a:gd name="connsiteX0" fmla="*/ 36045 w 39502"/>
                <a:gd name="connsiteY0" fmla="*/ 13029 h 25797"/>
                <a:gd name="connsiteX1" fmla="*/ 9847 w 39502"/>
                <a:gd name="connsiteY1" fmla="*/ 900 h 25797"/>
                <a:gd name="connsiteX2" fmla="*/ 901 w 39502"/>
                <a:gd name="connsiteY2" fmla="*/ 3453 h 25797"/>
                <a:gd name="connsiteX3" fmla="*/ 3457 w 39502"/>
                <a:gd name="connsiteY3" fmla="*/ 12391 h 25797"/>
                <a:gd name="connsiteX4" fmla="*/ 4096 w 39502"/>
                <a:gd name="connsiteY4" fmla="*/ 13029 h 25797"/>
                <a:gd name="connsiteX5" fmla="*/ 30294 w 39502"/>
                <a:gd name="connsiteY5" fmla="*/ 25159 h 25797"/>
                <a:gd name="connsiteX6" fmla="*/ 32850 w 39502"/>
                <a:gd name="connsiteY6" fmla="*/ 25797 h 25797"/>
                <a:gd name="connsiteX7" fmla="*/ 38601 w 39502"/>
                <a:gd name="connsiteY7" fmla="*/ 21967 h 25797"/>
                <a:gd name="connsiteX8" fmla="*/ 36045 w 39502"/>
                <a:gd name="connsiteY8" fmla="*/ 13029 h 25797"/>
                <a:gd name="connsiteX9" fmla="*/ 36045 w 39502"/>
                <a:gd name="connsiteY9" fmla="*/ 13029 h 25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502" h="25797">
                  <a:moveTo>
                    <a:pt x="36045" y="13029"/>
                  </a:moveTo>
                  <a:lnTo>
                    <a:pt x="9847" y="900"/>
                  </a:lnTo>
                  <a:cubicBezTo>
                    <a:pt x="6652" y="-1015"/>
                    <a:pt x="2818" y="261"/>
                    <a:pt x="901" y="3453"/>
                  </a:cubicBezTo>
                  <a:cubicBezTo>
                    <a:pt x="-1016" y="6645"/>
                    <a:pt x="262" y="10476"/>
                    <a:pt x="3457" y="12391"/>
                  </a:cubicBezTo>
                  <a:cubicBezTo>
                    <a:pt x="3457" y="12391"/>
                    <a:pt x="4096" y="12391"/>
                    <a:pt x="4096" y="13029"/>
                  </a:cubicBezTo>
                  <a:lnTo>
                    <a:pt x="30294" y="25159"/>
                  </a:lnTo>
                  <a:cubicBezTo>
                    <a:pt x="30933" y="25797"/>
                    <a:pt x="32211" y="25797"/>
                    <a:pt x="32850" y="25797"/>
                  </a:cubicBezTo>
                  <a:cubicBezTo>
                    <a:pt x="35406" y="25797"/>
                    <a:pt x="37323" y="24521"/>
                    <a:pt x="38601" y="21967"/>
                  </a:cubicBezTo>
                  <a:cubicBezTo>
                    <a:pt x="40518" y="18137"/>
                    <a:pt x="39240" y="14306"/>
                    <a:pt x="36045" y="13029"/>
                  </a:cubicBezTo>
                  <a:cubicBezTo>
                    <a:pt x="36045" y="13029"/>
                    <a:pt x="36045" y="13029"/>
                    <a:pt x="36045" y="13029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99" name="Graphic 4">
              <a:extLst>
                <a:ext uri="{FF2B5EF4-FFF2-40B4-BE49-F238E27FC236}">
                  <a16:creationId xmlns:a16="http://schemas.microsoft.com/office/drawing/2014/main" id="{14FFCAB6-F61A-A186-47DD-65801084A536}"/>
                </a:ext>
              </a:extLst>
            </p:cNvPr>
            <p:cNvSpPr/>
            <p:nvPr/>
          </p:nvSpPr>
          <p:spPr>
            <a:xfrm>
              <a:off x="2632654" y="1075863"/>
              <a:ext cx="12779" cy="38303"/>
            </a:xfrm>
            <a:custGeom>
              <a:avLst/>
              <a:gdLst>
                <a:gd name="connsiteX0" fmla="*/ 6390 w 12779"/>
                <a:gd name="connsiteY0" fmla="*/ 38304 h 38303"/>
                <a:gd name="connsiteX1" fmla="*/ 12780 w 12779"/>
                <a:gd name="connsiteY1" fmla="*/ 31920 h 38303"/>
                <a:gd name="connsiteX2" fmla="*/ 12780 w 12779"/>
                <a:gd name="connsiteY2" fmla="*/ 6384 h 38303"/>
                <a:gd name="connsiteX3" fmla="*/ 6390 w 12779"/>
                <a:gd name="connsiteY3" fmla="*/ 0 h 38303"/>
                <a:gd name="connsiteX4" fmla="*/ 0 w 12779"/>
                <a:gd name="connsiteY4" fmla="*/ 6384 h 38303"/>
                <a:gd name="connsiteX5" fmla="*/ 0 w 12779"/>
                <a:gd name="connsiteY5" fmla="*/ 31920 h 38303"/>
                <a:gd name="connsiteX6" fmla="*/ 6390 w 12779"/>
                <a:gd name="connsiteY6" fmla="*/ 38304 h 38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38303">
                  <a:moveTo>
                    <a:pt x="6390" y="38304"/>
                  </a:moveTo>
                  <a:cubicBezTo>
                    <a:pt x="10224" y="38304"/>
                    <a:pt x="12780" y="35750"/>
                    <a:pt x="12780" y="31920"/>
                  </a:cubicBez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lnTo>
                    <a:pt x="0" y="31920"/>
                  </a:lnTo>
                  <a:cubicBezTo>
                    <a:pt x="0" y="35750"/>
                    <a:pt x="2556" y="38304"/>
                    <a:pt x="6390" y="383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100" name="Graphic 4">
              <a:extLst>
                <a:ext uri="{FF2B5EF4-FFF2-40B4-BE49-F238E27FC236}">
                  <a16:creationId xmlns:a16="http://schemas.microsoft.com/office/drawing/2014/main" id="{2D9DC46B-82AE-5F5B-36C7-1B54877D48ED}"/>
                </a:ext>
              </a:extLst>
            </p:cNvPr>
            <p:cNvSpPr/>
            <p:nvPr/>
          </p:nvSpPr>
          <p:spPr>
            <a:xfrm>
              <a:off x="2632654" y="1127573"/>
              <a:ext cx="24132" cy="31281"/>
            </a:xfrm>
            <a:custGeom>
              <a:avLst/>
              <a:gdLst>
                <a:gd name="connsiteX0" fmla="*/ 20448 w 24132"/>
                <a:gd name="connsiteY0" fmla="*/ 19152 h 31281"/>
                <a:gd name="connsiteX1" fmla="*/ 12780 w 24132"/>
                <a:gd name="connsiteY1" fmla="*/ 14683 h 31281"/>
                <a:gd name="connsiteX2" fmla="*/ 12780 w 24132"/>
                <a:gd name="connsiteY2" fmla="*/ 6384 h 31281"/>
                <a:gd name="connsiteX3" fmla="*/ 6390 w 24132"/>
                <a:gd name="connsiteY3" fmla="*/ 0 h 31281"/>
                <a:gd name="connsiteX4" fmla="*/ 0 w 24132"/>
                <a:gd name="connsiteY4" fmla="*/ 6384 h 31281"/>
                <a:gd name="connsiteX5" fmla="*/ 0 w 24132"/>
                <a:gd name="connsiteY5" fmla="*/ 19152 h 31281"/>
                <a:gd name="connsiteX6" fmla="*/ 3195 w 24132"/>
                <a:gd name="connsiteY6" fmla="*/ 24897 h 31281"/>
                <a:gd name="connsiteX7" fmla="*/ 14697 w 24132"/>
                <a:gd name="connsiteY7" fmla="*/ 30643 h 31281"/>
                <a:gd name="connsiteX8" fmla="*/ 17892 w 24132"/>
                <a:gd name="connsiteY8" fmla="*/ 31281 h 31281"/>
                <a:gd name="connsiteX9" fmla="*/ 23643 w 24132"/>
                <a:gd name="connsiteY9" fmla="*/ 28089 h 31281"/>
                <a:gd name="connsiteX10" fmla="*/ 20448 w 24132"/>
                <a:gd name="connsiteY10" fmla="*/ 19152 h 31281"/>
                <a:gd name="connsiteX11" fmla="*/ 20448 w 24132"/>
                <a:gd name="connsiteY11" fmla="*/ 19152 h 3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32" h="31281">
                  <a:moveTo>
                    <a:pt x="20448" y="19152"/>
                  </a:moveTo>
                  <a:lnTo>
                    <a:pt x="12780" y="14683"/>
                  </a:ln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lnTo>
                    <a:pt x="0" y="19152"/>
                  </a:lnTo>
                  <a:cubicBezTo>
                    <a:pt x="0" y="21706"/>
                    <a:pt x="1278" y="23621"/>
                    <a:pt x="3195" y="24897"/>
                  </a:cubicBezTo>
                  <a:lnTo>
                    <a:pt x="14697" y="30643"/>
                  </a:lnTo>
                  <a:cubicBezTo>
                    <a:pt x="15336" y="31281"/>
                    <a:pt x="16614" y="31281"/>
                    <a:pt x="17892" y="31281"/>
                  </a:cubicBezTo>
                  <a:cubicBezTo>
                    <a:pt x="20448" y="31281"/>
                    <a:pt x="22365" y="30005"/>
                    <a:pt x="23643" y="28089"/>
                  </a:cubicBezTo>
                  <a:cubicBezTo>
                    <a:pt x="24921" y="24897"/>
                    <a:pt x="23643" y="21067"/>
                    <a:pt x="20448" y="19152"/>
                  </a:cubicBezTo>
                  <a:cubicBezTo>
                    <a:pt x="20448" y="19152"/>
                    <a:pt x="20448" y="19152"/>
                    <a:pt x="20448" y="19152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101" name="Graphic 4">
              <a:extLst>
                <a:ext uri="{FF2B5EF4-FFF2-40B4-BE49-F238E27FC236}">
                  <a16:creationId xmlns:a16="http://schemas.microsoft.com/office/drawing/2014/main" id="{1D116CD2-71CE-A53A-E37E-4484F4606F55}"/>
                </a:ext>
              </a:extLst>
            </p:cNvPr>
            <p:cNvSpPr/>
            <p:nvPr/>
          </p:nvSpPr>
          <p:spPr>
            <a:xfrm>
              <a:off x="2670093" y="1159870"/>
              <a:ext cx="39879" cy="27712"/>
            </a:xfrm>
            <a:custGeom>
              <a:avLst/>
              <a:gdLst>
                <a:gd name="connsiteX0" fmla="*/ 36684 w 39879"/>
                <a:gd name="connsiteY0" fmla="*/ 15583 h 27712"/>
                <a:gd name="connsiteX1" fmla="*/ 9847 w 39879"/>
                <a:gd name="connsiteY1" fmla="*/ 900 h 27712"/>
                <a:gd name="connsiteX2" fmla="*/ 901 w 39879"/>
                <a:gd name="connsiteY2" fmla="*/ 3453 h 27712"/>
                <a:gd name="connsiteX3" fmla="*/ 3457 w 39879"/>
                <a:gd name="connsiteY3" fmla="*/ 12391 h 27712"/>
                <a:gd name="connsiteX4" fmla="*/ 30294 w 39879"/>
                <a:gd name="connsiteY4" fmla="*/ 27074 h 27712"/>
                <a:gd name="connsiteX5" fmla="*/ 33489 w 39879"/>
                <a:gd name="connsiteY5" fmla="*/ 27713 h 27712"/>
                <a:gd name="connsiteX6" fmla="*/ 39879 w 39879"/>
                <a:gd name="connsiteY6" fmla="*/ 21329 h 27712"/>
                <a:gd name="connsiteX7" fmla="*/ 36684 w 39879"/>
                <a:gd name="connsiteY7" fmla="*/ 15583 h 27712"/>
                <a:gd name="connsiteX8" fmla="*/ 36684 w 39879"/>
                <a:gd name="connsiteY8" fmla="*/ 15583 h 27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879" h="27712">
                  <a:moveTo>
                    <a:pt x="36684" y="15583"/>
                  </a:moveTo>
                  <a:lnTo>
                    <a:pt x="9847" y="900"/>
                  </a:lnTo>
                  <a:cubicBezTo>
                    <a:pt x="6652" y="-1015"/>
                    <a:pt x="2818" y="262"/>
                    <a:pt x="901" y="3453"/>
                  </a:cubicBezTo>
                  <a:cubicBezTo>
                    <a:pt x="-1016" y="6645"/>
                    <a:pt x="262" y="10476"/>
                    <a:pt x="3457" y="12391"/>
                  </a:cubicBezTo>
                  <a:lnTo>
                    <a:pt x="30294" y="27074"/>
                  </a:lnTo>
                  <a:cubicBezTo>
                    <a:pt x="30933" y="27713"/>
                    <a:pt x="32211" y="27713"/>
                    <a:pt x="33489" y="27713"/>
                  </a:cubicBezTo>
                  <a:cubicBezTo>
                    <a:pt x="37323" y="27713"/>
                    <a:pt x="39879" y="24521"/>
                    <a:pt x="39879" y="21329"/>
                  </a:cubicBezTo>
                  <a:cubicBezTo>
                    <a:pt x="39879" y="18775"/>
                    <a:pt x="38601" y="16860"/>
                    <a:pt x="36684" y="15583"/>
                  </a:cubicBezTo>
                  <a:lnTo>
                    <a:pt x="36684" y="1558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102" name="Graphic 4">
              <a:extLst>
                <a:ext uri="{FF2B5EF4-FFF2-40B4-BE49-F238E27FC236}">
                  <a16:creationId xmlns:a16="http://schemas.microsoft.com/office/drawing/2014/main" id="{EBBE3FEA-66B3-F3D4-F8EA-D68AA07F6FAF}"/>
                </a:ext>
              </a:extLst>
            </p:cNvPr>
            <p:cNvSpPr/>
            <p:nvPr/>
          </p:nvSpPr>
          <p:spPr>
            <a:xfrm>
              <a:off x="2734893" y="1126297"/>
              <a:ext cx="12779" cy="40857"/>
            </a:xfrm>
            <a:custGeom>
              <a:avLst/>
              <a:gdLst>
                <a:gd name="connsiteX0" fmla="*/ 6390 w 12779"/>
                <a:gd name="connsiteY0" fmla="*/ 40857 h 40857"/>
                <a:gd name="connsiteX1" fmla="*/ 12780 w 12779"/>
                <a:gd name="connsiteY1" fmla="*/ 34473 h 40857"/>
                <a:gd name="connsiteX2" fmla="*/ 12780 w 12779"/>
                <a:gd name="connsiteY2" fmla="*/ 6384 h 40857"/>
                <a:gd name="connsiteX3" fmla="*/ 6390 w 12779"/>
                <a:gd name="connsiteY3" fmla="*/ 0 h 40857"/>
                <a:gd name="connsiteX4" fmla="*/ 0 w 12779"/>
                <a:gd name="connsiteY4" fmla="*/ 6384 h 40857"/>
                <a:gd name="connsiteX5" fmla="*/ 0 w 12779"/>
                <a:gd name="connsiteY5" fmla="*/ 34473 h 40857"/>
                <a:gd name="connsiteX6" fmla="*/ 6390 w 12779"/>
                <a:gd name="connsiteY6" fmla="*/ 40857 h 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40857">
                  <a:moveTo>
                    <a:pt x="6390" y="40857"/>
                  </a:moveTo>
                  <a:cubicBezTo>
                    <a:pt x="10224" y="40857"/>
                    <a:pt x="12780" y="38304"/>
                    <a:pt x="12780" y="34473"/>
                  </a:cubicBez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lnTo>
                    <a:pt x="0" y="34473"/>
                  </a:lnTo>
                  <a:cubicBezTo>
                    <a:pt x="0" y="37665"/>
                    <a:pt x="3195" y="40857"/>
                    <a:pt x="6390" y="40857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103" name="Graphic 4">
              <a:extLst>
                <a:ext uri="{FF2B5EF4-FFF2-40B4-BE49-F238E27FC236}">
                  <a16:creationId xmlns:a16="http://schemas.microsoft.com/office/drawing/2014/main" id="{156924FE-5591-1CCE-D6F0-69A78880021C}"/>
                </a:ext>
              </a:extLst>
            </p:cNvPr>
            <p:cNvSpPr/>
            <p:nvPr/>
          </p:nvSpPr>
          <p:spPr>
            <a:xfrm>
              <a:off x="2723129" y="1183114"/>
              <a:ext cx="35896" cy="24897"/>
            </a:xfrm>
            <a:custGeom>
              <a:avLst/>
              <a:gdLst>
                <a:gd name="connsiteX0" fmla="*/ 27099 w 35896"/>
                <a:gd name="connsiteY0" fmla="*/ 7661 h 24897"/>
                <a:gd name="connsiteX1" fmla="*/ 24543 w 35896"/>
                <a:gd name="connsiteY1" fmla="*/ 8938 h 24897"/>
                <a:gd name="connsiteX2" fmla="*/ 24543 w 35896"/>
                <a:gd name="connsiteY2" fmla="*/ 6384 h 24897"/>
                <a:gd name="connsiteX3" fmla="*/ 18154 w 35896"/>
                <a:gd name="connsiteY3" fmla="*/ 0 h 24897"/>
                <a:gd name="connsiteX4" fmla="*/ 11764 w 35896"/>
                <a:gd name="connsiteY4" fmla="*/ 6384 h 24897"/>
                <a:gd name="connsiteX5" fmla="*/ 11764 w 35896"/>
                <a:gd name="connsiteY5" fmla="*/ 8299 h 24897"/>
                <a:gd name="connsiteX6" fmla="*/ 9847 w 35896"/>
                <a:gd name="connsiteY6" fmla="*/ 7022 h 24897"/>
                <a:gd name="connsiteX7" fmla="*/ 901 w 35896"/>
                <a:gd name="connsiteY7" fmla="*/ 9576 h 24897"/>
                <a:gd name="connsiteX8" fmla="*/ 3457 w 35896"/>
                <a:gd name="connsiteY8" fmla="*/ 18514 h 24897"/>
                <a:gd name="connsiteX9" fmla="*/ 14959 w 35896"/>
                <a:gd name="connsiteY9" fmla="*/ 24898 h 24897"/>
                <a:gd name="connsiteX10" fmla="*/ 15598 w 35896"/>
                <a:gd name="connsiteY10" fmla="*/ 24898 h 24897"/>
                <a:gd name="connsiteX11" fmla="*/ 16237 w 35896"/>
                <a:gd name="connsiteY11" fmla="*/ 24898 h 24897"/>
                <a:gd name="connsiteX12" fmla="*/ 18154 w 35896"/>
                <a:gd name="connsiteY12" fmla="*/ 24898 h 24897"/>
                <a:gd name="connsiteX13" fmla="*/ 18154 w 35896"/>
                <a:gd name="connsiteY13" fmla="*/ 24898 h 24897"/>
                <a:gd name="connsiteX14" fmla="*/ 20709 w 35896"/>
                <a:gd name="connsiteY14" fmla="*/ 24259 h 24897"/>
                <a:gd name="connsiteX15" fmla="*/ 20709 w 35896"/>
                <a:gd name="connsiteY15" fmla="*/ 24259 h 24897"/>
                <a:gd name="connsiteX16" fmla="*/ 32211 w 35896"/>
                <a:gd name="connsiteY16" fmla="*/ 19152 h 24897"/>
                <a:gd name="connsiteX17" fmla="*/ 35406 w 35896"/>
                <a:gd name="connsiteY17" fmla="*/ 10853 h 24897"/>
                <a:gd name="connsiteX18" fmla="*/ 27099 w 35896"/>
                <a:gd name="connsiteY18" fmla="*/ 7661 h 24897"/>
                <a:gd name="connsiteX19" fmla="*/ 27099 w 35896"/>
                <a:gd name="connsiteY19" fmla="*/ 7661 h 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5896" h="24897">
                  <a:moveTo>
                    <a:pt x="27099" y="7661"/>
                  </a:moveTo>
                  <a:lnTo>
                    <a:pt x="24543" y="8938"/>
                  </a:lnTo>
                  <a:lnTo>
                    <a:pt x="24543" y="6384"/>
                  </a:lnTo>
                  <a:cubicBezTo>
                    <a:pt x="24543" y="2554"/>
                    <a:pt x="21988" y="0"/>
                    <a:pt x="18154" y="0"/>
                  </a:cubicBezTo>
                  <a:cubicBezTo>
                    <a:pt x="14320" y="0"/>
                    <a:pt x="11764" y="2554"/>
                    <a:pt x="11764" y="6384"/>
                  </a:cubicBezTo>
                  <a:lnTo>
                    <a:pt x="11764" y="8299"/>
                  </a:lnTo>
                  <a:lnTo>
                    <a:pt x="9847" y="7022"/>
                  </a:lnTo>
                  <a:cubicBezTo>
                    <a:pt x="6652" y="5107"/>
                    <a:pt x="2818" y="6384"/>
                    <a:pt x="901" y="9576"/>
                  </a:cubicBezTo>
                  <a:cubicBezTo>
                    <a:pt x="-1016" y="12768"/>
                    <a:pt x="262" y="16598"/>
                    <a:pt x="3457" y="18514"/>
                  </a:cubicBezTo>
                  <a:lnTo>
                    <a:pt x="14959" y="24898"/>
                  </a:lnTo>
                  <a:lnTo>
                    <a:pt x="15598" y="24898"/>
                  </a:lnTo>
                  <a:cubicBezTo>
                    <a:pt x="15598" y="24898"/>
                    <a:pt x="16237" y="24898"/>
                    <a:pt x="16237" y="24898"/>
                  </a:cubicBezTo>
                  <a:cubicBezTo>
                    <a:pt x="16875" y="24898"/>
                    <a:pt x="17514" y="24898"/>
                    <a:pt x="18154" y="24898"/>
                  </a:cubicBezTo>
                  <a:lnTo>
                    <a:pt x="18154" y="24898"/>
                  </a:lnTo>
                  <a:cubicBezTo>
                    <a:pt x="18793" y="24898"/>
                    <a:pt x="20070" y="24898"/>
                    <a:pt x="20709" y="24259"/>
                  </a:cubicBezTo>
                  <a:lnTo>
                    <a:pt x="20709" y="24259"/>
                  </a:lnTo>
                  <a:lnTo>
                    <a:pt x="32211" y="19152"/>
                  </a:lnTo>
                  <a:cubicBezTo>
                    <a:pt x="35406" y="17875"/>
                    <a:pt x="36684" y="14045"/>
                    <a:pt x="35406" y="10853"/>
                  </a:cubicBezTo>
                  <a:cubicBezTo>
                    <a:pt x="34128" y="7022"/>
                    <a:pt x="30294" y="5746"/>
                    <a:pt x="27099" y="7661"/>
                  </a:cubicBezTo>
                  <a:lnTo>
                    <a:pt x="27099" y="766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104" name="Graphic 4">
              <a:extLst>
                <a:ext uri="{FF2B5EF4-FFF2-40B4-BE49-F238E27FC236}">
                  <a16:creationId xmlns:a16="http://schemas.microsoft.com/office/drawing/2014/main" id="{A3107486-2B05-F5E2-AC5B-A644588F5FAA}"/>
                </a:ext>
              </a:extLst>
            </p:cNvPr>
            <p:cNvSpPr/>
            <p:nvPr/>
          </p:nvSpPr>
          <p:spPr>
            <a:xfrm>
              <a:off x="2774021" y="1165477"/>
              <a:ext cx="38680" cy="25297"/>
            </a:xfrm>
            <a:custGeom>
              <a:avLst/>
              <a:gdLst>
                <a:gd name="connsiteX0" fmla="*/ 29883 w 38680"/>
                <a:gd name="connsiteY0" fmla="*/ 400 h 25297"/>
                <a:gd name="connsiteX1" fmla="*/ 3685 w 38680"/>
                <a:gd name="connsiteY1" fmla="*/ 13168 h 25297"/>
                <a:gd name="connsiteX2" fmla="*/ 490 w 38680"/>
                <a:gd name="connsiteY2" fmla="*/ 21467 h 25297"/>
                <a:gd name="connsiteX3" fmla="*/ 6241 w 38680"/>
                <a:gd name="connsiteY3" fmla="*/ 25297 h 25297"/>
                <a:gd name="connsiteX4" fmla="*/ 8797 w 38680"/>
                <a:gd name="connsiteY4" fmla="*/ 24659 h 25297"/>
                <a:gd name="connsiteX5" fmla="*/ 34995 w 38680"/>
                <a:gd name="connsiteY5" fmla="*/ 12529 h 25297"/>
                <a:gd name="connsiteX6" fmla="*/ 38190 w 38680"/>
                <a:gd name="connsiteY6" fmla="*/ 4230 h 25297"/>
                <a:gd name="connsiteX7" fmla="*/ 29883 w 38680"/>
                <a:gd name="connsiteY7" fmla="*/ 400 h 25297"/>
                <a:gd name="connsiteX8" fmla="*/ 29883 w 38680"/>
                <a:gd name="connsiteY8" fmla="*/ 400 h 2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680" h="25297">
                  <a:moveTo>
                    <a:pt x="29883" y="400"/>
                  </a:moveTo>
                  <a:lnTo>
                    <a:pt x="3685" y="13168"/>
                  </a:lnTo>
                  <a:cubicBezTo>
                    <a:pt x="490" y="14445"/>
                    <a:pt x="-788" y="18275"/>
                    <a:pt x="490" y="21467"/>
                  </a:cubicBezTo>
                  <a:cubicBezTo>
                    <a:pt x="1768" y="24021"/>
                    <a:pt x="3685" y="25297"/>
                    <a:pt x="6241" y="25297"/>
                  </a:cubicBezTo>
                  <a:cubicBezTo>
                    <a:pt x="6880" y="25297"/>
                    <a:pt x="8158" y="25297"/>
                    <a:pt x="8797" y="24659"/>
                  </a:cubicBezTo>
                  <a:lnTo>
                    <a:pt x="34995" y="12529"/>
                  </a:lnTo>
                  <a:cubicBezTo>
                    <a:pt x="38190" y="11253"/>
                    <a:pt x="39468" y="7422"/>
                    <a:pt x="38190" y="4230"/>
                  </a:cubicBezTo>
                  <a:cubicBezTo>
                    <a:pt x="36273" y="1038"/>
                    <a:pt x="33078" y="-877"/>
                    <a:pt x="29883" y="400"/>
                  </a:cubicBezTo>
                  <a:lnTo>
                    <a:pt x="29883" y="40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105" name="Graphic 4">
              <a:extLst>
                <a:ext uri="{FF2B5EF4-FFF2-40B4-BE49-F238E27FC236}">
                  <a16:creationId xmlns:a16="http://schemas.microsoft.com/office/drawing/2014/main" id="{49367E23-15F4-2086-87C3-0B6DCD39D9FB}"/>
                </a:ext>
              </a:extLst>
            </p:cNvPr>
            <p:cNvSpPr/>
            <p:nvPr/>
          </p:nvSpPr>
          <p:spPr>
            <a:xfrm>
              <a:off x="2826418" y="1135234"/>
              <a:ext cx="24132" cy="31281"/>
            </a:xfrm>
            <a:custGeom>
              <a:avLst/>
              <a:gdLst>
                <a:gd name="connsiteX0" fmla="*/ 17743 w 24132"/>
                <a:gd name="connsiteY0" fmla="*/ 0 h 31281"/>
                <a:gd name="connsiteX1" fmla="*/ 11353 w 24132"/>
                <a:gd name="connsiteY1" fmla="*/ 6384 h 31281"/>
                <a:gd name="connsiteX2" fmla="*/ 11353 w 24132"/>
                <a:gd name="connsiteY2" fmla="*/ 15322 h 31281"/>
                <a:gd name="connsiteX3" fmla="*/ 3685 w 24132"/>
                <a:gd name="connsiteY3" fmla="*/ 19152 h 31281"/>
                <a:gd name="connsiteX4" fmla="*/ 490 w 24132"/>
                <a:gd name="connsiteY4" fmla="*/ 27451 h 31281"/>
                <a:gd name="connsiteX5" fmla="*/ 490 w 24132"/>
                <a:gd name="connsiteY5" fmla="*/ 27451 h 31281"/>
                <a:gd name="connsiteX6" fmla="*/ 6241 w 24132"/>
                <a:gd name="connsiteY6" fmla="*/ 31282 h 31281"/>
                <a:gd name="connsiteX7" fmla="*/ 8797 w 24132"/>
                <a:gd name="connsiteY7" fmla="*/ 30643 h 31281"/>
                <a:gd name="connsiteX8" fmla="*/ 20299 w 24132"/>
                <a:gd name="connsiteY8" fmla="*/ 25536 h 31281"/>
                <a:gd name="connsiteX9" fmla="*/ 24133 w 24132"/>
                <a:gd name="connsiteY9" fmla="*/ 19790 h 31281"/>
                <a:gd name="connsiteX10" fmla="*/ 24133 w 24132"/>
                <a:gd name="connsiteY10" fmla="*/ 7022 h 31281"/>
                <a:gd name="connsiteX11" fmla="*/ 17743 w 24132"/>
                <a:gd name="connsiteY11" fmla="*/ 0 h 31281"/>
                <a:gd name="connsiteX12" fmla="*/ 17743 w 24132"/>
                <a:gd name="connsiteY12" fmla="*/ 0 h 3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132" h="31281">
                  <a:moveTo>
                    <a:pt x="17743" y="0"/>
                  </a:moveTo>
                  <a:cubicBezTo>
                    <a:pt x="13909" y="0"/>
                    <a:pt x="11353" y="2554"/>
                    <a:pt x="11353" y="6384"/>
                  </a:cubicBezTo>
                  <a:lnTo>
                    <a:pt x="11353" y="15322"/>
                  </a:lnTo>
                  <a:lnTo>
                    <a:pt x="3685" y="19152"/>
                  </a:lnTo>
                  <a:cubicBezTo>
                    <a:pt x="490" y="20429"/>
                    <a:pt x="-788" y="24259"/>
                    <a:pt x="490" y="27451"/>
                  </a:cubicBezTo>
                  <a:cubicBezTo>
                    <a:pt x="490" y="27451"/>
                    <a:pt x="490" y="27451"/>
                    <a:pt x="490" y="27451"/>
                  </a:cubicBezTo>
                  <a:cubicBezTo>
                    <a:pt x="1768" y="30005"/>
                    <a:pt x="3685" y="31282"/>
                    <a:pt x="6241" y="31282"/>
                  </a:cubicBezTo>
                  <a:cubicBezTo>
                    <a:pt x="6880" y="31282"/>
                    <a:pt x="8158" y="31282"/>
                    <a:pt x="8797" y="30643"/>
                  </a:cubicBezTo>
                  <a:lnTo>
                    <a:pt x="20299" y="25536"/>
                  </a:lnTo>
                  <a:cubicBezTo>
                    <a:pt x="22854" y="24259"/>
                    <a:pt x="24133" y="22344"/>
                    <a:pt x="24133" y="19790"/>
                  </a:cubicBezTo>
                  <a:lnTo>
                    <a:pt x="24133" y="7022"/>
                  </a:lnTo>
                  <a:cubicBezTo>
                    <a:pt x="24133" y="2554"/>
                    <a:pt x="21577" y="0"/>
                    <a:pt x="17743" y="0"/>
                  </a:cubicBezTo>
                  <a:cubicBezTo>
                    <a:pt x="17743" y="0"/>
                    <a:pt x="17743" y="0"/>
                    <a:pt x="17743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106" name="Graphic 4">
              <a:extLst>
                <a:ext uri="{FF2B5EF4-FFF2-40B4-BE49-F238E27FC236}">
                  <a16:creationId xmlns:a16="http://schemas.microsoft.com/office/drawing/2014/main" id="{97B344E2-9B3D-6CF3-7B3F-E3D0C553FE58}"/>
                </a:ext>
              </a:extLst>
            </p:cNvPr>
            <p:cNvSpPr/>
            <p:nvPr/>
          </p:nvSpPr>
          <p:spPr>
            <a:xfrm>
              <a:off x="2837771" y="1078417"/>
              <a:ext cx="12779" cy="40857"/>
            </a:xfrm>
            <a:custGeom>
              <a:avLst/>
              <a:gdLst>
                <a:gd name="connsiteX0" fmla="*/ 6390 w 12779"/>
                <a:gd name="connsiteY0" fmla="*/ 0 h 40857"/>
                <a:gd name="connsiteX1" fmla="*/ 0 w 12779"/>
                <a:gd name="connsiteY1" fmla="*/ 6384 h 40857"/>
                <a:gd name="connsiteX2" fmla="*/ 0 w 12779"/>
                <a:gd name="connsiteY2" fmla="*/ 34473 h 40857"/>
                <a:gd name="connsiteX3" fmla="*/ 6390 w 12779"/>
                <a:gd name="connsiteY3" fmla="*/ 40857 h 40857"/>
                <a:gd name="connsiteX4" fmla="*/ 12780 w 12779"/>
                <a:gd name="connsiteY4" fmla="*/ 34473 h 40857"/>
                <a:gd name="connsiteX5" fmla="*/ 12780 w 12779"/>
                <a:gd name="connsiteY5" fmla="*/ 6384 h 40857"/>
                <a:gd name="connsiteX6" fmla="*/ 6390 w 12779"/>
                <a:gd name="connsiteY6" fmla="*/ 0 h 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40857">
                  <a:moveTo>
                    <a:pt x="6390" y="0"/>
                  </a:moveTo>
                  <a:cubicBezTo>
                    <a:pt x="2556" y="0"/>
                    <a:pt x="0" y="2554"/>
                    <a:pt x="0" y="6384"/>
                  </a:cubicBezTo>
                  <a:lnTo>
                    <a:pt x="0" y="34473"/>
                  </a:lnTo>
                  <a:cubicBezTo>
                    <a:pt x="0" y="38304"/>
                    <a:pt x="2556" y="40857"/>
                    <a:pt x="6390" y="40857"/>
                  </a:cubicBezTo>
                  <a:cubicBezTo>
                    <a:pt x="10224" y="40857"/>
                    <a:pt x="12780" y="38304"/>
                    <a:pt x="12780" y="34473"/>
                  </a:cubicBez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107" name="Graphic 4">
              <a:extLst>
                <a:ext uri="{FF2B5EF4-FFF2-40B4-BE49-F238E27FC236}">
                  <a16:creationId xmlns:a16="http://schemas.microsoft.com/office/drawing/2014/main" id="{4E889645-0E00-9025-9C13-1FA0FA773D29}"/>
                </a:ext>
              </a:extLst>
            </p:cNvPr>
            <p:cNvSpPr/>
            <p:nvPr/>
          </p:nvSpPr>
          <p:spPr>
            <a:xfrm>
              <a:off x="2825368" y="1031552"/>
              <a:ext cx="24827" cy="30904"/>
            </a:xfrm>
            <a:custGeom>
              <a:avLst/>
              <a:gdLst>
                <a:gd name="connsiteX0" fmla="*/ 24543 w 24827"/>
                <a:gd name="connsiteY0" fmla="*/ 9199 h 30904"/>
                <a:gd name="connsiteX1" fmla="*/ 23904 w 24827"/>
                <a:gd name="connsiteY1" fmla="*/ 7922 h 30904"/>
                <a:gd name="connsiteX2" fmla="*/ 23265 w 24827"/>
                <a:gd name="connsiteY2" fmla="*/ 7284 h 30904"/>
                <a:gd name="connsiteX3" fmla="*/ 21348 w 24827"/>
                <a:gd name="connsiteY3" fmla="*/ 6007 h 30904"/>
                <a:gd name="connsiteX4" fmla="*/ 9847 w 24827"/>
                <a:gd name="connsiteY4" fmla="*/ 900 h 30904"/>
                <a:gd name="connsiteX5" fmla="*/ 901 w 24827"/>
                <a:gd name="connsiteY5" fmla="*/ 3453 h 30904"/>
                <a:gd name="connsiteX6" fmla="*/ 3457 w 24827"/>
                <a:gd name="connsiteY6" fmla="*/ 12391 h 30904"/>
                <a:gd name="connsiteX7" fmla="*/ 1540 w 24827"/>
                <a:gd name="connsiteY7" fmla="*/ 21329 h 30904"/>
                <a:gd name="connsiteX8" fmla="*/ 6652 w 24827"/>
                <a:gd name="connsiteY8" fmla="*/ 23882 h 30904"/>
                <a:gd name="connsiteX9" fmla="*/ 9208 w 24827"/>
                <a:gd name="connsiteY9" fmla="*/ 23244 h 30904"/>
                <a:gd name="connsiteX10" fmla="*/ 11764 w 24827"/>
                <a:gd name="connsiteY10" fmla="*/ 21967 h 30904"/>
                <a:gd name="connsiteX11" fmla="*/ 11764 w 24827"/>
                <a:gd name="connsiteY11" fmla="*/ 24521 h 30904"/>
                <a:gd name="connsiteX12" fmla="*/ 18154 w 24827"/>
                <a:gd name="connsiteY12" fmla="*/ 30905 h 30904"/>
                <a:gd name="connsiteX13" fmla="*/ 24543 w 24827"/>
                <a:gd name="connsiteY13" fmla="*/ 24521 h 30904"/>
                <a:gd name="connsiteX14" fmla="*/ 24543 w 24827"/>
                <a:gd name="connsiteY14" fmla="*/ 11753 h 30904"/>
                <a:gd name="connsiteX15" fmla="*/ 24543 w 24827"/>
                <a:gd name="connsiteY15" fmla="*/ 9199 h 30904"/>
                <a:gd name="connsiteX16" fmla="*/ 24543 w 24827"/>
                <a:gd name="connsiteY16" fmla="*/ 9199 h 30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27" h="30904">
                  <a:moveTo>
                    <a:pt x="24543" y="9199"/>
                  </a:moveTo>
                  <a:cubicBezTo>
                    <a:pt x="24543" y="8561"/>
                    <a:pt x="23904" y="7922"/>
                    <a:pt x="23904" y="7922"/>
                  </a:cubicBezTo>
                  <a:lnTo>
                    <a:pt x="23265" y="7284"/>
                  </a:lnTo>
                  <a:cubicBezTo>
                    <a:pt x="22627" y="6645"/>
                    <a:pt x="21988" y="6645"/>
                    <a:pt x="21348" y="6007"/>
                  </a:cubicBezTo>
                  <a:lnTo>
                    <a:pt x="9847" y="900"/>
                  </a:lnTo>
                  <a:cubicBezTo>
                    <a:pt x="6652" y="-1015"/>
                    <a:pt x="2818" y="261"/>
                    <a:pt x="901" y="3453"/>
                  </a:cubicBezTo>
                  <a:cubicBezTo>
                    <a:pt x="-1016" y="6645"/>
                    <a:pt x="262" y="10476"/>
                    <a:pt x="3457" y="12391"/>
                  </a:cubicBezTo>
                  <a:cubicBezTo>
                    <a:pt x="262" y="14306"/>
                    <a:pt x="-377" y="18137"/>
                    <a:pt x="1540" y="21329"/>
                  </a:cubicBezTo>
                  <a:cubicBezTo>
                    <a:pt x="2818" y="23244"/>
                    <a:pt x="4735" y="23882"/>
                    <a:pt x="6652" y="23882"/>
                  </a:cubicBezTo>
                  <a:cubicBezTo>
                    <a:pt x="7291" y="23882"/>
                    <a:pt x="8569" y="23882"/>
                    <a:pt x="9208" y="23244"/>
                  </a:cubicBezTo>
                  <a:lnTo>
                    <a:pt x="11764" y="21967"/>
                  </a:lnTo>
                  <a:lnTo>
                    <a:pt x="11764" y="24521"/>
                  </a:lnTo>
                  <a:cubicBezTo>
                    <a:pt x="11764" y="28351"/>
                    <a:pt x="14320" y="30905"/>
                    <a:pt x="18154" y="30905"/>
                  </a:cubicBezTo>
                  <a:cubicBezTo>
                    <a:pt x="21988" y="30905"/>
                    <a:pt x="24543" y="28351"/>
                    <a:pt x="24543" y="24521"/>
                  </a:cubicBezTo>
                  <a:lnTo>
                    <a:pt x="24543" y="11753"/>
                  </a:lnTo>
                  <a:cubicBezTo>
                    <a:pt x="25182" y="11114"/>
                    <a:pt x="24543" y="10476"/>
                    <a:pt x="24543" y="9199"/>
                  </a:cubicBezTo>
                  <a:lnTo>
                    <a:pt x="24543" y="919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</p:grpSp>
      <p:grpSp>
        <p:nvGrpSpPr>
          <p:cNvPr id="108" name="Graphic 4">
            <a:extLst>
              <a:ext uri="{FF2B5EF4-FFF2-40B4-BE49-F238E27FC236}">
                <a16:creationId xmlns:a16="http://schemas.microsoft.com/office/drawing/2014/main" id="{9ECEE4BB-1E42-6718-1E09-EF8C6D6ACB90}"/>
              </a:ext>
            </a:extLst>
          </p:cNvPr>
          <p:cNvGrpSpPr>
            <a:grpSpLocks noChangeAspect="1"/>
          </p:cNvGrpSpPr>
          <p:nvPr/>
        </p:nvGrpSpPr>
        <p:grpSpPr>
          <a:xfrm>
            <a:off x="2145803" y="2532872"/>
            <a:ext cx="602744" cy="602182"/>
            <a:chOff x="1515054" y="918179"/>
            <a:chExt cx="362309" cy="361971"/>
          </a:xfrm>
          <a:solidFill>
            <a:schemeClr val="accent1"/>
          </a:solidFill>
        </p:grpSpPr>
        <p:sp>
          <p:nvSpPr>
            <p:cNvPr id="109" name="Graphic 4">
              <a:extLst>
                <a:ext uri="{FF2B5EF4-FFF2-40B4-BE49-F238E27FC236}">
                  <a16:creationId xmlns:a16="http://schemas.microsoft.com/office/drawing/2014/main" id="{60745D34-38C6-4ED0-D6B6-8E71353D51B7}"/>
                </a:ext>
              </a:extLst>
            </p:cNvPr>
            <p:cNvSpPr/>
            <p:nvPr/>
          </p:nvSpPr>
          <p:spPr>
            <a:xfrm>
              <a:off x="1515054" y="918179"/>
              <a:ext cx="362309" cy="361971"/>
            </a:xfrm>
            <a:custGeom>
              <a:avLst/>
              <a:gdLst>
                <a:gd name="connsiteX0" fmla="*/ 180835 w 362309"/>
                <a:gd name="connsiteY0" fmla="*/ 0 h 361971"/>
                <a:gd name="connsiteX1" fmla="*/ 0 w 362309"/>
                <a:gd name="connsiteY1" fmla="*/ 181305 h 361971"/>
                <a:gd name="connsiteX2" fmla="*/ 180835 w 362309"/>
                <a:gd name="connsiteY2" fmla="*/ 361972 h 361971"/>
                <a:gd name="connsiteX3" fmla="*/ 362309 w 362309"/>
                <a:gd name="connsiteY3" fmla="*/ 181305 h 361971"/>
                <a:gd name="connsiteX4" fmla="*/ 180835 w 362309"/>
                <a:gd name="connsiteY4" fmla="*/ 0 h 361971"/>
                <a:gd name="connsiteX5" fmla="*/ 180835 w 362309"/>
                <a:gd name="connsiteY5" fmla="*/ 0 h 361971"/>
                <a:gd name="connsiteX6" fmla="*/ 180835 w 362309"/>
                <a:gd name="connsiteY6" fmla="*/ 349204 h 361971"/>
                <a:gd name="connsiteX7" fmla="*/ 12780 w 362309"/>
                <a:gd name="connsiteY7" fmla="*/ 180667 h 361971"/>
                <a:gd name="connsiteX8" fmla="*/ 180835 w 362309"/>
                <a:gd name="connsiteY8" fmla="*/ 12768 h 361971"/>
                <a:gd name="connsiteX9" fmla="*/ 349529 w 362309"/>
                <a:gd name="connsiteY9" fmla="*/ 180667 h 361971"/>
                <a:gd name="connsiteX10" fmla="*/ 180835 w 362309"/>
                <a:gd name="connsiteY10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2309" h="361971">
                  <a:moveTo>
                    <a:pt x="180835" y="0"/>
                  </a:moveTo>
                  <a:cubicBezTo>
                    <a:pt x="80513" y="0"/>
                    <a:pt x="0" y="81077"/>
                    <a:pt x="0" y="181305"/>
                  </a:cubicBezTo>
                  <a:cubicBezTo>
                    <a:pt x="0" y="281534"/>
                    <a:pt x="81152" y="361972"/>
                    <a:pt x="180835" y="361972"/>
                  </a:cubicBezTo>
                  <a:cubicBezTo>
                    <a:pt x="280518" y="361972"/>
                    <a:pt x="362309" y="280895"/>
                    <a:pt x="362309" y="181305"/>
                  </a:cubicBezTo>
                  <a:cubicBezTo>
                    <a:pt x="362309" y="81715"/>
                    <a:pt x="280518" y="0"/>
                    <a:pt x="180835" y="0"/>
                  </a:cubicBezTo>
                  <a:lnTo>
                    <a:pt x="180835" y="0"/>
                  </a:lnTo>
                  <a:close/>
                  <a:moveTo>
                    <a:pt x="180835" y="349204"/>
                  </a:moveTo>
                  <a:cubicBezTo>
                    <a:pt x="87542" y="349204"/>
                    <a:pt x="12780" y="273873"/>
                    <a:pt x="12780" y="180667"/>
                  </a:cubicBezTo>
                  <a:cubicBezTo>
                    <a:pt x="12780" y="87461"/>
                    <a:pt x="88181" y="12768"/>
                    <a:pt x="180835" y="12768"/>
                  </a:cubicBezTo>
                  <a:cubicBezTo>
                    <a:pt x="274128" y="12768"/>
                    <a:pt x="349529" y="88099"/>
                    <a:pt x="349529" y="180667"/>
                  </a:cubicBezTo>
                  <a:cubicBezTo>
                    <a:pt x="348891" y="273873"/>
                    <a:pt x="273489" y="349204"/>
                    <a:pt x="180835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110" name="Graphic 4">
              <a:extLst>
                <a:ext uri="{FF2B5EF4-FFF2-40B4-BE49-F238E27FC236}">
                  <a16:creationId xmlns:a16="http://schemas.microsoft.com/office/drawing/2014/main" id="{A2766F93-7975-A63A-DCA2-CE2C8A0E7204}"/>
                </a:ext>
              </a:extLst>
            </p:cNvPr>
            <p:cNvSpPr/>
            <p:nvPr/>
          </p:nvSpPr>
          <p:spPr>
            <a:xfrm>
              <a:off x="1589177" y="981380"/>
              <a:ext cx="214062" cy="234930"/>
            </a:xfrm>
            <a:custGeom>
              <a:avLst/>
              <a:gdLst>
                <a:gd name="connsiteX0" fmla="*/ 198727 w 214062"/>
                <a:gd name="connsiteY0" fmla="*/ 28089 h 234930"/>
                <a:gd name="connsiteX1" fmla="*/ 163582 w 214062"/>
                <a:gd name="connsiteY1" fmla="*/ 28089 h 234930"/>
                <a:gd name="connsiteX2" fmla="*/ 163582 w 214062"/>
                <a:gd name="connsiteY2" fmla="*/ 6384 h 234930"/>
                <a:gd name="connsiteX3" fmla="*/ 157192 w 214062"/>
                <a:gd name="connsiteY3" fmla="*/ 0 h 234930"/>
                <a:gd name="connsiteX4" fmla="*/ 54953 w 214062"/>
                <a:gd name="connsiteY4" fmla="*/ 0 h 234930"/>
                <a:gd name="connsiteX5" fmla="*/ 48563 w 214062"/>
                <a:gd name="connsiteY5" fmla="*/ 6384 h 234930"/>
                <a:gd name="connsiteX6" fmla="*/ 48563 w 214062"/>
                <a:gd name="connsiteY6" fmla="*/ 62563 h 234930"/>
                <a:gd name="connsiteX7" fmla="*/ 54953 w 214062"/>
                <a:gd name="connsiteY7" fmla="*/ 68947 h 234930"/>
                <a:gd name="connsiteX8" fmla="*/ 99683 w 214062"/>
                <a:gd name="connsiteY8" fmla="*/ 68947 h 234930"/>
                <a:gd name="connsiteX9" fmla="*/ 99683 w 214062"/>
                <a:gd name="connsiteY9" fmla="*/ 82992 h 234930"/>
                <a:gd name="connsiteX10" fmla="*/ 54953 w 214062"/>
                <a:gd name="connsiteY10" fmla="*/ 82992 h 234930"/>
                <a:gd name="connsiteX11" fmla="*/ 48563 w 214062"/>
                <a:gd name="connsiteY11" fmla="*/ 89376 h 234930"/>
                <a:gd name="connsiteX12" fmla="*/ 48563 w 214062"/>
                <a:gd name="connsiteY12" fmla="*/ 145555 h 234930"/>
                <a:gd name="connsiteX13" fmla="*/ 54953 w 214062"/>
                <a:gd name="connsiteY13" fmla="*/ 151939 h 234930"/>
                <a:gd name="connsiteX14" fmla="*/ 99683 w 214062"/>
                <a:gd name="connsiteY14" fmla="*/ 151939 h 234930"/>
                <a:gd name="connsiteX15" fmla="*/ 99683 w 214062"/>
                <a:gd name="connsiteY15" fmla="*/ 165984 h 234930"/>
                <a:gd name="connsiteX16" fmla="*/ 54953 w 214062"/>
                <a:gd name="connsiteY16" fmla="*/ 165984 h 234930"/>
                <a:gd name="connsiteX17" fmla="*/ 48563 w 214062"/>
                <a:gd name="connsiteY17" fmla="*/ 172368 h 234930"/>
                <a:gd name="connsiteX18" fmla="*/ 48563 w 214062"/>
                <a:gd name="connsiteY18" fmla="*/ 194073 h 234930"/>
                <a:gd name="connsiteX19" fmla="*/ 14697 w 214062"/>
                <a:gd name="connsiteY19" fmla="*/ 194073 h 234930"/>
                <a:gd name="connsiteX20" fmla="*/ 12780 w 214062"/>
                <a:gd name="connsiteY20" fmla="*/ 192158 h 234930"/>
                <a:gd name="connsiteX21" fmla="*/ 12780 w 214062"/>
                <a:gd name="connsiteY21" fmla="*/ 42134 h 234930"/>
                <a:gd name="connsiteX22" fmla="*/ 14697 w 214062"/>
                <a:gd name="connsiteY22" fmla="*/ 40219 h 234930"/>
                <a:gd name="connsiteX23" fmla="*/ 24282 w 214062"/>
                <a:gd name="connsiteY23" fmla="*/ 40219 h 234930"/>
                <a:gd name="connsiteX24" fmla="*/ 22365 w 214062"/>
                <a:gd name="connsiteY24" fmla="*/ 42134 h 234930"/>
                <a:gd name="connsiteX25" fmla="*/ 22365 w 214062"/>
                <a:gd name="connsiteY25" fmla="*/ 51072 h 234930"/>
                <a:gd name="connsiteX26" fmla="*/ 31311 w 214062"/>
                <a:gd name="connsiteY26" fmla="*/ 51072 h 234930"/>
                <a:gd name="connsiteX27" fmla="*/ 31311 w 214062"/>
                <a:gd name="connsiteY27" fmla="*/ 51072 h 234930"/>
                <a:gd name="connsiteX28" fmla="*/ 44091 w 214062"/>
                <a:gd name="connsiteY28" fmla="*/ 38304 h 234930"/>
                <a:gd name="connsiteX29" fmla="*/ 44091 w 214062"/>
                <a:gd name="connsiteY29" fmla="*/ 29366 h 234930"/>
                <a:gd name="connsiteX30" fmla="*/ 44091 w 214062"/>
                <a:gd name="connsiteY30" fmla="*/ 29366 h 234930"/>
                <a:gd name="connsiteX31" fmla="*/ 31311 w 214062"/>
                <a:gd name="connsiteY31" fmla="*/ 16598 h 234930"/>
                <a:gd name="connsiteX32" fmla="*/ 22365 w 214062"/>
                <a:gd name="connsiteY32" fmla="*/ 16598 h 234930"/>
                <a:gd name="connsiteX33" fmla="*/ 22365 w 214062"/>
                <a:gd name="connsiteY33" fmla="*/ 16598 h 234930"/>
                <a:gd name="connsiteX34" fmla="*/ 22365 w 214062"/>
                <a:gd name="connsiteY34" fmla="*/ 25536 h 234930"/>
                <a:gd name="connsiteX35" fmla="*/ 24282 w 214062"/>
                <a:gd name="connsiteY35" fmla="*/ 27451 h 234930"/>
                <a:gd name="connsiteX36" fmla="*/ 14697 w 214062"/>
                <a:gd name="connsiteY36" fmla="*/ 27451 h 234930"/>
                <a:gd name="connsiteX37" fmla="*/ 0 w 214062"/>
                <a:gd name="connsiteY37" fmla="*/ 42134 h 234930"/>
                <a:gd name="connsiteX38" fmla="*/ 0 w 214062"/>
                <a:gd name="connsiteY38" fmla="*/ 192158 h 234930"/>
                <a:gd name="connsiteX39" fmla="*/ 14697 w 214062"/>
                <a:gd name="connsiteY39" fmla="*/ 206841 h 234930"/>
                <a:gd name="connsiteX40" fmla="*/ 49202 w 214062"/>
                <a:gd name="connsiteY40" fmla="*/ 206841 h 234930"/>
                <a:gd name="connsiteX41" fmla="*/ 49202 w 214062"/>
                <a:gd name="connsiteY41" fmla="*/ 228546 h 234930"/>
                <a:gd name="connsiteX42" fmla="*/ 55592 w 214062"/>
                <a:gd name="connsiteY42" fmla="*/ 234930 h 234930"/>
                <a:gd name="connsiteX43" fmla="*/ 157831 w 214062"/>
                <a:gd name="connsiteY43" fmla="*/ 234930 h 234930"/>
                <a:gd name="connsiteX44" fmla="*/ 164221 w 214062"/>
                <a:gd name="connsiteY44" fmla="*/ 228546 h 234930"/>
                <a:gd name="connsiteX45" fmla="*/ 164221 w 214062"/>
                <a:gd name="connsiteY45" fmla="*/ 172368 h 234930"/>
                <a:gd name="connsiteX46" fmla="*/ 157831 w 214062"/>
                <a:gd name="connsiteY46" fmla="*/ 165984 h 234930"/>
                <a:gd name="connsiteX47" fmla="*/ 113102 w 214062"/>
                <a:gd name="connsiteY47" fmla="*/ 165984 h 234930"/>
                <a:gd name="connsiteX48" fmla="*/ 113102 w 214062"/>
                <a:gd name="connsiteY48" fmla="*/ 151939 h 234930"/>
                <a:gd name="connsiteX49" fmla="*/ 157831 w 214062"/>
                <a:gd name="connsiteY49" fmla="*/ 151939 h 234930"/>
                <a:gd name="connsiteX50" fmla="*/ 164221 w 214062"/>
                <a:gd name="connsiteY50" fmla="*/ 145555 h 234930"/>
                <a:gd name="connsiteX51" fmla="*/ 164221 w 214062"/>
                <a:gd name="connsiteY51" fmla="*/ 89376 h 234930"/>
                <a:gd name="connsiteX52" fmla="*/ 157831 w 214062"/>
                <a:gd name="connsiteY52" fmla="*/ 82992 h 234930"/>
                <a:gd name="connsiteX53" fmla="*/ 113102 w 214062"/>
                <a:gd name="connsiteY53" fmla="*/ 82992 h 234930"/>
                <a:gd name="connsiteX54" fmla="*/ 113102 w 214062"/>
                <a:gd name="connsiteY54" fmla="*/ 68947 h 234930"/>
                <a:gd name="connsiteX55" fmla="*/ 157831 w 214062"/>
                <a:gd name="connsiteY55" fmla="*/ 68947 h 234930"/>
                <a:gd name="connsiteX56" fmla="*/ 164221 w 214062"/>
                <a:gd name="connsiteY56" fmla="*/ 62563 h 234930"/>
                <a:gd name="connsiteX57" fmla="*/ 164221 w 214062"/>
                <a:gd name="connsiteY57" fmla="*/ 40857 h 234930"/>
                <a:gd name="connsiteX58" fmla="*/ 199366 w 214062"/>
                <a:gd name="connsiteY58" fmla="*/ 40857 h 234930"/>
                <a:gd name="connsiteX59" fmla="*/ 201283 w 214062"/>
                <a:gd name="connsiteY59" fmla="*/ 42773 h 234930"/>
                <a:gd name="connsiteX60" fmla="*/ 201283 w 214062"/>
                <a:gd name="connsiteY60" fmla="*/ 42773 h 234930"/>
                <a:gd name="connsiteX61" fmla="*/ 201283 w 214062"/>
                <a:gd name="connsiteY61" fmla="*/ 192796 h 234930"/>
                <a:gd name="connsiteX62" fmla="*/ 199366 w 214062"/>
                <a:gd name="connsiteY62" fmla="*/ 194711 h 234930"/>
                <a:gd name="connsiteX63" fmla="*/ 199366 w 214062"/>
                <a:gd name="connsiteY63" fmla="*/ 194711 h 234930"/>
                <a:gd name="connsiteX64" fmla="*/ 189781 w 214062"/>
                <a:gd name="connsiteY64" fmla="*/ 194711 h 234930"/>
                <a:gd name="connsiteX65" fmla="*/ 191698 w 214062"/>
                <a:gd name="connsiteY65" fmla="*/ 192796 h 234930"/>
                <a:gd name="connsiteX66" fmla="*/ 191698 w 214062"/>
                <a:gd name="connsiteY66" fmla="*/ 183859 h 234930"/>
                <a:gd name="connsiteX67" fmla="*/ 182752 w 214062"/>
                <a:gd name="connsiteY67" fmla="*/ 183859 h 234930"/>
                <a:gd name="connsiteX68" fmla="*/ 169972 w 214062"/>
                <a:gd name="connsiteY68" fmla="*/ 196627 h 234930"/>
                <a:gd name="connsiteX69" fmla="*/ 169972 w 214062"/>
                <a:gd name="connsiteY69" fmla="*/ 205564 h 234930"/>
                <a:gd name="connsiteX70" fmla="*/ 169972 w 214062"/>
                <a:gd name="connsiteY70" fmla="*/ 205564 h 234930"/>
                <a:gd name="connsiteX71" fmla="*/ 182752 w 214062"/>
                <a:gd name="connsiteY71" fmla="*/ 218332 h 234930"/>
                <a:gd name="connsiteX72" fmla="*/ 187225 w 214062"/>
                <a:gd name="connsiteY72" fmla="*/ 220247 h 234930"/>
                <a:gd name="connsiteX73" fmla="*/ 193615 w 214062"/>
                <a:gd name="connsiteY73" fmla="*/ 213863 h 234930"/>
                <a:gd name="connsiteX74" fmla="*/ 191698 w 214062"/>
                <a:gd name="connsiteY74" fmla="*/ 209395 h 234930"/>
                <a:gd name="connsiteX75" fmla="*/ 189781 w 214062"/>
                <a:gd name="connsiteY75" fmla="*/ 207479 h 234930"/>
                <a:gd name="connsiteX76" fmla="*/ 199366 w 214062"/>
                <a:gd name="connsiteY76" fmla="*/ 207479 h 234930"/>
                <a:gd name="connsiteX77" fmla="*/ 214063 w 214062"/>
                <a:gd name="connsiteY77" fmla="*/ 192796 h 234930"/>
                <a:gd name="connsiteX78" fmla="*/ 214063 w 214062"/>
                <a:gd name="connsiteY78" fmla="*/ 192796 h 234930"/>
                <a:gd name="connsiteX79" fmla="*/ 214063 w 214062"/>
                <a:gd name="connsiteY79" fmla="*/ 42773 h 234930"/>
                <a:gd name="connsiteX80" fmla="*/ 198727 w 214062"/>
                <a:gd name="connsiteY80" fmla="*/ 28089 h 234930"/>
                <a:gd name="connsiteX81" fmla="*/ 198727 w 214062"/>
                <a:gd name="connsiteY81" fmla="*/ 28089 h 234930"/>
                <a:gd name="connsiteX82" fmla="*/ 151441 w 214062"/>
                <a:gd name="connsiteY82" fmla="*/ 222163 h 234930"/>
                <a:gd name="connsiteX83" fmla="*/ 61982 w 214062"/>
                <a:gd name="connsiteY83" fmla="*/ 222163 h 234930"/>
                <a:gd name="connsiteX84" fmla="*/ 61982 w 214062"/>
                <a:gd name="connsiteY84" fmla="*/ 178752 h 234930"/>
                <a:gd name="connsiteX85" fmla="*/ 151441 w 214062"/>
                <a:gd name="connsiteY85" fmla="*/ 178752 h 234930"/>
                <a:gd name="connsiteX86" fmla="*/ 151441 w 214062"/>
                <a:gd name="connsiteY86" fmla="*/ 222163 h 234930"/>
                <a:gd name="connsiteX87" fmla="*/ 151441 w 214062"/>
                <a:gd name="connsiteY87" fmla="*/ 139171 h 234930"/>
                <a:gd name="connsiteX88" fmla="*/ 61982 w 214062"/>
                <a:gd name="connsiteY88" fmla="*/ 139171 h 234930"/>
                <a:gd name="connsiteX89" fmla="*/ 61982 w 214062"/>
                <a:gd name="connsiteY89" fmla="*/ 95760 h 234930"/>
                <a:gd name="connsiteX90" fmla="*/ 151441 w 214062"/>
                <a:gd name="connsiteY90" fmla="*/ 95760 h 234930"/>
                <a:gd name="connsiteX91" fmla="*/ 151441 w 214062"/>
                <a:gd name="connsiteY91" fmla="*/ 139171 h 234930"/>
                <a:gd name="connsiteX92" fmla="*/ 151441 w 214062"/>
                <a:gd name="connsiteY92" fmla="*/ 56179 h 234930"/>
                <a:gd name="connsiteX93" fmla="*/ 61982 w 214062"/>
                <a:gd name="connsiteY93" fmla="*/ 56179 h 234930"/>
                <a:gd name="connsiteX94" fmla="*/ 61982 w 214062"/>
                <a:gd name="connsiteY94" fmla="*/ 12768 h 234930"/>
                <a:gd name="connsiteX95" fmla="*/ 151441 w 214062"/>
                <a:gd name="connsiteY95" fmla="*/ 12768 h 234930"/>
                <a:gd name="connsiteX96" fmla="*/ 151441 w 214062"/>
                <a:gd name="connsiteY96" fmla="*/ 56179 h 234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214062" h="234930">
                  <a:moveTo>
                    <a:pt x="198727" y="28089"/>
                  </a:moveTo>
                  <a:lnTo>
                    <a:pt x="163582" y="28089"/>
                  </a:lnTo>
                  <a:lnTo>
                    <a:pt x="163582" y="6384"/>
                  </a:lnTo>
                  <a:cubicBezTo>
                    <a:pt x="163582" y="2554"/>
                    <a:pt x="161026" y="0"/>
                    <a:pt x="157192" y="0"/>
                  </a:cubicBezTo>
                  <a:lnTo>
                    <a:pt x="54953" y="0"/>
                  </a:lnTo>
                  <a:cubicBezTo>
                    <a:pt x="51120" y="0"/>
                    <a:pt x="48563" y="2554"/>
                    <a:pt x="48563" y="6384"/>
                  </a:cubicBezTo>
                  <a:lnTo>
                    <a:pt x="48563" y="62563"/>
                  </a:lnTo>
                  <a:cubicBezTo>
                    <a:pt x="48563" y="66393"/>
                    <a:pt x="51120" y="68947"/>
                    <a:pt x="54953" y="68947"/>
                  </a:cubicBezTo>
                  <a:lnTo>
                    <a:pt x="99683" y="68947"/>
                  </a:lnTo>
                  <a:lnTo>
                    <a:pt x="99683" y="82992"/>
                  </a:lnTo>
                  <a:lnTo>
                    <a:pt x="54953" y="82992"/>
                  </a:lnTo>
                  <a:cubicBezTo>
                    <a:pt x="51120" y="82992"/>
                    <a:pt x="48563" y="85545"/>
                    <a:pt x="48563" y="89376"/>
                  </a:cubicBezTo>
                  <a:lnTo>
                    <a:pt x="48563" y="145555"/>
                  </a:lnTo>
                  <a:cubicBezTo>
                    <a:pt x="48563" y="149385"/>
                    <a:pt x="51120" y="151939"/>
                    <a:pt x="54953" y="151939"/>
                  </a:cubicBezTo>
                  <a:lnTo>
                    <a:pt x="99683" y="151939"/>
                  </a:lnTo>
                  <a:lnTo>
                    <a:pt x="99683" y="165984"/>
                  </a:lnTo>
                  <a:lnTo>
                    <a:pt x="54953" y="165984"/>
                  </a:lnTo>
                  <a:cubicBezTo>
                    <a:pt x="51120" y="165984"/>
                    <a:pt x="48563" y="168537"/>
                    <a:pt x="48563" y="172368"/>
                  </a:cubicBezTo>
                  <a:lnTo>
                    <a:pt x="48563" y="194073"/>
                  </a:lnTo>
                  <a:lnTo>
                    <a:pt x="14697" y="194073"/>
                  </a:lnTo>
                  <a:cubicBezTo>
                    <a:pt x="14058" y="194073"/>
                    <a:pt x="12780" y="193435"/>
                    <a:pt x="12780" y="192158"/>
                  </a:cubicBezTo>
                  <a:lnTo>
                    <a:pt x="12780" y="42134"/>
                  </a:lnTo>
                  <a:cubicBezTo>
                    <a:pt x="12780" y="41496"/>
                    <a:pt x="13419" y="40219"/>
                    <a:pt x="14697" y="40219"/>
                  </a:cubicBezTo>
                  <a:lnTo>
                    <a:pt x="24282" y="40219"/>
                  </a:lnTo>
                  <a:lnTo>
                    <a:pt x="22365" y="42134"/>
                  </a:lnTo>
                  <a:cubicBezTo>
                    <a:pt x="19809" y="44688"/>
                    <a:pt x="19809" y="48518"/>
                    <a:pt x="22365" y="51072"/>
                  </a:cubicBezTo>
                  <a:cubicBezTo>
                    <a:pt x="24921" y="53625"/>
                    <a:pt x="28755" y="53625"/>
                    <a:pt x="31311" y="51072"/>
                  </a:cubicBezTo>
                  <a:cubicBezTo>
                    <a:pt x="31311" y="51072"/>
                    <a:pt x="31311" y="51072"/>
                    <a:pt x="31311" y="51072"/>
                  </a:cubicBezTo>
                  <a:lnTo>
                    <a:pt x="44091" y="38304"/>
                  </a:lnTo>
                  <a:cubicBezTo>
                    <a:pt x="46647" y="35750"/>
                    <a:pt x="46647" y="31920"/>
                    <a:pt x="44091" y="29366"/>
                  </a:cubicBezTo>
                  <a:cubicBezTo>
                    <a:pt x="44091" y="29366"/>
                    <a:pt x="44091" y="29366"/>
                    <a:pt x="44091" y="29366"/>
                  </a:cubicBezTo>
                  <a:lnTo>
                    <a:pt x="31311" y="16598"/>
                  </a:lnTo>
                  <a:cubicBezTo>
                    <a:pt x="28755" y="14045"/>
                    <a:pt x="24921" y="14045"/>
                    <a:pt x="22365" y="16598"/>
                  </a:cubicBezTo>
                  <a:cubicBezTo>
                    <a:pt x="22365" y="16598"/>
                    <a:pt x="22365" y="16598"/>
                    <a:pt x="22365" y="16598"/>
                  </a:cubicBezTo>
                  <a:cubicBezTo>
                    <a:pt x="19809" y="19152"/>
                    <a:pt x="19809" y="22982"/>
                    <a:pt x="22365" y="25536"/>
                  </a:cubicBezTo>
                  <a:lnTo>
                    <a:pt x="24282" y="27451"/>
                  </a:lnTo>
                  <a:lnTo>
                    <a:pt x="14697" y="27451"/>
                  </a:lnTo>
                  <a:cubicBezTo>
                    <a:pt x="7029" y="27451"/>
                    <a:pt x="0" y="33835"/>
                    <a:pt x="0" y="42134"/>
                  </a:cubicBezTo>
                  <a:lnTo>
                    <a:pt x="0" y="192158"/>
                  </a:lnTo>
                  <a:cubicBezTo>
                    <a:pt x="0" y="199819"/>
                    <a:pt x="6390" y="206841"/>
                    <a:pt x="14697" y="206841"/>
                  </a:cubicBezTo>
                  <a:lnTo>
                    <a:pt x="49202" y="206841"/>
                  </a:lnTo>
                  <a:lnTo>
                    <a:pt x="49202" y="228546"/>
                  </a:lnTo>
                  <a:cubicBezTo>
                    <a:pt x="49202" y="232377"/>
                    <a:pt x="51758" y="234930"/>
                    <a:pt x="55592" y="234930"/>
                  </a:cubicBezTo>
                  <a:lnTo>
                    <a:pt x="157831" y="234930"/>
                  </a:lnTo>
                  <a:cubicBezTo>
                    <a:pt x="161665" y="234930"/>
                    <a:pt x="164221" y="232377"/>
                    <a:pt x="164221" y="228546"/>
                  </a:cubicBezTo>
                  <a:lnTo>
                    <a:pt x="164221" y="172368"/>
                  </a:lnTo>
                  <a:cubicBezTo>
                    <a:pt x="164221" y="168537"/>
                    <a:pt x="161665" y="165984"/>
                    <a:pt x="157831" y="165984"/>
                  </a:cubicBezTo>
                  <a:lnTo>
                    <a:pt x="113102" y="165984"/>
                  </a:lnTo>
                  <a:lnTo>
                    <a:pt x="113102" y="151939"/>
                  </a:lnTo>
                  <a:lnTo>
                    <a:pt x="157831" y="151939"/>
                  </a:lnTo>
                  <a:cubicBezTo>
                    <a:pt x="161665" y="151939"/>
                    <a:pt x="164221" y="149385"/>
                    <a:pt x="164221" y="145555"/>
                  </a:cubicBezTo>
                  <a:lnTo>
                    <a:pt x="164221" y="89376"/>
                  </a:lnTo>
                  <a:cubicBezTo>
                    <a:pt x="164221" y="85545"/>
                    <a:pt x="161665" y="82992"/>
                    <a:pt x="157831" y="82992"/>
                  </a:cubicBezTo>
                  <a:lnTo>
                    <a:pt x="113102" y="82992"/>
                  </a:lnTo>
                  <a:lnTo>
                    <a:pt x="113102" y="68947"/>
                  </a:lnTo>
                  <a:lnTo>
                    <a:pt x="157831" y="68947"/>
                  </a:lnTo>
                  <a:cubicBezTo>
                    <a:pt x="161665" y="68947"/>
                    <a:pt x="164221" y="66393"/>
                    <a:pt x="164221" y="62563"/>
                  </a:cubicBezTo>
                  <a:lnTo>
                    <a:pt x="164221" y="40857"/>
                  </a:lnTo>
                  <a:lnTo>
                    <a:pt x="199366" y="40857"/>
                  </a:lnTo>
                  <a:cubicBezTo>
                    <a:pt x="200005" y="40857"/>
                    <a:pt x="201283" y="41496"/>
                    <a:pt x="201283" y="42773"/>
                  </a:cubicBezTo>
                  <a:lnTo>
                    <a:pt x="201283" y="42773"/>
                  </a:lnTo>
                  <a:lnTo>
                    <a:pt x="201283" y="192796"/>
                  </a:lnTo>
                  <a:cubicBezTo>
                    <a:pt x="201283" y="193435"/>
                    <a:pt x="200644" y="194711"/>
                    <a:pt x="199366" y="194711"/>
                  </a:cubicBezTo>
                  <a:lnTo>
                    <a:pt x="199366" y="194711"/>
                  </a:lnTo>
                  <a:lnTo>
                    <a:pt x="189781" y="194711"/>
                  </a:lnTo>
                  <a:lnTo>
                    <a:pt x="191698" y="192796"/>
                  </a:lnTo>
                  <a:cubicBezTo>
                    <a:pt x="194254" y="190243"/>
                    <a:pt x="194254" y="186412"/>
                    <a:pt x="191698" y="183859"/>
                  </a:cubicBezTo>
                  <a:cubicBezTo>
                    <a:pt x="189142" y="181305"/>
                    <a:pt x="185308" y="181305"/>
                    <a:pt x="182752" y="183859"/>
                  </a:cubicBezTo>
                  <a:lnTo>
                    <a:pt x="169972" y="196627"/>
                  </a:lnTo>
                  <a:cubicBezTo>
                    <a:pt x="167416" y="199180"/>
                    <a:pt x="167416" y="203011"/>
                    <a:pt x="169972" y="205564"/>
                  </a:cubicBezTo>
                  <a:cubicBezTo>
                    <a:pt x="169972" y="205564"/>
                    <a:pt x="169972" y="205564"/>
                    <a:pt x="169972" y="205564"/>
                  </a:cubicBezTo>
                  <a:lnTo>
                    <a:pt x="182752" y="218332"/>
                  </a:lnTo>
                  <a:cubicBezTo>
                    <a:pt x="184030" y="219609"/>
                    <a:pt x="185308" y="220247"/>
                    <a:pt x="187225" y="220247"/>
                  </a:cubicBezTo>
                  <a:cubicBezTo>
                    <a:pt x="191059" y="220247"/>
                    <a:pt x="193615" y="217055"/>
                    <a:pt x="193615" y="213863"/>
                  </a:cubicBezTo>
                  <a:cubicBezTo>
                    <a:pt x="193615" y="211948"/>
                    <a:pt x="192976" y="210671"/>
                    <a:pt x="191698" y="209395"/>
                  </a:cubicBezTo>
                  <a:lnTo>
                    <a:pt x="189781" y="207479"/>
                  </a:lnTo>
                  <a:lnTo>
                    <a:pt x="199366" y="207479"/>
                  </a:lnTo>
                  <a:cubicBezTo>
                    <a:pt x="207034" y="207479"/>
                    <a:pt x="214063" y="201095"/>
                    <a:pt x="214063" y="192796"/>
                  </a:cubicBezTo>
                  <a:lnTo>
                    <a:pt x="214063" y="192796"/>
                  </a:lnTo>
                  <a:lnTo>
                    <a:pt x="214063" y="42773"/>
                  </a:lnTo>
                  <a:cubicBezTo>
                    <a:pt x="213424" y="34473"/>
                    <a:pt x="207034" y="28089"/>
                    <a:pt x="198727" y="28089"/>
                  </a:cubicBezTo>
                  <a:lnTo>
                    <a:pt x="198727" y="28089"/>
                  </a:lnTo>
                  <a:close/>
                  <a:moveTo>
                    <a:pt x="151441" y="222163"/>
                  </a:moveTo>
                  <a:lnTo>
                    <a:pt x="61982" y="222163"/>
                  </a:lnTo>
                  <a:lnTo>
                    <a:pt x="61982" y="178752"/>
                  </a:lnTo>
                  <a:lnTo>
                    <a:pt x="151441" y="178752"/>
                  </a:lnTo>
                  <a:lnTo>
                    <a:pt x="151441" y="222163"/>
                  </a:lnTo>
                  <a:close/>
                  <a:moveTo>
                    <a:pt x="151441" y="139171"/>
                  </a:moveTo>
                  <a:lnTo>
                    <a:pt x="61982" y="139171"/>
                  </a:lnTo>
                  <a:lnTo>
                    <a:pt x="61982" y="95760"/>
                  </a:lnTo>
                  <a:lnTo>
                    <a:pt x="151441" y="95760"/>
                  </a:lnTo>
                  <a:lnTo>
                    <a:pt x="151441" y="139171"/>
                  </a:lnTo>
                  <a:close/>
                  <a:moveTo>
                    <a:pt x="151441" y="56179"/>
                  </a:moveTo>
                  <a:lnTo>
                    <a:pt x="61982" y="56179"/>
                  </a:lnTo>
                  <a:lnTo>
                    <a:pt x="61982" y="12768"/>
                  </a:lnTo>
                  <a:lnTo>
                    <a:pt x="151441" y="12768"/>
                  </a:lnTo>
                  <a:lnTo>
                    <a:pt x="151441" y="5617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111" name="Graphic 4">
              <a:extLst>
                <a:ext uri="{FF2B5EF4-FFF2-40B4-BE49-F238E27FC236}">
                  <a16:creationId xmlns:a16="http://schemas.microsoft.com/office/drawing/2014/main" id="{D1AD4D07-8420-7DF9-EF6B-D46BAA27A275}"/>
                </a:ext>
              </a:extLst>
            </p:cNvPr>
            <p:cNvSpPr/>
            <p:nvPr/>
          </p:nvSpPr>
          <p:spPr>
            <a:xfrm>
              <a:off x="1674163" y="1089269"/>
              <a:ext cx="20447" cy="20428"/>
            </a:xfrm>
            <a:custGeom>
              <a:avLst/>
              <a:gdLst>
                <a:gd name="connsiteX0" fmla="*/ 10224 w 20447"/>
                <a:gd name="connsiteY0" fmla="*/ 0 h 20428"/>
                <a:gd name="connsiteX1" fmla="*/ 0 w 20447"/>
                <a:gd name="connsiteY1" fmla="*/ 10214 h 20428"/>
                <a:gd name="connsiteX2" fmla="*/ 10224 w 20447"/>
                <a:gd name="connsiteY2" fmla="*/ 20429 h 20428"/>
                <a:gd name="connsiteX3" fmla="*/ 20448 w 20447"/>
                <a:gd name="connsiteY3" fmla="*/ 10214 h 20428"/>
                <a:gd name="connsiteX4" fmla="*/ 20448 w 20447"/>
                <a:gd name="connsiteY4" fmla="*/ 10214 h 20428"/>
                <a:gd name="connsiteX5" fmla="*/ 10224 w 20447"/>
                <a:gd name="connsiteY5" fmla="*/ 0 h 20428"/>
                <a:gd name="connsiteX6" fmla="*/ 10224 w 20447"/>
                <a:gd name="connsiteY6" fmla="*/ 12768 h 20428"/>
                <a:gd name="connsiteX7" fmla="*/ 7668 w 20447"/>
                <a:gd name="connsiteY7" fmla="*/ 10214 h 20428"/>
                <a:gd name="connsiteX8" fmla="*/ 10224 w 20447"/>
                <a:gd name="connsiteY8" fmla="*/ 7661 h 20428"/>
                <a:gd name="connsiteX9" fmla="*/ 10224 w 20447"/>
                <a:gd name="connsiteY9" fmla="*/ 7661 h 20428"/>
                <a:gd name="connsiteX10" fmla="*/ 12780 w 20447"/>
                <a:gd name="connsiteY10" fmla="*/ 10214 h 20428"/>
                <a:gd name="connsiteX11" fmla="*/ 10224 w 20447"/>
                <a:gd name="connsiteY11" fmla="*/ 12768 h 20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447" h="20428">
                  <a:moveTo>
                    <a:pt x="10224" y="0"/>
                  </a:moveTo>
                  <a:cubicBezTo>
                    <a:pt x="4473" y="0"/>
                    <a:pt x="0" y="4469"/>
                    <a:pt x="0" y="10214"/>
                  </a:cubicBezTo>
                  <a:cubicBezTo>
                    <a:pt x="0" y="15960"/>
                    <a:pt x="4473" y="20429"/>
                    <a:pt x="10224" y="20429"/>
                  </a:cubicBezTo>
                  <a:cubicBezTo>
                    <a:pt x="15975" y="20429"/>
                    <a:pt x="20448" y="15960"/>
                    <a:pt x="20448" y="10214"/>
                  </a:cubicBezTo>
                  <a:cubicBezTo>
                    <a:pt x="20448" y="10214"/>
                    <a:pt x="20448" y="10214"/>
                    <a:pt x="20448" y="10214"/>
                  </a:cubicBezTo>
                  <a:cubicBezTo>
                    <a:pt x="19809" y="4469"/>
                    <a:pt x="15336" y="0"/>
                    <a:pt x="10224" y="0"/>
                  </a:cubicBezTo>
                  <a:close/>
                  <a:moveTo>
                    <a:pt x="10224" y="12768"/>
                  </a:moveTo>
                  <a:cubicBezTo>
                    <a:pt x="8946" y="12768"/>
                    <a:pt x="7668" y="11491"/>
                    <a:pt x="7668" y="10214"/>
                  </a:cubicBezTo>
                  <a:cubicBezTo>
                    <a:pt x="7668" y="8938"/>
                    <a:pt x="8946" y="7661"/>
                    <a:pt x="10224" y="7661"/>
                  </a:cubicBezTo>
                  <a:lnTo>
                    <a:pt x="10224" y="7661"/>
                  </a:lnTo>
                  <a:cubicBezTo>
                    <a:pt x="11502" y="7661"/>
                    <a:pt x="12780" y="8938"/>
                    <a:pt x="12780" y="10214"/>
                  </a:cubicBezTo>
                  <a:cubicBezTo>
                    <a:pt x="12780" y="11491"/>
                    <a:pt x="11502" y="12768"/>
                    <a:pt x="10224" y="1276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112" name="Graphic 4">
              <a:extLst>
                <a:ext uri="{FF2B5EF4-FFF2-40B4-BE49-F238E27FC236}">
                  <a16:creationId xmlns:a16="http://schemas.microsoft.com/office/drawing/2014/main" id="{103FB756-8067-2753-5E1C-CE372FEFBD6C}"/>
                </a:ext>
              </a:extLst>
            </p:cNvPr>
            <p:cNvSpPr/>
            <p:nvPr/>
          </p:nvSpPr>
          <p:spPr>
            <a:xfrm>
              <a:off x="1685665" y="1005639"/>
              <a:ext cx="20447" cy="20428"/>
            </a:xfrm>
            <a:custGeom>
              <a:avLst/>
              <a:gdLst>
                <a:gd name="connsiteX0" fmla="*/ 10224 w 20447"/>
                <a:gd name="connsiteY0" fmla="*/ 20429 h 20428"/>
                <a:gd name="connsiteX1" fmla="*/ 20448 w 20447"/>
                <a:gd name="connsiteY1" fmla="*/ 10214 h 20428"/>
                <a:gd name="connsiteX2" fmla="*/ 10224 w 20447"/>
                <a:gd name="connsiteY2" fmla="*/ 0 h 20428"/>
                <a:gd name="connsiteX3" fmla="*/ 0 w 20447"/>
                <a:gd name="connsiteY3" fmla="*/ 10214 h 20428"/>
                <a:gd name="connsiteX4" fmla="*/ 0 w 20447"/>
                <a:gd name="connsiteY4" fmla="*/ 10214 h 20428"/>
                <a:gd name="connsiteX5" fmla="*/ 10224 w 20447"/>
                <a:gd name="connsiteY5" fmla="*/ 20429 h 20428"/>
                <a:gd name="connsiteX6" fmla="*/ 10224 w 20447"/>
                <a:gd name="connsiteY6" fmla="*/ 7661 h 20428"/>
                <a:gd name="connsiteX7" fmla="*/ 12780 w 20447"/>
                <a:gd name="connsiteY7" fmla="*/ 10214 h 20428"/>
                <a:gd name="connsiteX8" fmla="*/ 12780 w 20447"/>
                <a:gd name="connsiteY8" fmla="*/ 10214 h 20428"/>
                <a:gd name="connsiteX9" fmla="*/ 10224 w 20447"/>
                <a:gd name="connsiteY9" fmla="*/ 12768 h 20428"/>
                <a:gd name="connsiteX10" fmla="*/ 7668 w 20447"/>
                <a:gd name="connsiteY10" fmla="*/ 10214 h 20428"/>
                <a:gd name="connsiteX11" fmla="*/ 10224 w 20447"/>
                <a:gd name="connsiteY11" fmla="*/ 7661 h 20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447" h="20428">
                  <a:moveTo>
                    <a:pt x="10224" y="20429"/>
                  </a:moveTo>
                  <a:cubicBezTo>
                    <a:pt x="15975" y="20429"/>
                    <a:pt x="20448" y="15960"/>
                    <a:pt x="20448" y="10214"/>
                  </a:cubicBezTo>
                  <a:cubicBezTo>
                    <a:pt x="20448" y="4469"/>
                    <a:pt x="15975" y="0"/>
                    <a:pt x="10224" y="0"/>
                  </a:cubicBezTo>
                  <a:cubicBezTo>
                    <a:pt x="4473" y="0"/>
                    <a:pt x="0" y="4469"/>
                    <a:pt x="0" y="10214"/>
                  </a:cubicBezTo>
                  <a:cubicBezTo>
                    <a:pt x="0" y="10214"/>
                    <a:pt x="0" y="10214"/>
                    <a:pt x="0" y="10214"/>
                  </a:cubicBezTo>
                  <a:cubicBezTo>
                    <a:pt x="0" y="15960"/>
                    <a:pt x="4473" y="20429"/>
                    <a:pt x="10224" y="20429"/>
                  </a:cubicBezTo>
                  <a:close/>
                  <a:moveTo>
                    <a:pt x="10224" y="7661"/>
                  </a:moveTo>
                  <a:cubicBezTo>
                    <a:pt x="11502" y="7661"/>
                    <a:pt x="12780" y="8938"/>
                    <a:pt x="12780" y="10214"/>
                  </a:cubicBezTo>
                  <a:lnTo>
                    <a:pt x="12780" y="10214"/>
                  </a:lnTo>
                  <a:cubicBezTo>
                    <a:pt x="12780" y="11491"/>
                    <a:pt x="11502" y="12768"/>
                    <a:pt x="10224" y="12768"/>
                  </a:cubicBezTo>
                  <a:cubicBezTo>
                    <a:pt x="8946" y="12768"/>
                    <a:pt x="7668" y="11491"/>
                    <a:pt x="7668" y="10214"/>
                  </a:cubicBezTo>
                  <a:cubicBezTo>
                    <a:pt x="7029" y="8938"/>
                    <a:pt x="8307" y="7661"/>
                    <a:pt x="10224" y="766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113" name="Graphic 4">
              <a:extLst>
                <a:ext uri="{FF2B5EF4-FFF2-40B4-BE49-F238E27FC236}">
                  <a16:creationId xmlns:a16="http://schemas.microsoft.com/office/drawing/2014/main" id="{06937C7C-46BE-E3DF-D559-756A8D0E4C81}"/>
                </a:ext>
              </a:extLst>
            </p:cNvPr>
            <p:cNvSpPr/>
            <p:nvPr/>
          </p:nvSpPr>
          <p:spPr>
            <a:xfrm>
              <a:off x="1696528" y="1088631"/>
              <a:ext cx="20447" cy="20428"/>
            </a:xfrm>
            <a:custGeom>
              <a:avLst/>
              <a:gdLst>
                <a:gd name="connsiteX0" fmla="*/ 10224 w 20447"/>
                <a:gd name="connsiteY0" fmla="*/ 20429 h 20428"/>
                <a:gd name="connsiteX1" fmla="*/ 20448 w 20447"/>
                <a:gd name="connsiteY1" fmla="*/ 10214 h 20428"/>
                <a:gd name="connsiteX2" fmla="*/ 10224 w 20447"/>
                <a:gd name="connsiteY2" fmla="*/ 0 h 20428"/>
                <a:gd name="connsiteX3" fmla="*/ 0 w 20447"/>
                <a:gd name="connsiteY3" fmla="*/ 10214 h 20428"/>
                <a:gd name="connsiteX4" fmla="*/ 0 w 20447"/>
                <a:gd name="connsiteY4" fmla="*/ 10214 h 20428"/>
                <a:gd name="connsiteX5" fmla="*/ 10224 w 20447"/>
                <a:gd name="connsiteY5" fmla="*/ 20429 h 20428"/>
                <a:gd name="connsiteX6" fmla="*/ 10224 w 20447"/>
                <a:gd name="connsiteY6" fmla="*/ 20429 h 20428"/>
                <a:gd name="connsiteX7" fmla="*/ 10224 w 20447"/>
                <a:gd name="connsiteY7" fmla="*/ 7661 h 20428"/>
                <a:gd name="connsiteX8" fmla="*/ 12780 w 20447"/>
                <a:gd name="connsiteY8" fmla="*/ 10214 h 20428"/>
                <a:gd name="connsiteX9" fmla="*/ 10224 w 20447"/>
                <a:gd name="connsiteY9" fmla="*/ 12768 h 20428"/>
                <a:gd name="connsiteX10" fmla="*/ 7668 w 20447"/>
                <a:gd name="connsiteY10" fmla="*/ 10214 h 20428"/>
                <a:gd name="connsiteX11" fmla="*/ 10224 w 20447"/>
                <a:gd name="connsiteY11" fmla="*/ 7661 h 20428"/>
                <a:gd name="connsiteX12" fmla="*/ 10224 w 20447"/>
                <a:gd name="connsiteY12" fmla="*/ 7661 h 20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447" h="20428">
                  <a:moveTo>
                    <a:pt x="10224" y="20429"/>
                  </a:moveTo>
                  <a:cubicBezTo>
                    <a:pt x="15975" y="20429"/>
                    <a:pt x="20448" y="15960"/>
                    <a:pt x="20448" y="10214"/>
                  </a:cubicBezTo>
                  <a:cubicBezTo>
                    <a:pt x="20448" y="4469"/>
                    <a:pt x="15975" y="0"/>
                    <a:pt x="10224" y="0"/>
                  </a:cubicBezTo>
                  <a:cubicBezTo>
                    <a:pt x="4473" y="0"/>
                    <a:pt x="0" y="4469"/>
                    <a:pt x="0" y="10214"/>
                  </a:cubicBezTo>
                  <a:cubicBezTo>
                    <a:pt x="0" y="10214"/>
                    <a:pt x="0" y="10214"/>
                    <a:pt x="0" y="10214"/>
                  </a:cubicBezTo>
                  <a:cubicBezTo>
                    <a:pt x="639" y="15960"/>
                    <a:pt x="5112" y="20429"/>
                    <a:pt x="10224" y="20429"/>
                  </a:cubicBezTo>
                  <a:cubicBezTo>
                    <a:pt x="10224" y="20429"/>
                    <a:pt x="10224" y="20429"/>
                    <a:pt x="10224" y="20429"/>
                  </a:cubicBezTo>
                  <a:close/>
                  <a:moveTo>
                    <a:pt x="10224" y="7661"/>
                  </a:moveTo>
                  <a:cubicBezTo>
                    <a:pt x="11502" y="7661"/>
                    <a:pt x="12780" y="8938"/>
                    <a:pt x="12780" y="10214"/>
                  </a:cubicBezTo>
                  <a:cubicBezTo>
                    <a:pt x="12780" y="11491"/>
                    <a:pt x="11502" y="12768"/>
                    <a:pt x="10224" y="12768"/>
                  </a:cubicBezTo>
                  <a:cubicBezTo>
                    <a:pt x="8946" y="12768"/>
                    <a:pt x="7668" y="11491"/>
                    <a:pt x="7668" y="10214"/>
                  </a:cubicBezTo>
                  <a:cubicBezTo>
                    <a:pt x="7668" y="8938"/>
                    <a:pt x="8946" y="7661"/>
                    <a:pt x="10224" y="7661"/>
                  </a:cubicBezTo>
                  <a:lnTo>
                    <a:pt x="10224" y="766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114" name="Graphic 4">
              <a:extLst>
                <a:ext uri="{FF2B5EF4-FFF2-40B4-BE49-F238E27FC236}">
                  <a16:creationId xmlns:a16="http://schemas.microsoft.com/office/drawing/2014/main" id="{5EEFE613-0974-727F-03CD-6CA7FFE481A5}"/>
                </a:ext>
              </a:extLst>
            </p:cNvPr>
            <p:cNvSpPr/>
            <p:nvPr/>
          </p:nvSpPr>
          <p:spPr>
            <a:xfrm>
              <a:off x="1685665" y="1171623"/>
              <a:ext cx="20447" cy="20428"/>
            </a:xfrm>
            <a:custGeom>
              <a:avLst/>
              <a:gdLst>
                <a:gd name="connsiteX0" fmla="*/ 10224 w 20447"/>
                <a:gd name="connsiteY0" fmla="*/ 20429 h 20428"/>
                <a:gd name="connsiteX1" fmla="*/ 20448 w 20447"/>
                <a:gd name="connsiteY1" fmla="*/ 10214 h 20428"/>
                <a:gd name="connsiteX2" fmla="*/ 10224 w 20447"/>
                <a:gd name="connsiteY2" fmla="*/ 0 h 20428"/>
                <a:gd name="connsiteX3" fmla="*/ 0 w 20447"/>
                <a:gd name="connsiteY3" fmla="*/ 10214 h 20428"/>
                <a:gd name="connsiteX4" fmla="*/ 0 w 20447"/>
                <a:gd name="connsiteY4" fmla="*/ 10214 h 20428"/>
                <a:gd name="connsiteX5" fmla="*/ 10224 w 20447"/>
                <a:gd name="connsiteY5" fmla="*/ 20429 h 20428"/>
                <a:gd name="connsiteX6" fmla="*/ 10224 w 20447"/>
                <a:gd name="connsiteY6" fmla="*/ 7661 h 20428"/>
                <a:gd name="connsiteX7" fmla="*/ 12780 w 20447"/>
                <a:gd name="connsiteY7" fmla="*/ 10214 h 20428"/>
                <a:gd name="connsiteX8" fmla="*/ 10224 w 20447"/>
                <a:gd name="connsiteY8" fmla="*/ 12768 h 20428"/>
                <a:gd name="connsiteX9" fmla="*/ 10224 w 20447"/>
                <a:gd name="connsiteY9" fmla="*/ 12768 h 20428"/>
                <a:gd name="connsiteX10" fmla="*/ 7668 w 20447"/>
                <a:gd name="connsiteY10" fmla="*/ 10214 h 20428"/>
                <a:gd name="connsiteX11" fmla="*/ 10224 w 20447"/>
                <a:gd name="connsiteY11" fmla="*/ 7661 h 20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447" h="20428">
                  <a:moveTo>
                    <a:pt x="10224" y="20429"/>
                  </a:moveTo>
                  <a:cubicBezTo>
                    <a:pt x="15975" y="20429"/>
                    <a:pt x="20448" y="15960"/>
                    <a:pt x="20448" y="10214"/>
                  </a:cubicBezTo>
                  <a:cubicBezTo>
                    <a:pt x="20448" y="4469"/>
                    <a:pt x="15975" y="0"/>
                    <a:pt x="10224" y="0"/>
                  </a:cubicBezTo>
                  <a:cubicBezTo>
                    <a:pt x="4473" y="0"/>
                    <a:pt x="0" y="4469"/>
                    <a:pt x="0" y="10214"/>
                  </a:cubicBezTo>
                  <a:cubicBezTo>
                    <a:pt x="0" y="10214"/>
                    <a:pt x="0" y="10214"/>
                    <a:pt x="0" y="10214"/>
                  </a:cubicBezTo>
                  <a:cubicBezTo>
                    <a:pt x="0" y="15960"/>
                    <a:pt x="4473" y="20429"/>
                    <a:pt x="10224" y="20429"/>
                  </a:cubicBezTo>
                  <a:close/>
                  <a:moveTo>
                    <a:pt x="10224" y="7661"/>
                  </a:moveTo>
                  <a:cubicBezTo>
                    <a:pt x="11502" y="7661"/>
                    <a:pt x="12780" y="8938"/>
                    <a:pt x="12780" y="10214"/>
                  </a:cubicBezTo>
                  <a:cubicBezTo>
                    <a:pt x="12780" y="11491"/>
                    <a:pt x="11502" y="12768"/>
                    <a:pt x="10224" y="12768"/>
                  </a:cubicBezTo>
                  <a:lnTo>
                    <a:pt x="10224" y="12768"/>
                  </a:lnTo>
                  <a:cubicBezTo>
                    <a:pt x="8946" y="12768"/>
                    <a:pt x="7668" y="11491"/>
                    <a:pt x="7668" y="10214"/>
                  </a:cubicBezTo>
                  <a:cubicBezTo>
                    <a:pt x="7668" y="8938"/>
                    <a:pt x="8307" y="7661"/>
                    <a:pt x="10224" y="766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115" name="Graphic 4">
              <a:extLst>
                <a:ext uri="{FF2B5EF4-FFF2-40B4-BE49-F238E27FC236}">
                  <a16:creationId xmlns:a16="http://schemas.microsoft.com/office/drawing/2014/main" id="{2C1093D7-0247-C5E3-59C8-77B7C14BB345}"/>
                </a:ext>
              </a:extLst>
            </p:cNvPr>
            <p:cNvSpPr/>
            <p:nvPr/>
          </p:nvSpPr>
          <p:spPr>
            <a:xfrm>
              <a:off x="1660744" y="1171623"/>
              <a:ext cx="20447" cy="20428"/>
            </a:xfrm>
            <a:custGeom>
              <a:avLst/>
              <a:gdLst>
                <a:gd name="connsiteX0" fmla="*/ 10224 w 20447"/>
                <a:gd name="connsiteY0" fmla="*/ 20429 h 20428"/>
                <a:gd name="connsiteX1" fmla="*/ 20448 w 20447"/>
                <a:gd name="connsiteY1" fmla="*/ 10214 h 20428"/>
                <a:gd name="connsiteX2" fmla="*/ 10224 w 20447"/>
                <a:gd name="connsiteY2" fmla="*/ 0 h 20428"/>
                <a:gd name="connsiteX3" fmla="*/ 0 w 20447"/>
                <a:gd name="connsiteY3" fmla="*/ 10214 h 20428"/>
                <a:gd name="connsiteX4" fmla="*/ 10224 w 20447"/>
                <a:gd name="connsiteY4" fmla="*/ 20429 h 20428"/>
                <a:gd name="connsiteX5" fmla="*/ 10224 w 20447"/>
                <a:gd name="connsiteY5" fmla="*/ 20429 h 20428"/>
                <a:gd name="connsiteX6" fmla="*/ 10224 w 20447"/>
                <a:gd name="connsiteY6" fmla="*/ 7661 h 20428"/>
                <a:gd name="connsiteX7" fmla="*/ 12780 w 20447"/>
                <a:gd name="connsiteY7" fmla="*/ 10214 h 20428"/>
                <a:gd name="connsiteX8" fmla="*/ 10224 w 20447"/>
                <a:gd name="connsiteY8" fmla="*/ 12768 h 20428"/>
                <a:gd name="connsiteX9" fmla="*/ 7668 w 20447"/>
                <a:gd name="connsiteY9" fmla="*/ 10214 h 20428"/>
                <a:gd name="connsiteX10" fmla="*/ 7668 w 20447"/>
                <a:gd name="connsiteY10" fmla="*/ 10214 h 20428"/>
                <a:gd name="connsiteX11" fmla="*/ 10224 w 20447"/>
                <a:gd name="connsiteY11" fmla="*/ 7661 h 20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447" h="20428">
                  <a:moveTo>
                    <a:pt x="10224" y="20429"/>
                  </a:moveTo>
                  <a:cubicBezTo>
                    <a:pt x="15975" y="20429"/>
                    <a:pt x="20448" y="15960"/>
                    <a:pt x="20448" y="10214"/>
                  </a:cubicBezTo>
                  <a:cubicBezTo>
                    <a:pt x="20448" y="4469"/>
                    <a:pt x="15975" y="0"/>
                    <a:pt x="10224" y="0"/>
                  </a:cubicBezTo>
                  <a:cubicBezTo>
                    <a:pt x="4473" y="0"/>
                    <a:pt x="0" y="4469"/>
                    <a:pt x="0" y="10214"/>
                  </a:cubicBezTo>
                  <a:cubicBezTo>
                    <a:pt x="0" y="15960"/>
                    <a:pt x="4473" y="20429"/>
                    <a:pt x="10224" y="20429"/>
                  </a:cubicBezTo>
                  <a:lnTo>
                    <a:pt x="10224" y="20429"/>
                  </a:lnTo>
                  <a:close/>
                  <a:moveTo>
                    <a:pt x="10224" y="7661"/>
                  </a:moveTo>
                  <a:cubicBezTo>
                    <a:pt x="11502" y="7661"/>
                    <a:pt x="12780" y="8938"/>
                    <a:pt x="12780" y="10214"/>
                  </a:cubicBezTo>
                  <a:cubicBezTo>
                    <a:pt x="12780" y="11491"/>
                    <a:pt x="11502" y="12768"/>
                    <a:pt x="10224" y="12768"/>
                  </a:cubicBezTo>
                  <a:cubicBezTo>
                    <a:pt x="8946" y="12768"/>
                    <a:pt x="7668" y="11491"/>
                    <a:pt x="7668" y="10214"/>
                  </a:cubicBezTo>
                  <a:lnTo>
                    <a:pt x="7668" y="10214"/>
                  </a:lnTo>
                  <a:cubicBezTo>
                    <a:pt x="7668" y="8938"/>
                    <a:pt x="8946" y="7661"/>
                    <a:pt x="10224" y="766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116" name="Graphic 4">
              <a:extLst>
                <a:ext uri="{FF2B5EF4-FFF2-40B4-BE49-F238E27FC236}">
                  <a16:creationId xmlns:a16="http://schemas.microsoft.com/office/drawing/2014/main" id="{71ECF245-9D1E-3ABA-852B-C1FBF28C2E19}"/>
                </a:ext>
              </a:extLst>
            </p:cNvPr>
            <p:cNvSpPr/>
            <p:nvPr/>
          </p:nvSpPr>
          <p:spPr>
            <a:xfrm>
              <a:off x="1710586" y="1171623"/>
              <a:ext cx="20447" cy="20428"/>
            </a:xfrm>
            <a:custGeom>
              <a:avLst/>
              <a:gdLst>
                <a:gd name="connsiteX0" fmla="*/ 10224 w 20447"/>
                <a:gd name="connsiteY0" fmla="*/ 20429 h 20428"/>
                <a:gd name="connsiteX1" fmla="*/ 20448 w 20447"/>
                <a:gd name="connsiteY1" fmla="*/ 10214 h 20428"/>
                <a:gd name="connsiteX2" fmla="*/ 10224 w 20447"/>
                <a:gd name="connsiteY2" fmla="*/ 0 h 20428"/>
                <a:gd name="connsiteX3" fmla="*/ 0 w 20447"/>
                <a:gd name="connsiteY3" fmla="*/ 10214 h 20428"/>
                <a:gd name="connsiteX4" fmla="*/ 0 w 20447"/>
                <a:gd name="connsiteY4" fmla="*/ 10214 h 20428"/>
                <a:gd name="connsiteX5" fmla="*/ 10224 w 20447"/>
                <a:gd name="connsiteY5" fmla="*/ 20429 h 20428"/>
                <a:gd name="connsiteX6" fmla="*/ 10224 w 20447"/>
                <a:gd name="connsiteY6" fmla="*/ 7661 h 20428"/>
                <a:gd name="connsiteX7" fmla="*/ 12780 w 20447"/>
                <a:gd name="connsiteY7" fmla="*/ 10214 h 20428"/>
                <a:gd name="connsiteX8" fmla="*/ 10224 w 20447"/>
                <a:gd name="connsiteY8" fmla="*/ 12768 h 20428"/>
                <a:gd name="connsiteX9" fmla="*/ 10224 w 20447"/>
                <a:gd name="connsiteY9" fmla="*/ 12768 h 20428"/>
                <a:gd name="connsiteX10" fmla="*/ 7668 w 20447"/>
                <a:gd name="connsiteY10" fmla="*/ 10214 h 20428"/>
                <a:gd name="connsiteX11" fmla="*/ 10224 w 20447"/>
                <a:gd name="connsiteY11" fmla="*/ 7661 h 20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447" h="20428">
                  <a:moveTo>
                    <a:pt x="10224" y="20429"/>
                  </a:moveTo>
                  <a:cubicBezTo>
                    <a:pt x="15975" y="20429"/>
                    <a:pt x="20448" y="15960"/>
                    <a:pt x="20448" y="10214"/>
                  </a:cubicBezTo>
                  <a:cubicBezTo>
                    <a:pt x="20448" y="4469"/>
                    <a:pt x="15975" y="0"/>
                    <a:pt x="10224" y="0"/>
                  </a:cubicBezTo>
                  <a:cubicBezTo>
                    <a:pt x="4473" y="0"/>
                    <a:pt x="0" y="4469"/>
                    <a:pt x="0" y="10214"/>
                  </a:cubicBezTo>
                  <a:cubicBezTo>
                    <a:pt x="0" y="10214"/>
                    <a:pt x="0" y="10214"/>
                    <a:pt x="0" y="10214"/>
                  </a:cubicBezTo>
                  <a:cubicBezTo>
                    <a:pt x="0" y="15960"/>
                    <a:pt x="4473" y="20429"/>
                    <a:pt x="10224" y="20429"/>
                  </a:cubicBezTo>
                  <a:close/>
                  <a:moveTo>
                    <a:pt x="10224" y="7661"/>
                  </a:moveTo>
                  <a:cubicBezTo>
                    <a:pt x="11502" y="7661"/>
                    <a:pt x="12780" y="8938"/>
                    <a:pt x="12780" y="10214"/>
                  </a:cubicBezTo>
                  <a:cubicBezTo>
                    <a:pt x="12780" y="11491"/>
                    <a:pt x="11502" y="12768"/>
                    <a:pt x="10224" y="12768"/>
                  </a:cubicBezTo>
                  <a:lnTo>
                    <a:pt x="10224" y="12768"/>
                  </a:lnTo>
                  <a:cubicBezTo>
                    <a:pt x="8946" y="12768"/>
                    <a:pt x="7668" y="11491"/>
                    <a:pt x="7668" y="10214"/>
                  </a:cubicBezTo>
                  <a:cubicBezTo>
                    <a:pt x="7029" y="8938"/>
                    <a:pt x="8307" y="7661"/>
                    <a:pt x="10224" y="766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</p:grpSp>
      <p:grpSp>
        <p:nvGrpSpPr>
          <p:cNvPr id="117" name="Graphic 1100">
            <a:extLst>
              <a:ext uri="{FF2B5EF4-FFF2-40B4-BE49-F238E27FC236}">
                <a16:creationId xmlns:a16="http://schemas.microsoft.com/office/drawing/2014/main" id="{4A0BCCA2-D425-CF34-708D-01860834DE5D}"/>
              </a:ext>
            </a:extLst>
          </p:cNvPr>
          <p:cNvGrpSpPr/>
          <p:nvPr/>
        </p:nvGrpSpPr>
        <p:grpSpPr>
          <a:xfrm>
            <a:off x="9463026" y="2532873"/>
            <a:ext cx="593085" cy="592532"/>
            <a:chOff x="8841755" y="4312706"/>
            <a:chExt cx="362309" cy="361971"/>
          </a:xfrm>
          <a:solidFill>
            <a:schemeClr val="accent1"/>
          </a:solidFill>
        </p:grpSpPr>
        <p:sp>
          <p:nvSpPr>
            <p:cNvPr id="118" name="Graphic 1100">
              <a:extLst>
                <a:ext uri="{FF2B5EF4-FFF2-40B4-BE49-F238E27FC236}">
                  <a16:creationId xmlns:a16="http://schemas.microsoft.com/office/drawing/2014/main" id="{0BD892A1-8355-379B-97AD-CA88BD472C00}"/>
                </a:ext>
              </a:extLst>
            </p:cNvPr>
            <p:cNvSpPr/>
            <p:nvPr/>
          </p:nvSpPr>
          <p:spPr>
            <a:xfrm>
              <a:off x="8841755" y="4312706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0667 h 361971"/>
                <a:gd name="connsiteX2" fmla="*/ 180836 w 362309"/>
                <a:gd name="connsiteY2" fmla="*/ 361972 h 361971"/>
                <a:gd name="connsiteX3" fmla="*/ 362310 w 362309"/>
                <a:gd name="connsiteY3" fmla="*/ 181305 h 361971"/>
                <a:gd name="connsiteX4" fmla="*/ 362310 w 362309"/>
                <a:gd name="connsiteY4" fmla="*/ 181305 h 361971"/>
                <a:gd name="connsiteX5" fmla="*/ 181474 w 362309"/>
                <a:gd name="connsiteY5" fmla="*/ 0 h 361971"/>
                <a:gd name="connsiteX6" fmla="*/ 181474 w 362309"/>
                <a:gd name="connsiteY6" fmla="*/ 349204 h 361971"/>
                <a:gd name="connsiteX7" fmla="*/ 12780 w 362309"/>
                <a:gd name="connsiteY7" fmla="*/ 181305 h 361971"/>
                <a:gd name="connsiteX8" fmla="*/ 180836 w 362309"/>
                <a:gd name="connsiteY8" fmla="*/ 12768 h 361971"/>
                <a:gd name="connsiteX9" fmla="*/ 349530 w 362309"/>
                <a:gd name="connsiteY9" fmla="*/ 180667 h 361971"/>
                <a:gd name="connsiteX10" fmla="*/ 349530 w 362309"/>
                <a:gd name="connsiteY10" fmla="*/ 180667 h 361971"/>
                <a:gd name="connsiteX11" fmla="*/ 181474 w 362309"/>
                <a:gd name="connsiteY11" fmla="*/ 349204 h 361971"/>
                <a:gd name="connsiteX12" fmla="*/ 181474 w 362309"/>
                <a:gd name="connsiteY12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3" y="0"/>
                    <a:pt x="0" y="81077"/>
                    <a:pt x="0" y="180667"/>
                  </a:cubicBezTo>
                  <a:cubicBezTo>
                    <a:pt x="0" y="280895"/>
                    <a:pt x="81153" y="361972"/>
                    <a:pt x="180836" y="361972"/>
                  </a:cubicBezTo>
                  <a:cubicBezTo>
                    <a:pt x="281157" y="361972"/>
                    <a:pt x="362310" y="280895"/>
                    <a:pt x="362310" y="181305"/>
                  </a:cubicBezTo>
                  <a:cubicBezTo>
                    <a:pt x="362310" y="181305"/>
                    <a:pt x="362310" y="181305"/>
                    <a:pt x="362310" y="181305"/>
                  </a:cubicBezTo>
                  <a:cubicBezTo>
                    <a:pt x="362310" y="81077"/>
                    <a:pt x="281157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099"/>
                    <a:pt x="88181" y="12768"/>
                    <a:pt x="180836" y="12768"/>
                  </a:cubicBezTo>
                  <a:cubicBezTo>
                    <a:pt x="274128" y="12768"/>
                    <a:pt x="349530" y="88099"/>
                    <a:pt x="349530" y="180667"/>
                  </a:cubicBezTo>
                  <a:cubicBezTo>
                    <a:pt x="349530" y="180667"/>
                    <a:pt x="349530" y="180667"/>
                    <a:pt x="349530" y="180667"/>
                  </a:cubicBezTo>
                  <a:cubicBezTo>
                    <a:pt x="349530" y="273873"/>
                    <a:pt x="274128" y="349204"/>
                    <a:pt x="181474" y="349204"/>
                  </a:cubicBezTo>
                  <a:lnTo>
                    <a:pt x="181474" y="34920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119" name="Graphic 1100">
              <a:extLst>
                <a:ext uri="{FF2B5EF4-FFF2-40B4-BE49-F238E27FC236}">
                  <a16:creationId xmlns:a16="http://schemas.microsoft.com/office/drawing/2014/main" id="{EA0439D5-398F-7565-1974-02612FADF890}"/>
                </a:ext>
              </a:extLst>
            </p:cNvPr>
            <p:cNvSpPr/>
            <p:nvPr/>
          </p:nvSpPr>
          <p:spPr>
            <a:xfrm>
              <a:off x="8935688" y="4442939"/>
              <a:ext cx="115657" cy="159599"/>
            </a:xfrm>
            <a:custGeom>
              <a:avLst/>
              <a:gdLst>
                <a:gd name="connsiteX0" fmla="*/ 109268 w 115657"/>
                <a:gd name="connsiteY0" fmla="*/ 0 h 159599"/>
                <a:gd name="connsiteX1" fmla="*/ 6390 w 115657"/>
                <a:gd name="connsiteY1" fmla="*/ 0 h 159599"/>
                <a:gd name="connsiteX2" fmla="*/ 0 w 115657"/>
                <a:gd name="connsiteY2" fmla="*/ 6384 h 159599"/>
                <a:gd name="connsiteX3" fmla="*/ 0 w 115657"/>
                <a:gd name="connsiteY3" fmla="*/ 153216 h 159599"/>
                <a:gd name="connsiteX4" fmla="*/ 6390 w 115657"/>
                <a:gd name="connsiteY4" fmla="*/ 159600 h 159599"/>
                <a:gd name="connsiteX5" fmla="*/ 109268 w 115657"/>
                <a:gd name="connsiteY5" fmla="*/ 159600 h 159599"/>
                <a:gd name="connsiteX6" fmla="*/ 115658 w 115657"/>
                <a:gd name="connsiteY6" fmla="*/ 153216 h 159599"/>
                <a:gd name="connsiteX7" fmla="*/ 115658 w 115657"/>
                <a:gd name="connsiteY7" fmla="*/ 6384 h 159599"/>
                <a:gd name="connsiteX8" fmla="*/ 109268 w 115657"/>
                <a:gd name="connsiteY8" fmla="*/ 0 h 159599"/>
                <a:gd name="connsiteX9" fmla="*/ 102878 w 115657"/>
                <a:gd name="connsiteY9" fmla="*/ 146832 h 159599"/>
                <a:gd name="connsiteX10" fmla="*/ 12780 w 115657"/>
                <a:gd name="connsiteY10" fmla="*/ 146832 h 159599"/>
                <a:gd name="connsiteX11" fmla="*/ 12780 w 115657"/>
                <a:gd name="connsiteY11" fmla="*/ 12768 h 159599"/>
                <a:gd name="connsiteX12" fmla="*/ 102878 w 115657"/>
                <a:gd name="connsiteY12" fmla="*/ 12768 h 159599"/>
                <a:gd name="connsiteX13" fmla="*/ 102878 w 115657"/>
                <a:gd name="connsiteY13" fmla="*/ 146832 h 159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5657" h="159599">
                  <a:moveTo>
                    <a:pt x="109268" y="0"/>
                  </a:moveTo>
                  <a:lnTo>
                    <a:pt x="6390" y="0"/>
                  </a:lnTo>
                  <a:cubicBezTo>
                    <a:pt x="2556" y="0"/>
                    <a:pt x="0" y="2553"/>
                    <a:pt x="0" y="6384"/>
                  </a:cubicBezTo>
                  <a:lnTo>
                    <a:pt x="0" y="153216"/>
                  </a:lnTo>
                  <a:cubicBezTo>
                    <a:pt x="0" y="157046"/>
                    <a:pt x="2556" y="159600"/>
                    <a:pt x="6390" y="159600"/>
                  </a:cubicBezTo>
                  <a:lnTo>
                    <a:pt x="109268" y="159600"/>
                  </a:lnTo>
                  <a:cubicBezTo>
                    <a:pt x="113102" y="159600"/>
                    <a:pt x="115658" y="157046"/>
                    <a:pt x="115658" y="153216"/>
                  </a:cubicBezTo>
                  <a:lnTo>
                    <a:pt x="115658" y="6384"/>
                  </a:lnTo>
                  <a:cubicBezTo>
                    <a:pt x="115658" y="3192"/>
                    <a:pt x="113102" y="0"/>
                    <a:pt x="109268" y="0"/>
                  </a:cubicBezTo>
                  <a:close/>
                  <a:moveTo>
                    <a:pt x="102878" y="146832"/>
                  </a:moveTo>
                  <a:lnTo>
                    <a:pt x="12780" y="146832"/>
                  </a:lnTo>
                  <a:lnTo>
                    <a:pt x="12780" y="12768"/>
                  </a:lnTo>
                  <a:lnTo>
                    <a:pt x="102878" y="12768"/>
                  </a:lnTo>
                  <a:lnTo>
                    <a:pt x="102878" y="14683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120" name="Graphic 1100">
              <a:extLst>
                <a:ext uri="{FF2B5EF4-FFF2-40B4-BE49-F238E27FC236}">
                  <a16:creationId xmlns:a16="http://schemas.microsoft.com/office/drawing/2014/main" id="{39049D7D-1684-6ED6-C40D-522661FD294B}"/>
                </a:ext>
              </a:extLst>
            </p:cNvPr>
            <p:cNvSpPr/>
            <p:nvPr/>
          </p:nvSpPr>
          <p:spPr>
            <a:xfrm>
              <a:off x="8965081" y="4414211"/>
              <a:ext cx="115657" cy="159599"/>
            </a:xfrm>
            <a:custGeom>
              <a:avLst/>
              <a:gdLst>
                <a:gd name="connsiteX0" fmla="*/ 109268 w 115657"/>
                <a:gd name="connsiteY0" fmla="*/ 0 h 159599"/>
                <a:gd name="connsiteX1" fmla="*/ 6390 w 115657"/>
                <a:gd name="connsiteY1" fmla="*/ 0 h 159599"/>
                <a:gd name="connsiteX2" fmla="*/ 0 w 115657"/>
                <a:gd name="connsiteY2" fmla="*/ 6384 h 159599"/>
                <a:gd name="connsiteX3" fmla="*/ 6390 w 115657"/>
                <a:gd name="connsiteY3" fmla="*/ 12768 h 159599"/>
                <a:gd name="connsiteX4" fmla="*/ 102878 w 115657"/>
                <a:gd name="connsiteY4" fmla="*/ 12768 h 159599"/>
                <a:gd name="connsiteX5" fmla="*/ 102878 w 115657"/>
                <a:gd name="connsiteY5" fmla="*/ 153216 h 159599"/>
                <a:gd name="connsiteX6" fmla="*/ 109268 w 115657"/>
                <a:gd name="connsiteY6" fmla="*/ 159600 h 159599"/>
                <a:gd name="connsiteX7" fmla="*/ 115658 w 115657"/>
                <a:gd name="connsiteY7" fmla="*/ 153216 h 159599"/>
                <a:gd name="connsiteX8" fmla="*/ 115658 w 115657"/>
                <a:gd name="connsiteY8" fmla="*/ 6384 h 159599"/>
                <a:gd name="connsiteX9" fmla="*/ 109268 w 115657"/>
                <a:gd name="connsiteY9" fmla="*/ 0 h 159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5657" h="159599">
                  <a:moveTo>
                    <a:pt x="109268" y="0"/>
                  </a:moveTo>
                  <a:lnTo>
                    <a:pt x="6390" y="0"/>
                  </a:lnTo>
                  <a:cubicBezTo>
                    <a:pt x="2556" y="0"/>
                    <a:pt x="0" y="2553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102878" y="12768"/>
                  </a:lnTo>
                  <a:lnTo>
                    <a:pt x="102878" y="153216"/>
                  </a:lnTo>
                  <a:cubicBezTo>
                    <a:pt x="102878" y="157046"/>
                    <a:pt x="105434" y="159600"/>
                    <a:pt x="109268" y="159600"/>
                  </a:cubicBezTo>
                  <a:cubicBezTo>
                    <a:pt x="113102" y="159600"/>
                    <a:pt x="115658" y="157046"/>
                    <a:pt x="115658" y="153216"/>
                  </a:cubicBezTo>
                  <a:lnTo>
                    <a:pt x="115658" y="6384"/>
                  </a:lnTo>
                  <a:cubicBezTo>
                    <a:pt x="115658" y="2553"/>
                    <a:pt x="112463" y="0"/>
                    <a:pt x="109268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121" name="Graphic 1100">
              <a:extLst>
                <a:ext uri="{FF2B5EF4-FFF2-40B4-BE49-F238E27FC236}">
                  <a16:creationId xmlns:a16="http://schemas.microsoft.com/office/drawing/2014/main" id="{1C1DF300-9D56-610A-7746-3E1D80428B6C}"/>
                </a:ext>
              </a:extLst>
            </p:cNvPr>
            <p:cNvSpPr/>
            <p:nvPr/>
          </p:nvSpPr>
          <p:spPr>
            <a:xfrm>
              <a:off x="8994475" y="4384845"/>
              <a:ext cx="115657" cy="159599"/>
            </a:xfrm>
            <a:custGeom>
              <a:avLst/>
              <a:gdLst>
                <a:gd name="connsiteX0" fmla="*/ 109268 w 115657"/>
                <a:gd name="connsiteY0" fmla="*/ 0 h 159599"/>
                <a:gd name="connsiteX1" fmla="*/ 6390 w 115657"/>
                <a:gd name="connsiteY1" fmla="*/ 0 h 159599"/>
                <a:gd name="connsiteX2" fmla="*/ 0 w 115657"/>
                <a:gd name="connsiteY2" fmla="*/ 6384 h 159599"/>
                <a:gd name="connsiteX3" fmla="*/ 6390 w 115657"/>
                <a:gd name="connsiteY3" fmla="*/ 12768 h 159599"/>
                <a:gd name="connsiteX4" fmla="*/ 102878 w 115657"/>
                <a:gd name="connsiteY4" fmla="*/ 12768 h 159599"/>
                <a:gd name="connsiteX5" fmla="*/ 102878 w 115657"/>
                <a:gd name="connsiteY5" fmla="*/ 153216 h 159599"/>
                <a:gd name="connsiteX6" fmla="*/ 109268 w 115657"/>
                <a:gd name="connsiteY6" fmla="*/ 159600 h 159599"/>
                <a:gd name="connsiteX7" fmla="*/ 115658 w 115657"/>
                <a:gd name="connsiteY7" fmla="*/ 153216 h 159599"/>
                <a:gd name="connsiteX8" fmla="*/ 115658 w 115657"/>
                <a:gd name="connsiteY8" fmla="*/ 6384 h 159599"/>
                <a:gd name="connsiteX9" fmla="*/ 109268 w 115657"/>
                <a:gd name="connsiteY9" fmla="*/ 0 h 159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5657" h="159599">
                  <a:moveTo>
                    <a:pt x="109268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5"/>
                    <a:pt x="2556" y="12768"/>
                    <a:pt x="6390" y="12768"/>
                  </a:cubicBezTo>
                  <a:lnTo>
                    <a:pt x="102878" y="12768"/>
                  </a:lnTo>
                  <a:lnTo>
                    <a:pt x="102878" y="153216"/>
                  </a:lnTo>
                  <a:cubicBezTo>
                    <a:pt x="102878" y="157046"/>
                    <a:pt x="105434" y="159600"/>
                    <a:pt x="109268" y="159600"/>
                  </a:cubicBezTo>
                  <a:cubicBezTo>
                    <a:pt x="113102" y="159600"/>
                    <a:pt x="115658" y="157046"/>
                    <a:pt x="115658" y="153216"/>
                  </a:cubicBezTo>
                  <a:lnTo>
                    <a:pt x="115658" y="6384"/>
                  </a:lnTo>
                  <a:cubicBezTo>
                    <a:pt x="115658" y="2554"/>
                    <a:pt x="112463" y="0"/>
                    <a:pt x="109268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122" name="Graphic 1100">
              <a:extLst>
                <a:ext uri="{FF2B5EF4-FFF2-40B4-BE49-F238E27FC236}">
                  <a16:creationId xmlns:a16="http://schemas.microsoft.com/office/drawing/2014/main" id="{6537522D-BEB1-0C9C-B00B-374DCCB265AB}"/>
                </a:ext>
              </a:extLst>
            </p:cNvPr>
            <p:cNvSpPr/>
            <p:nvPr/>
          </p:nvSpPr>
          <p:spPr>
            <a:xfrm>
              <a:off x="8958052" y="4560404"/>
              <a:ext cx="71566" cy="12767"/>
            </a:xfrm>
            <a:custGeom>
              <a:avLst/>
              <a:gdLst>
                <a:gd name="connsiteX0" fmla="*/ 6390 w 71566"/>
                <a:gd name="connsiteY0" fmla="*/ 12768 h 12767"/>
                <a:gd name="connsiteX1" fmla="*/ 65177 w 71566"/>
                <a:gd name="connsiteY1" fmla="*/ 12768 h 12767"/>
                <a:gd name="connsiteX2" fmla="*/ 71567 w 71566"/>
                <a:gd name="connsiteY2" fmla="*/ 6384 h 12767"/>
                <a:gd name="connsiteX3" fmla="*/ 65177 w 71566"/>
                <a:gd name="connsiteY3" fmla="*/ 0 h 12767"/>
                <a:gd name="connsiteX4" fmla="*/ 6390 w 71566"/>
                <a:gd name="connsiteY4" fmla="*/ 0 h 12767"/>
                <a:gd name="connsiteX5" fmla="*/ 0 w 71566"/>
                <a:gd name="connsiteY5" fmla="*/ 6384 h 12767"/>
                <a:gd name="connsiteX6" fmla="*/ 6390 w 71566"/>
                <a:gd name="connsiteY6" fmla="*/ 12768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66" h="12767">
                  <a:moveTo>
                    <a:pt x="6390" y="12768"/>
                  </a:moveTo>
                  <a:lnTo>
                    <a:pt x="65177" y="12768"/>
                  </a:lnTo>
                  <a:cubicBezTo>
                    <a:pt x="69011" y="12768"/>
                    <a:pt x="71567" y="10215"/>
                    <a:pt x="71567" y="6384"/>
                  </a:cubicBezTo>
                  <a:cubicBezTo>
                    <a:pt x="71567" y="2554"/>
                    <a:pt x="69011" y="0"/>
                    <a:pt x="65177" y="0"/>
                  </a:cubicBez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5"/>
                    <a:pt x="2556" y="12768"/>
                    <a:pt x="6390" y="1276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123" name="Graphic 1100">
              <a:extLst>
                <a:ext uri="{FF2B5EF4-FFF2-40B4-BE49-F238E27FC236}">
                  <a16:creationId xmlns:a16="http://schemas.microsoft.com/office/drawing/2014/main" id="{1AF90716-E981-3F9B-CBD0-206CCDD41720}"/>
                </a:ext>
              </a:extLst>
            </p:cNvPr>
            <p:cNvSpPr/>
            <p:nvPr/>
          </p:nvSpPr>
          <p:spPr>
            <a:xfrm>
              <a:off x="8958052" y="4531038"/>
              <a:ext cx="71566" cy="12767"/>
            </a:xfrm>
            <a:custGeom>
              <a:avLst/>
              <a:gdLst>
                <a:gd name="connsiteX0" fmla="*/ 6390 w 71566"/>
                <a:gd name="connsiteY0" fmla="*/ 12768 h 12767"/>
                <a:gd name="connsiteX1" fmla="*/ 65177 w 71566"/>
                <a:gd name="connsiteY1" fmla="*/ 12768 h 12767"/>
                <a:gd name="connsiteX2" fmla="*/ 71567 w 71566"/>
                <a:gd name="connsiteY2" fmla="*/ 6384 h 12767"/>
                <a:gd name="connsiteX3" fmla="*/ 65177 w 71566"/>
                <a:gd name="connsiteY3" fmla="*/ 0 h 12767"/>
                <a:gd name="connsiteX4" fmla="*/ 6390 w 71566"/>
                <a:gd name="connsiteY4" fmla="*/ 0 h 12767"/>
                <a:gd name="connsiteX5" fmla="*/ 0 w 71566"/>
                <a:gd name="connsiteY5" fmla="*/ 6384 h 12767"/>
                <a:gd name="connsiteX6" fmla="*/ 6390 w 71566"/>
                <a:gd name="connsiteY6" fmla="*/ 12768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66" h="12767">
                  <a:moveTo>
                    <a:pt x="6390" y="12768"/>
                  </a:moveTo>
                  <a:lnTo>
                    <a:pt x="65177" y="12768"/>
                  </a:lnTo>
                  <a:cubicBezTo>
                    <a:pt x="69011" y="12768"/>
                    <a:pt x="71567" y="10214"/>
                    <a:pt x="71567" y="6384"/>
                  </a:cubicBezTo>
                  <a:cubicBezTo>
                    <a:pt x="71567" y="2554"/>
                    <a:pt x="69011" y="0"/>
                    <a:pt x="65177" y="0"/>
                  </a:cubicBez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124" name="Graphic 1100">
              <a:extLst>
                <a:ext uri="{FF2B5EF4-FFF2-40B4-BE49-F238E27FC236}">
                  <a16:creationId xmlns:a16="http://schemas.microsoft.com/office/drawing/2014/main" id="{809C1844-206F-405E-1917-B809DE6EBB59}"/>
                </a:ext>
              </a:extLst>
            </p:cNvPr>
            <p:cNvSpPr/>
            <p:nvPr/>
          </p:nvSpPr>
          <p:spPr>
            <a:xfrm>
              <a:off x="8958052" y="4501672"/>
              <a:ext cx="71566" cy="12767"/>
            </a:xfrm>
            <a:custGeom>
              <a:avLst/>
              <a:gdLst>
                <a:gd name="connsiteX0" fmla="*/ 6390 w 71566"/>
                <a:gd name="connsiteY0" fmla="*/ 12768 h 12767"/>
                <a:gd name="connsiteX1" fmla="*/ 65177 w 71566"/>
                <a:gd name="connsiteY1" fmla="*/ 12768 h 12767"/>
                <a:gd name="connsiteX2" fmla="*/ 71567 w 71566"/>
                <a:gd name="connsiteY2" fmla="*/ 6384 h 12767"/>
                <a:gd name="connsiteX3" fmla="*/ 65177 w 71566"/>
                <a:gd name="connsiteY3" fmla="*/ 0 h 12767"/>
                <a:gd name="connsiteX4" fmla="*/ 6390 w 71566"/>
                <a:gd name="connsiteY4" fmla="*/ 0 h 12767"/>
                <a:gd name="connsiteX5" fmla="*/ 0 w 71566"/>
                <a:gd name="connsiteY5" fmla="*/ 6384 h 12767"/>
                <a:gd name="connsiteX6" fmla="*/ 6390 w 71566"/>
                <a:gd name="connsiteY6" fmla="*/ 12768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66" h="12767">
                  <a:moveTo>
                    <a:pt x="6390" y="12768"/>
                  </a:moveTo>
                  <a:lnTo>
                    <a:pt x="65177" y="12768"/>
                  </a:lnTo>
                  <a:cubicBezTo>
                    <a:pt x="69011" y="12768"/>
                    <a:pt x="71567" y="10214"/>
                    <a:pt x="71567" y="6384"/>
                  </a:cubicBezTo>
                  <a:cubicBezTo>
                    <a:pt x="71567" y="2553"/>
                    <a:pt x="69011" y="0"/>
                    <a:pt x="65177" y="0"/>
                  </a:cubicBezTo>
                  <a:lnTo>
                    <a:pt x="6390" y="0"/>
                  </a:lnTo>
                  <a:cubicBezTo>
                    <a:pt x="2556" y="0"/>
                    <a:pt x="0" y="2553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125" name="Graphic 1100">
              <a:extLst>
                <a:ext uri="{FF2B5EF4-FFF2-40B4-BE49-F238E27FC236}">
                  <a16:creationId xmlns:a16="http://schemas.microsoft.com/office/drawing/2014/main" id="{5D953E52-8814-9646-4DA3-EC85F50767D1}"/>
                </a:ext>
              </a:extLst>
            </p:cNvPr>
            <p:cNvSpPr/>
            <p:nvPr/>
          </p:nvSpPr>
          <p:spPr>
            <a:xfrm>
              <a:off x="8958052" y="4472305"/>
              <a:ext cx="71566" cy="12767"/>
            </a:xfrm>
            <a:custGeom>
              <a:avLst/>
              <a:gdLst>
                <a:gd name="connsiteX0" fmla="*/ 6390 w 71566"/>
                <a:gd name="connsiteY0" fmla="*/ 12768 h 12767"/>
                <a:gd name="connsiteX1" fmla="*/ 65177 w 71566"/>
                <a:gd name="connsiteY1" fmla="*/ 12768 h 12767"/>
                <a:gd name="connsiteX2" fmla="*/ 71567 w 71566"/>
                <a:gd name="connsiteY2" fmla="*/ 6384 h 12767"/>
                <a:gd name="connsiteX3" fmla="*/ 65177 w 71566"/>
                <a:gd name="connsiteY3" fmla="*/ 0 h 12767"/>
                <a:gd name="connsiteX4" fmla="*/ 6390 w 71566"/>
                <a:gd name="connsiteY4" fmla="*/ 0 h 12767"/>
                <a:gd name="connsiteX5" fmla="*/ 0 w 71566"/>
                <a:gd name="connsiteY5" fmla="*/ 6384 h 12767"/>
                <a:gd name="connsiteX6" fmla="*/ 6390 w 71566"/>
                <a:gd name="connsiteY6" fmla="*/ 12768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566" h="12767">
                  <a:moveTo>
                    <a:pt x="6390" y="12768"/>
                  </a:moveTo>
                  <a:lnTo>
                    <a:pt x="65177" y="12768"/>
                  </a:lnTo>
                  <a:cubicBezTo>
                    <a:pt x="69011" y="12768"/>
                    <a:pt x="71567" y="10215"/>
                    <a:pt x="71567" y="6384"/>
                  </a:cubicBezTo>
                  <a:cubicBezTo>
                    <a:pt x="71567" y="2554"/>
                    <a:pt x="69011" y="0"/>
                    <a:pt x="65177" y="0"/>
                  </a:cubicBez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5"/>
                    <a:pt x="2556" y="12768"/>
                    <a:pt x="6390" y="1276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</p:grpSp>
    </p:spTree>
    <p:extLst>
      <p:ext uri="{BB962C8B-B14F-4D97-AF65-F5344CB8AC3E}">
        <p14:creationId xmlns:p14="http://schemas.microsoft.com/office/powerpoint/2010/main" val="305515680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0848ECD8-F6D4-B615-60FD-6229238672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110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0848ECD8-F6D4-B615-60FD-6229238672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hu-HU"/>
              <a:t>Domain-ek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hu-HU" sz="2000">
                <a:solidFill>
                  <a:srgbClr val="000000"/>
                </a:solidFill>
                <a:latin typeface="Calibri" panose="020F0502020204030204" pitchFamily="34" charset="0"/>
              </a:rPr>
              <a:t>Az architektúra tartományai</a:t>
            </a:r>
            <a:endParaRPr lang="hu-HU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7BBD897-34D8-F775-D26A-DB059795C52E}"/>
              </a:ext>
            </a:extLst>
          </p:cNvPr>
          <p:cNvGrpSpPr/>
          <p:nvPr/>
        </p:nvGrpSpPr>
        <p:grpSpPr>
          <a:xfrm>
            <a:off x="492063" y="1596926"/>
            <a:ext cx="4135355" cy="3677227"/>
            <a:chOff x="2313620" y="436735"/>
            <a:chExt cx="4828992" cy="4511902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EC1E3F9-2896-F7CA-5F66-7E516D2EEE20}"/>
                </a:ext>
              </a:extLst>
            </p:cNvPr>
            <p:cNvSpPr/>
            <p:nvPr/>
          </p:nvSpPr>
          <p:spPr bwMode="gray">
            <a:xfrm>
              <a:off x="2313620" y="436735"/>
              <a:ext cx="4828992" cy="4511902"/>
            </a:xfrm>
            <a:prstGeom prst="rect">
              <a:avLst/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t" anchorCtr="0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hu-HU" sz="1400" b="1">
                  <a:solidFill>
                    <a:schemeClr val="bg1"/>
                  </a:solidFill>
                </a:rPr>
                <a:t>ENTERPRISE ARCHITECTURE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31C70E1-D86E-9B39-7076-756131ACEAA4}"/>
                </a:ext>
              </a:extLst>
            </p:cNvPr>
            <p:cNvSpPr/>
            <p:nvPr/>
          </p:nvSpPr>
          <p:spPr bwMode="gray">
            <a:xfrm>
              <a:off x="2810094" y="1990798"/>
              <a:ext cx="4162839" cy="2717298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19050" algn="ctr">
              <a:solidFill>
                <a:schemeClr val="bg1"/>
              </a:solidFill>
              <a:prstDash val="dash"/>
              <a:miter lim="800000"/>
              <a:headEnd/>
              <a:tailEnd/>
            </a:ln>
          </p:spPr>
          <p:txBody>
            <a:bodyPr wrap="square" lIns="88900" tIns="88900" rIns="88900" bIns="88900" rtlCol="0" anchor="t" anchorCtr="0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hu-HU" sz="1400" b="1"/>
                <a:t>IT ARCHITECTURE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A42A0FB-A044-FD6B-2552-C526360E7ABD}"/>
                </a:ext>
              </a:extLst>
            </p:cNvPr>
            <p:cNvSpPr/>
            <p:nvPr/>
          </p:nvSpPr>
          <p:spPr bwMode="gray">
            <a:xfrm>
              <a:off x="2810094" y="1175539"/>
              <a:ext cx="4162840" cy="484909"/>
            </a:xfrm>
            <a:prstGeom prst="rect">
              <a:avLst/>
            </a:prstGeom>
            <a:solidFill>
              <a:srgbClr val="00ABAB"/>
            </a:solidFill>
            <a:ln w="19050" algn="ctr">
              <a:solidFill>
                <a:schemeClr val="bg1"/>
              </a:solidFill>
              <a:prstDash val="dash"/>
              <a:miter lim="800000"/>
              <a:headEnd/>
              <a:tailEnd/>
            </a:ln>
          </p:spPr>
          <p:txBody>
            <a:bodyPr wrap="square" lIns="88900" tIns="88900" rIns="88900" bIns="88900" rtlCol="0" anchor="t" anchorCtr="0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hu-HU" sz="1400" b="1">
                  <a:solidFill>
                    <a:schemeClr val="bg1"/>
                  </a:solidFill>
                </a:rPr>
                <a:t>Business Architecture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9E3D56F-1A5C-5F09-2F62-1294CB441AED}"/>
                </a:ext>
              </a:extLst>
            </p:cNvPr>
            <p:cNvSpPr/>
            <p:nvPr/>
          </p:nvSpPr>
          <p:spPr bwMode="gray">
            <a:xfrm>
              <a:off x="4015969" y="2344105"/>
              <a:ext cx="2743200" cy="778953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prstDash val="sysDash"/>
              <a:miter lim="800000"/>
              <a:headEnd/>
              <a:tailEnd/>
            </a:ln>
          </p:spPr>
          <p:txBody>
            <a:bodyPr wrap="square" lIns="88900" tIns="88900" rIns="88900" bIns="88900" rtlCol="0" anchor="t" anchorCtr="0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hu-HU" sz="1400" b="1"/>
                <a:t>Information Systems &amp; Applications  Architecture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65B9F91-C8FB-69D9-A881-70966F35078D}"/>
                </a:ext>
              </a:extLst>
            </p:cNvPr>
            <p:cNvSpPr/>
            <p:nvPr/>
          </p:nvSpPr>
          <p:spPr bwMode="gray">
            <a:xfrm>
              <a:off x="3993281" y="3330525"/>
              <a:ext cx="2743200" cy="484909"/>
            </a:xfrm>
            <a:prstGeom prst="rect">
              <a:avLst/>
            </a:prstGeom>
            <a:solidFill>
              <a:schemeClr val="accent4"/>
            </a:solidFill>
            <a:ln w="19050" algn="ctr">
              <a:solidFill>
                <a:schemeClr val="bg1"/>
              </a:solidFill>
              <a:prstDash val="sysDash"/>
              <a:miter lim="800000"/>
              <a:headEnd/>
              <a:tailEnd/>
            </a:ln>
          </p:spPr>
          <p:txBody>
            <a:bodyPr wrap="square" lIns="88900" tIns="88900" rIns="88900" bIns="88900" rtlCol="0" anchor="t" anchorCtr="0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hu-HU" sz="1400" b="1" dirty="0">
                  <a:solidFill>
                    <a:schemeClr val="bg1"/>
                  </a:solidFill>
                </a:rPr>
                <a:t>Data </a:t>
              </a:r>
              <a:r>
                <a:rPr lang="hu-HU" sz="1400" b="1" dirty="0" err="1">
                  <a:solidFill>
                    <a:schemeClr val="bg1"/>
                  </a:solidFill>
                </a:rPr>
                <a:t>Architecture</a:t>
              </a:r>
              <a:endParaRPr lang="hu-HU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C09C5FA-B36D-1C72-C7CE-A87F40B6096A}"/>
                </a:ext>
              </a:extLst>
            </p:cNvPr>
            <p:cNvSpPr/>
            <p:nvPr/>
          </p:nvSpPr>
          <p:spPr bwMode="gray">
            <a:xfrm>
              <a:off x="4015969" y="4038461"/>
              <a:ext cx="2743200" cy="484909"/>
            </a:xfrm>
            <a:prstGeom prst="rect">
              <a:avLst/>
            </a:prstGeom>
            <a:solidFill>
              <a:schemeClr val="accent2"/>
            </a:solidFill>
            <a:ln w="19050" algn="ctr">
              <a:solidFill>
                <a:schemeClr val="bg1"/>
              </a:solidFill>
              <a:prstDash val="sysDash"/>
              <a:miter lim="800000"/>
              <a:headEnd/>
              <a:tailEnd/>
            </a:ln>
          </p:spPr>
          <p:txBody>
            <a:bodyPr wrap="square" lIns="88900" tIns="88900" rIns="88900" bIns="88900" rtlCol="0" anchor="t" anchorCtr="0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hu-HU" sz="1400" b="1">
                  <a:solidFill>
                    <a:schemeClr val="bg1"/>
                  </a:solidFill>
                </a:rPr>
                <a:t>Technology Architecture</a:t>
              </a:r>
            </a:p>
          </p:txBody>
        </p:sp>
      </p:grp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9D9E950A-EB05-8BFB-1E31-C92DD93FE4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3800058"/>
              </p:ext>
            </p:extLst>
          </p:nvPr>
        </p:nvGraphicFramePr>
        <p:xfrm>
          <a:off x="5325241" y="792525"/>
          <a:ext cx="6368221" cy="5055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4760">
                  <a:extLst>
                    <a:ext uri="{9D8B030D-6E8A-4147-A177-3AD203B41FA5}">
                      <a16:colId xmlns:a16="http://schemas.microsoft.com/office/drawing/2014/main" val="3975474829"/>
                    </a:ext>
                  </a:extLst>
                </a:gridCol>
                <a:gridCol w="2124075">
                  <a:extLst>
                    <a:ext uri="{9D8B030D-6E8A-4147-A177-3AD203B41FA5}">
                      <a16:colId xmlns:a16="http://schemas.microsoft.com/office/drawing/2014/main" val="844568499"/>
                    </a:ext>
                  </a:extLst>
                </a:gridCol>
                <a:gridCol w="3489386">
                  <a:extLst>
                    <a:ext uri="{9D8B030D-6E8A-4147-A177-3AD203B41FA5}">
                      <a16:colId xmlns:a16="http://schemas.microsoft.com/office/drawing/2014/main" val="1868331620"/>
                    </a:ext>
                  </a:extLst>
                </a:gridCol>
              </a:tblGrid>
              <a:tr h="930818">
                <a:tc>
                  <a:txBody>
                    <a:bodyPr/>
                    <a:lstStyle/>
                    <a:p>
                      <a:pPr algn="l"/>
                      <a:endParaRPr lang="hu-HU" sz="1200" b="0" noProof="0">
                        <a:solidFill>
                          <a:schemeClr val="accent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400" b="1" noProof="0">
                          <a:solidFill>
                            <a:schemeClr val="accent3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Építészeti tartomán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b="0" noProof="0">
                          <a:solidFill>
                            <a:schemeClr val="tx1"/>
                          </a:solidFill>
                        </a:rPr>
                        <a:t>A figyelembe vett építészeti terület.</a:t>
                      </a:r>
                      <a:endParaRPr lang="hu-HU" sz="1200" b="0" noProof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0636766"/>
                  </a:ext>
                </a:extLst>
              </a:tr>
              <a:tr h="868063">
                <a:tc>
                  <a:txBody>
                    <a:bodyPr/>
                    <a:lstStyle/>
                    <a:p>
                      <a:pPr algn="l"/>
                      <a:endParaRPr lang="hu-HU" sz="1200" b="0" noProof="0">
                        <a:solidFill>
                          <a:schemeClr val="accent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400" b="1" noProof="0">
                          <a:solidFill>
                            <a:srgbClr val="00ABAB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z üzleti modell szervezése és célja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hu-HU" sz="1200" noProof="0"/>
                        <a:t>Az üzleti stratégia, irányítás és kulcsfontosságú üzleti folyamatok információi, valamint ezek közötti kölcsönhatások fogalma.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2062843"/>
                  </a:ext>
                </a:extLst>
              </a:tr>
              <a:tr h="1217023">
                <a:tc>
                  <a:txBody>
                    <a:bodyPr/>
                    <a:lstStyle/>
                    <a:p>
                      <a:pPr algn="l"/>
                      <a:endParaRPr lang="hu-HU" sz="1200" b="0" noProof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400" b="1" noProof="0" dirty="0">
                          <a:solidFill>
                            <a:schemeClr val="accent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z információs rendszerek támogatása az üzleti célok tekintetéb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hu-HU" sz="1200" noProof="0" dirty="0"/>
                        <a:t>Az adatok feldolgozásához szükséges adatobjektumokat kezelő főbb logikai képességcsoportok leírása, amelyek támogatják az üzletet.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1345550"/>
                  </a:ext>
                </a:extLst>
              </a:tr>
              <a:tr h="881593">
                <a:tc>
                  <a:txBody>
                    <a:bodyPr/>
                    <a:lstStyle/>
                    <a:p>
                      <a:pPr algn="l"/>
                      <a:endParaRPr lang="hu-HU" sz="1200" b="0" noProof="0" dirty="0">
                        <a:solidFill>
                          <a:schemeClr val="accent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400" b="1" noProof="0" dirty="0">
                          <a:solidFill>
                            <a:schemeClr val="accent4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z adatvagyon struktúrája és terjesztés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noProof="0" dirty="0"/>
                        <a:t>A szervezet logikai, fizikai adatvagyonának és adatkezelési erőforrásainak felépítése.</a:t>
                      </a:r>
                      <a:endParaRPr lang="hu-HU" sz="1200" b="0" noProof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7715243"/>
                  </a:ext>
                </a:extLst>
              </a:tr>
              <a:tr h="1158023">
                <a:tc>
                  <a:txBody>
                    <a:bodyPr/>
                    <a:lstStyle/>
                    <a:p>
                      <a:pPr algn="l"/>
                      <a:endParaRPr lang="hu-HU" sz="1200" b="0" noProof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400" b="1" noProof="0">
                          <a:solidFill>
                            <a:schemeClr val="accent2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 technológia megvalósulása és megengedett formá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noProof="0" dirty="0"/>
                        <a:t>Az üzleti, adat- és alkalmazásszolgáltatások telepítéséhez szükséges logikai szoftver- és hardverképességek, beleértve a köztes szoftvereket, </a:t>
                      </a:r>
                      <a:r>
                        <a:rPr lang="hu-HU" sz="1200" noProof="0" dirty="0" err="1"/>
                        <a:t>hálózatokat</a:t>
                      </a:r>
                      <a:r>
                        <a:rPr lang="hu-HU" sz="1200" noProof="0" dirty="0"/>
                        <a:t>, kommunikációt stb.</a:t>
                      </a:r>
                      <a:endParaRPr lang="hu-HU" sz="1200" b="0" noProof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2064739"/>
                  </a:ext>
                </a:extLst>
              </a:tr>
            </a:tbl>
          </a:graphicData>
        </a:graphic>
      </p:graphicFrame>
      <p:grpSp>
        <p:nvGrpSpPr>
          <p:cNvPr id="32" name="Graphic 4">
            <a:extLst>
              <a:ext uri="{FF2B5EF4-FFF2-40B4-BE49-F238E27FC236}">
                <a16:creationId xmlns:a16="http://schemas.microsoft.com/office/drawing/2014/main" id="{174F0149-9499-D5D9-0117-21C8D39554B2}"/>
              </a:ext>
            </a:extLst>
          </p:cNvPr>
          <p:cNvGrpSpPr>
            <a:grpSpLocks noChangeAspect="1"/>
          </p:cNvGrpSpPr>
          <p:nvPr/>
        </p:nvGrpSpPr>
        <p:grpSpPr>
          <a:xfrm>
            <a:off x="5476994" y="1043724"/>
            <a:ext cx="463431" cy="462999"/>
            <a:chOff x="5099169" y="3339623"/>
            <a:chExt cx="362309" cy="361971"/>
          </a:xfrm>
          <a:solidFill>
            <a:schemeClr val="accent3"/>
          </a:solidFill>
        </p:grpSpPr>
        <p:sp>
          <p:nvSpPr>
            <p:cNvPr id="33" name="Graphic 4">
              <a:extLst>
                <a:ext uri="{FF2B5EF4-FFF2-40B4-BE49-F238E27FC236}">
                  <a16:creationId xmlns:a16="http://schemas.microsoft.com/office/drawing/2014/main" id="{170659E7-F0E1-BCCC-4834-ADC95563B8EC}"/>
                </a:ext>
              </a:extLst>
            </p:cNvPr>
            <p:cNvSpPr/>
            <p:nvPr/>
          </p:nvSpPr>
          <p:spPr>
            <a:xfrm>
              <a:off x="5252528" y="3433444"/>
              <a:ext cx="56255" cy="88761"/>
            </a:xfrm>
            <a:custGeom>
              <a:avLst/>
              <a:gdLst>
                <a:gd name="connsiteX0" fmla="*/ 41535 w 56255"/>
                <a:gd name="connsiteY0" fmla="*/ 37051 h 88761"/>
                <a:gd name="connsiteX1" fmla="*/ 49841 w 56255"/>
                <a:gd name="connsiteY1" fmla="*/ 40243 h 88761"/>
                <a:gd name="connsiteX2" fmla="*/ 51758 w 56255"/>
                <a:gd name="connsiteY2" fmla="*/ 44712 h 88761"/>
                <a:gd name="connsiteX3" fmla="*/ 56231 w 56255"/>
                <a:gd name="connsiteY3" fmla="*/ 29390 h 88761"/>
                <a:gd name="connsiteX4" fmla="*/ 29394 w 56255"/>
                <a:gd name="connsiteY4" fmla="*/ 24 h 88761"/>
                <a:gd name="connsiteX5" fmla="*/ 0 w 56255"/>
                <a:gd name="connsiteY5" fmla="*/ 26837 h 88761"/>
                <a:gd name="connsiteX6" fmla="*/ 0 w 56255"/>
                <a:gd name="connsiteY6" fmla="*/ 29390 h 88761"/>
                <a:gd name="connsiteX7" fmla="*/ 4473 w 56255"/>
                <a:gd name="connsiteY7" fmla="*/ 44712 h 88761"/>
                <a:gd name="connsiteX8" fmla="*/ 6390 w 56255"/>
                <a:gd name="connsiteY8" fmla="*/ 40243 h 88761"/>
                <a:gd name="connsiteX9" fmla="*/ 14697 w 56255"/>
                <a:gd name="connsiteY9" fmla="*/ 36413 h 88761"/>
                <a:gd name="connsiteX10" fmla="*/ 14697 w 56255"/>
                <a:gd name="connsiteY10" fmla="*/ 36413 h 88761"/>
                <a:gd name="connsiteX11" fmla="*/ 17892 w 56255"/>
                <a:gd name="connsiteY11" fmla="*/ 44712 h 88761"/>
                <a:gd name="connsiteX12" fmla="*/ 17892 w 56255"/>
                <a:gd name="connsiteY12" fmla="*/ 44712 h 88761"/>
                <a:gd name="connsiteX13" fmla="*/ 0 w 56255"/>
                <a:gd name="connsiteY13" fmla="*/ 88761 h 88761"/>
                <a:gd name="connsiteX14" fmla="*/ 21726 w 56255"/>
                <a:gd name="connsiteY14" fmla="*/ 88761 h 88761"/>
                <a:gd name="connsiteX15" fmla="*/ 21726 w 56255"/>
                <a:gd name="connsiteY15" fmla="*/ 79185 h 88761"/>
                <a:gd name="connsiteX16" fmla="*/ 28116 w 56255"/>
                <a:gd name="connsiteY16" fmla="*/ 72801 h 88761"/>
                <a:gd name="connsiteX17" fmla="*/ 34506 w 56255"/>
                <a:gd name="connsiteY17" fmla="*/ 79185 h 88761"/>
                <a:gd name="connsiteX18" fmla="*/ 34506 w 56255"/>
                <a:gd name="connsiteY18" fmla="*/ 88761 h 88761"/>
                <a:gd name="connsiteX19" fmla="*/ 56231 w 56255"/>
                <a:gd name="connsiteY19" fmla="*/ 88761 h 88761"/>
                <a:gd name="connsiteX20" fmla="*/ 38340 w 56255"/>
                <a:gd name="connsiteY20" fmla="*/ 44712 h 88761"/>
                <a:gd name="connsiteX21" fmla="*/ 41535 w 56255"/>
                <a:gd name="connsiteY21" fmla="*/ 37051 h 88761"/>
                <a:gd name="connsiteX22" fmla="*/ 41535 w 56255"/>
                <a:gd name="connsiteY22" fmla="*/ 37051 h 88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6255" h="88761">
                  <a:moveTo>
                    <a:pt x="41535" y="37051"/>
                  </a:moveTo>
                  <a:cubicBezTo>
                    <a:pt x="44730" y="35774"/>
                    <a:pt x="48563" y="37051"/>
                    <a:pt x="49841" y="40243"/>
                  </a:cubicBezTo>
                  <a:lnTo>
                    <a:pt x="51758" y="44712"/>
                  </a:lnTo>
                  <a:cubicBezTo>
                    <a:pt x="54953" y="40243"/>
                    <a:pt x="56231" y="35136"/>
                    <a:pt x="56231" y="29390"/>
                  </a:cubicBezTo>
                  <a:cubicBezTo>
                    <a:pt x="56871" y="14069"/>
                    <a:pt x="44730" y="662"/>
                    <a:pt x="29394" y="24"/>
                  </a:cubicBezTo>
                  <a:cubicBezTo>
                    <a:pt x="14058" y="-615"/>
                    <a:pt x="639" y="11515"/>
                    <a:pt x="0" y="26837"/>
                  </a:cubicBezTo>
                  <a:cubicBezTo>
                    <a:pt x="0" y="27475"/>
                    <a:pt x="0" y="28752"/>
                    <a:pt x="0" y="29390"/>
                  </a:cubicBezTo>
                  <a:cubicBezTo>
                    <a:pt x="0" y="34497"/>
                    <a:pt x="1917" y="40243"/>
                    <a:pt x="4473" y="44712"/>
                  </a:cubicBezTo>
                  <a:lnTo>
                    <a:pt x="6390" y="40243"/>
                  </a:lnTo>
                  <a:cubicBezTo>
                    <a:pt x="7668" y="37051"/>
                    <a:pt x="11502" y="35136"/>
                    <a:pt x="14697" y="36413"/>
                  </a:cubicBezTo>
                  <a:cubicBezTo>
                    <a:pt x="14697" y="36413"/>
                    <a:pt x="14697" y="36413"/>
                    <a:pt x="14697" y="36413"/>
                  </a:cubicBezTo>
                  <a:cubicBezTo>
                    <a:pt x="17892" y="37689"/>
                    <a:pt x="19809" y="41520"/>
                    <a:pt x="17892" y="44712"/>
                  </a:cubicBezTo>
                  <a:cubicBezTo>
                    <a:pt x="17892" y="44712"/>
                    <a:pt x="17892" y="44712"/>
                    <a:pt x="17892" y="44712"/>
                  </a:cubicBezTo>
                  <a:lnTo>
                    <a:pt x="0" y="88761"/>
                  </a:lnTo>
                  <a:lnTo>
                    <a:pt x="21726" y="88761"/>
                  </a:lnTo>
                  <a:lnTo>
                    <a:pt x="21726" y="79185"/>
                  </a:lnTo>
                  <a:cubicBezTo>
                    <a:pt x="21726" y="75355"/>
                    <a:pt x="24282" y="72801"/>
                    <a:pt x="28116" y="72801"/>
                  </a:cubicBezTo>
                  <a:cubicBezTo>
                    <a:pt x="31950" y="72801"/>
                    <a:pt x="34506" y="75355"/>
                    <a:pt x="34506" y="79185"/>
                  </a:cubicBezTo>
                  <a:lnTo>
                    <a:pt x="34506" y="88761"/>
                  </a:lnTo>
                  <a:lnTo>
                    <a:pt x="56231" y="88761"/>
                  </a:lnTo>
                  <a:lnTo>
                    <a:pt x="38340" y="44712"/>
                  </a:lnTo>
                  <a:cubicBezTo>
                    <a:pt x="36423" y="42158"/>
                    <a:pt x="38340" y="38328"/>
                    <a:pt x="41535" y="37051"/>
                  </a:cubicBezTo>
                  <a:cubicBezTo>
                    <a:pt x="41535" y="37051"/>
                    <a:pt x="41535" y="37051"/>
                    <a:pt x="41535" y="3705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34" name="Graphic 4">
              <a:extLst>
                <a:ext uri="{FF2B5EF4-FFF2-40B4-BE49-F238E27FC236}">
                  <a16:creationId xmlns:a16="http://schemas.microsoft.com/office/drawing/2014/main" id="{44C2FC65-920D-9D86-0E28-BDAFA2A9DE3A}"/>
                </a:ext>
              </a:extLst>
            </p:cNvPr>
            <p:cNvSpPr/>
            <p:nvPr/>
          </p:nvSpPr>
          <p:spPr>
            <a:xfrm>
              <a:off x="5099169" y="3339623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0667 h 361971"/>
                <a:gd name="connsiteX2" fmla="*/ 180835 w 362309"/>
                <a:gd name="connsiteY2" fmla="*/ 361972 h 361971"/>
                <a:gd name="connsiteX3" fmla="*/ 362310 w 362309"/>
                <a:gd name="connsiteY3" fmla="*/ 181305 h 361971"/>
                <a:gd name="connsiteX4" fmla="*/ 362310 w 362309"/>
                <a:gd name="connsiteY4" fmla="*/ 181305 h 361971"/>
                <a:gd name="connsiteX5" fmla="*/ 181474 w 362309"/>
                <a:gd name="connsiteY5" fmla="*/ 0 h 361971"/>
                <a:gd name="connsiteX6" fmla="*/ 181474 w 362309"/>
                <a:gd name="connsiteY6" fmla="*/ 0 h 361971"/>
                <a:gd name="connsiteX7" fmla="*/ 263904 w 362309"/>
                <a:gd name="connsiteY7" fmla="*/ 299409 h 361971"/>
                <a:gd name="connsiteX8" fmla="*/ 261349 w 362309"/>
                <a:gd name="connsiteY8" fmla="*/ 300047 h 361971"/>
                <a:gd name="connsiteX9" fmla="*/ 255597 w 362309"/>
                <a:gd name="connsiteY9" fmla="*/ 296217 h 361971"/>
                <a:gd name="connsiteX10" fmla="*/ 214702 w 362309"/>
                <a:gd name="connsiteY10" fmla="*/ 195988 h 361971"/>
                <a:gd name="connsiteX11" fmla="*/ 187864 w 362309"/>
                <a:gd name="connsiteY11" fmla="*/ 195988 h 361971"/>
                <a:gd name="connsiteX12" fmla="*/ 187864 w 362309"/>
                <a:gd name="connsiteY12" fmla="*/ 205564 h 361971"/>
                <a:gd name="connsiteX13" fmla="*/ 181474 w 362309"/>
                <a:gd name="connsiteY13" fmla="*/ 211948 h 361971"/>
                <a:gd name="connsiteX14" fmla="*/ 175084 w 362309"/>
                <a:gd name="connsiteY14" fmla="*/ 205564 h 361971"/>
                <a:gd name="connsiteX15" fmla="*/ 175084 w 362309"/>
                <a:gd name="connsiteY15" fmla="*/ 195988 h 361971"/>
                <a:gd name="connsiteX16" fmla="*/ 148247 w 362309"/>
                <a:gd name="connsiteY16" fmla="*/ 195988 h 361971"/>
                <a:gd name="connsiteX17" fmla="*/ 107351 w 362309"/>
                <a:gd name="connsiteY17" fmla="*/ 296217 h 361971"/>
                <a:gd name="connsiteX18" fmla="*/ 99044 w 362309"/>
                <a:gd name="connsiteY18" fmla="*/ 299409 h 361971"/>
                <a:gd name="connsiteX19" fmla="*/ 95849 w 362309"/>
                <a:gd name="connsiteY19" fmla="*/ 291109 h 361971"/>
                <a:gd name="connsiteX20" fmla="*/ 134828 w 362309"/>
                <a:gd name="connsiteY20" fmla="*/ 195350 h 361971"/>
                <a:gd name="connsiteX21" fmla="*/ 117575 w 362309"/>
                <a:gd name="connsiteY21" fmla="*/ 195350 h 361971"/>
                <a:gd name="connsiteX22" fmla="*/ 111185 w 362309"/>
                <a:gd name="connsiteY22" fmla="*/ 188966 h 361971"/>
                <a:gd name="connsiteX23" fmla="*/ 117575 w 362309"/>
                <a:gd name="connsiteY23" fmla="*/ 182582 h 361971"/>
                <a:gd name="connsiteX24" fmla="*/ 139940 w 362309"/>
                <a:gd name="connsiteY24" fmla="*/ 182582 h 361971"/>
                <a:gd name="connsiteX25" fmla="*/ 152720 w 362309"/>
                <a:gd name="connsiteY25" fmla="*/ 151939 h 361971"/>
                <a:gd name="connsiteX26" fmla="*/ 153358 w 362309"/>
                <a:gd name="connsiteY26" fmla="*/ 93845 h 361971"/>
                <a:gd name="connsiteX27" fmla="*/ 175723 w 362309"/>
                <a:gd name="connsiteY27" fmla="*/ 82354 h 361971"/>
                <a:gd name="connsiteX28" fmla="*/ 175723 w 362309"/>
                <a:gd name="connsiteY28" fmla="*/ 68309 h 361971"/>
                <a:gd name="connsiteX29" fmla="*/ 182113 w 362309"/>
                <a:gd name="connsiteY29" fmla="*/ 61925 h 361971"/>
                <a:gd name="connsiteX30" fmla="*/ 188503 w 362309"/>
                <a:gd name="connsiteY30" fmla="*/ 68309 h 361971"/>
                <a:gd name="connsiteX31" fmla="*/ 188503 w 362309"/>
                <a:gd name="connsiteY31" fmla="*/ 82354 h 361971"/>
                <a:gd name="connsiteX32" fmla="*/ 223009 w 362309"/>
                <a:gd name="connsiteY32" fmla="*/ 128957 h 361971"/>
                <a:gd name="connsiteX33" fmla="*/ 211507 w 362309"/>
                <a:gd name="connsiteY33" fmla="*/ 151300 h 361971"/>
                <a:gd name="connsiteX34" fmla="*/ 224287 w 362309"/>
                <a:gd name="connsiteY34" fmla="*/ 181944 h 361971"/>
                <a:gd name="connsiteX35" fmla="*/ 246651 w 362309"/>
                <a:gd name="connsiteY35" fmla="*/ 181944 h 361971"/>
                <a:gd name="connsiteX36" fmla="*/ 253041 w 362309"/>
                <a:gd name="connsiteY36" fmla="*/ 188327 h 361971"/>
                <a:gd name="connsiteX37" fmla="*/ 246651 w 362309"/>
                <a:gd name="connsiteY37" fmla="*/ 194711 h 361971"/>
                <a:gd name="connsiteX38" fmla="*/ 229399 w 362309"/>
                <a:gd name="connsiteY38" fmla="*/ 194711 h 361971"/>
                <a:gd name="connsiteX39" fmla="*/ 268377 w 362309"/>
                <a:gd name="connsiteY39" fmla="*/ 290471 h 361971"/>
                <a:gd name="connsiteX40" fmla="*/ 263904 w 362309"/>
                <a:gd name="connsiteY40" fmla="*/ 299409 h 361971"/>
                <a:gd name="connsiteX41" fmla="*/ 263904 w 362309"/>
                <a:gd name="connsiteY41" fmla="*/ 299409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257"/>
                    <a:pt x="81152" y="361972"/>
                    <a:pt x="180835" y="361972"/>
                  </a:cubicBezTo>
                  <a:cubicBezTo>
                    <a:pt x="280518" y="361972"/>
                    <a:pt x="362310" y="280895"/>
                    <a:pt x="362310" y="181305"/>
                  </a:cubicBezTo>
                  <a:lnTo>
                    <a:pt x="362310" y="181305"/>
                  </a:lnTo>
                  <a:cubicBezTo>
                    <a:pt x="362310" y="81077"/>
                    <a:pt x="281157" y="0"/>
                    <a:pt x="181474" y="0"/>
                  </a:cubicBezTo>
                  <a:cubicBezTo>
                    <a:pt x="181474" y="0"/>
                    <a:pt x="181474" y="0"/>
                    <a:pt x="181474" y="0"/>
                  </a:cubicBezTo>
                  <a:close/>
                  <a:moveTo>
                    <a:pt x="263904" y="299409"/>
                  </a:moveTo>
                  <a:cubicBezTo>
                    <a:pt x="263266" y="299409"/>
                    <a:pt x="262626" y="300047"/>
                    <a:pt x="261349" y="300047"/>
                  </a:cubicBezTo>
                  <a:cubicBezTo>
                    <a:pt x="258792" y="300047"/>
                    <a:pt x="256236" y="298770"/>
                    <a:pt x="255597" y="296217"/>
                  </a:cubicBezTo>
                  <a:lnTo>
                    <a:pt x="214702" y="195988"/>
                  </a:lnTo>
                  <a:lnTo>
                    <a:pt x="187864" y="195988"/>
                  </a:lnTo>
                  <a:lnTo>
                    <a:pt x="187864" y="205564"/>
                  </a:lnTo>
                  <a:cubicBezTo>
                    <a:pt x="187864" y="209395"/>
                    <a:pt x="185308" y="211948"/>
                    <a:pt x="181474" y="211948"/>
                  </a:cubicBezTo>
                  <a:cubicBezTo>
                    <a:pt x="177640" y="211948"/>
                    <a:pt x="175084" y="209395"/>
                    <a:pt x="175084" y="205564"/>
                  </a:cubicBezTo>
                  <a:lnTo>
                    <a:pt x="175084" y="195988"/>
                  </a:lnTo>
                  <a:lnTo>
                    <a:pt x="148247" y="195988"/>
                  </a:lnTo>
                  <a:lnTo>
                    <a:pt x="107351" y="296217"/>
                  </a:lnTo>
                  <a:cubicBezTo>
                    <a:pt x="106073" y="299409"/>
                    <a:pt x="102239" y="301324"/>
                    <a:pt x="99044" y="299409"/>
                  </a:cubicBezTo>
                  <a:cubicBezTo>
                    <a:pt x="95849" y="297493"/>
                    <a:pt x="93932" y="294301"/>
                    <a:pt x="95849" y="291109"/>
                  </a:cubicBezTo>
                  <a:lnTo>
                    <a:pt x="134828" y="195350"/>
                  </a:lnTo>
                  <a:lnTo>
                    <a:pt x="117575" y="195350"/>
                  </a:lnTo>
                  <a:cubicBezTo>
                    <a:pt x="113741" y="195350"/>
                    <a:pt x="111185" y="192796"/>
                    <a:pt x="111185" y="188966"/>
                  </a:cubicBezTo>
                  <a:cubicBezTo>
                    <a:pt x="111185" y="185135"/>
                    <a:pt x="113741" y="182582"/>
                    <a:pt x="117575" y="182582"/>
                  </a:cubicBezTo>
                  <a:lnTo>
                    <a:pt x="139940" y="182582"/>
                  </a:lnTo>
                  <a:lnTo>
                    <a:pt x="152720" y="151939"/>
                  </a:lnTo>
                  <a:cubicBezTo>
                    <a:pt x="136745" y="135979"/>
                    <a:pt x="136745" y="109805"/>
                    <a:pt x="153358" y="93845"/>
                  </a:cubicBezTo>
                  <a:cubicBezTo>
                    <a:pt x="159748" y="88099"/>
                    <a:pt x="167416" y="83630"/>
                    <a:pt x="175723" y="82354"/>
                  </a:cubicBezTo>
                  <a:lnTo>
                    <a:pt x="175723" y="68309"/>
                  </a:lnTo>
                  <a:cubicBezTo>
                    <a:pt x="175723" y="64478"/>
                    <a:pt x="178279" y="61925"/>
                    <a:pt x="182113" y="61925"/>
                  </a:cubicBezTo>
                  <a:cubicBezTo>
                    <a:pt x="185947" y="61925"/>
                    <a:pt x="188503" y="64478"/>
                    <a:pt x="188503" y="68309"/>
                  </a:cubicBezTo>
                  <a:lnTo>
                    <a:pt x="188503" y="82354"/>
                  </a:lnTo>
                  <a:cubicBezTo>
                    <a:pt x="210868" y="85546"/>
                    <a:pt x="226204" y="106613"/>
                    <a:pt x="223009" y="128957"/>
                  </a:cubicBezTo>
                  <a:cubicBezTo>
                    <a:pt x="221731" y="137256"/>
                    <a:pt x="217897" y="145555"/>
                    <a:pt x="211507" y="151300"/>
                  </a:cubicBezTo>
                  <a:lnTo>
                    <a:pt x="224287" y="181944"/>
                  </a:lnTo>
                  <a:lnTo>
                    <a:pt x="246651" y="181944"/>
                  </a:lnTo>
                  <a:cubicBezTo>
                    <a:pt x="250486" y="181944"/>
                    <a:pt x="253041" y="184497"/>
                    <a:pt x="253041" y="188327"/>
                  </a:cubicBezTo>
                  <a:cubicBezTo>
                    <a:pt x="253041" y="192158"/>
                    <a:pt x="250486" y="194711"/>
                    <a:pt x="246651" y="194711"/>
                  </a:cubicBezTo>
                  <a:lnTo>
                    <a:pt x="229399" y="194711"/>
                  </a:lnTo>
                  <a:lnTo>
                    <a:pt x="268377" y="290471"/>
                  </a:lnTo>
                  <a:cubicBezTo>
                    <a:pt x="269016" y="294301"/>
                    <a:pt x="267099" y="298132"/>
                    <a:pt x="263904" y="299409"/>
                  </a:cubicBezTo>
                  <a:cubicBezTo>
                    <a:pt x="263904" y="299409"/>
                    <a:pt x="263904" y="299409"/>
                    <a:pt x="263904" y="299409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</p:grpSp>
      <p:grpSp>
        <p:nvGrpSpPr>
          <p:cNvPr id="35" name="Graphic 4">
            <a:extLst>
              <a:ext uri="{FF2B5EF4-FFF2-40B4-BE49-F238E27FC236}">
                <a16:creationId xmlns:a16="http://schemas.microsoft.com/office/drawing/2014/main" id="{D45B7A00-FF60-59CA-F0E9-ABF70DA26201}"/>
              </a:ext>
            </a:extLst>
          </p:cNvPr>
          <p:cNvGrpSpPr>
            <a:grpSpLocks noChangeAspect="1"/>
          </p:cNvGrpSpPr>
          <p:nvPr/>
        </p:nvGrpSpPr>
        <p:grpSpPr>
          <a:xfrm>
            <a:off x="5476989" y="1924232"/>
            <a:ext cx="463436" cy="462999"/>
            <a:chOff x="1952125" y="918179"/>
            <a:chExt cx="362313" cy="361971"/>
          </a:xfrm>
          <a:solidFill>
            <a:srgbClr val="00ABAB"/>
          </a:solidFill>
        </p:grpSpPr>
        <p:sp>
          <p:nvSpPr>
            <p:cNvPr id="36" name="Graphic 4">
              <a:extLst>
                <a:ext uri="{FF2B5EF4-FFF2-40B4-BE49-F238E27FC236}">
                  <a16:creationId xmlns:a16="http://schemas.microsoft.com/office/drawing/2014/main" id="{1018D8E8-3B35-B53D-2B6C-E2095A204D2E}"/>
                </a:ext>
              </a:extLst>
            </p:cNvPr>
            <p:cNvSpPr/>
            <p:nvPr/>
          </p:nvSpPr>
          <p:spPr>
            <a:xfrm>
              <a:off x="2106123" y="1179922"/>
              <a:ext cx="5111" cy="5107"/>
            </a:xfrm>
            <a:custGeom>
              <a:avLst/>
              <a:gdLst>
                <a:gd name="connsiteX0" fmla="*/ 2556 w 5111"/>
                <a:gd name="connsiteY0" fmla="*/ 5107 h 5107"/>
                <a:gd name="connsiteX1" fmla="*/ 5112 w 5111"/>
                <a:gd name="connsiteY1" fmla="*/ 2554 h 5107"/>
                <a:gd name="connsiteX2" fmla="*/ 2556 w 5111"/>
                <a:gd name="connsiteY2" fmla="*/ 0 h 5107"/>
                <a:gd name="connsiteX3" fmla="*/ 0 w 5111"/>
                <a:gd name="connsiteY3" fmla="*/ 2554 h 5107"/>
                <a:gd name="connsiteX4" fmla="*/ 2556 w 5111"/>
                <a:gd name="connsiteY4" fmla="*/ 5107 h 5107"/>
                <a:gd name="connsiteX5" fmla="*/ 2556 w 5111"/>
                <a:gd name="connsiteY5" fmla="*/ 5107 h 5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1" h="5107">
                  <a:moveTo>
                    <a:pt x="2556" y="5107"/>
                  </a:moveTo>
                  <a:cubicBezTo>
                    <a:pt x="3834" y="5107"/>
                    <a:pt x="5112" y="3830"/>
                    <a:pt x="5112" y="2554"/>
                  </a:cubicBezTo>
                  <a:cubicBezTo>
                    <a:pt x="5112" y="1277"/>
                    <a:pt x="3834" y="0"/>
                    <a:pt x="2556" y="0"/>
                  </a:cubicBezTo>
                  <a:cubicBezTo>
                    <a:pt x="1278" y="0"/>
                    <a:pt x="0" y="1277"/>
                    <a:pt x="0" y="2554"/>
                  </a:cubicBezTo>
                  <a:cubicBezTo>
                    <a:pt x="0" y="3830"/>
                    <a:pt x="1278" y="5107"/>
                    <a:pt x="2556" y="5107"/>
                  </a:cubicBezTo>
                  <a:lnTo>
                    <a:pt x="2556" y="5107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37" name="Graphic 4">
              <a:extLst>
                <a:ext uri="{FF2B5EF4-FFF2-40B4-BE49-F238E27FC236}">
                  <a16:creationId xmlns:a16="http://schemas.microsoft.com/office/drawing/2014/main" id="{E5A68ED6-0C4F-6921-6786-3ECD2AF26848}"/>
                </a:ext>
              </a:extLst>
            </p:cNvPr>
            <p:cNvSpPr/>
            <p:nvPr/>
          </p:nvSpPr>
          <p:spPr>
            <a:xfrm>
              <a:off x="2119542" y="1096292"/>
              <a:ext cx="5278" cy="5107"/>
            </a:xfrm>
            <a:custGeom>
              <a:avLst/>
              <a:gdLst>
                <a:gd name="connsiteX0" fmla="*/ 2556 w 5278"/>
                <a:gd name="connsiteY0" fmla="*/ 0 h 5107"/>
                <a:gd name="connsiteX1" fmla="*/ 0 w 5278"/>
                <a:gd name="connsiteY1" fmla="*/ 2554 h 5107"/>
                <a:gd name="connsiteX2" fmla="*/ 2556 w 5278"/>
                <a:gd name="connsiteY2" fmla="*/ 5107 h 5107"/>
                <a:gd name="connsiteX3" fmla="*/ 5112 w 5278"/>
                <a:gd name="connsiteY3" fmla="*/ 2554 h 5107"/>
                <a:gd name="connsiteX4" fmla="*/ 2556 w 5278"/>
                <a:gd name="connsiteY4" fmla="*/ 0 h 5107"/>
                <a:gd name="connsiteX5" fmla="*/ 2556 w 5278"/>
                <a:gd name="connsiteY5" fmla="*/ 0 h 5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78" h="5107">
                  <a:moveTo>
                    <a:pt x="2556" y="0"/>
                  </a:moveTo>
                  <a:cubicBezTo>
                    <a:pt x="1278" y="0"/>
                    <a:pt x="0" y="1277"/>
                    <a:pt x="0" y="2554"/>
                  </a:cubicBezTo>
                  <a:cubicBezTo>
                    <a:pt x="0" y="3830"/>
                    <a:pt x="1278" y="5107"/>
                    <a:pt x="2556" y="5107"/>
                  </a:cubicBezTo>
                  <a:cubicBezTo>
                    <a:pt x="3834" y="5107"/>
                    <a:pt x="5112" y="3830"/>
                    <a:pt x="5112" y="2554"/>
                  </a:cubicBezTo>
                  <a:cubicBezTo>
                    <a:pt x="5751" y="1277"/>
                    <a:pt x="4473" y="0"/>
                    <a:pt x="2556" y="0"/>
                  </a:cubicBezTo>
                  <a:lnTo>
                    <a:pt x="2556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38" name="Graphic 4">
              <a:extLst>
                <a:ext uri="{FF2B5EF4-FFF2-40B4-BE49-F238E27FC236}">
                  <a16:creationId xmlns:a16="http://schemas.microsoft.com/office/drawing/2014/main" id="{E4676710-FD78-C336-ACBA-BAF4B612CEC4}"/>
                </a:ext>
              </a:extLst>
            </p:cNvPr>
            <p:cNvSpPr/>
            <p:nvPr/>
          </p:nvSpPr>
          <p:spPr>
            <a:xfrm>
              <a:off x="2142379" y="1096930"/>
              <a:ext cx="5278" cy="5107"/>
            </a:xfrm>
            <a:custGeom>
              <a:avLst/>
              <a:gdLst>
                <a:gd name="connsiteX0" fmla="*/ 2722 w 5278"/>
                <a:gd name="connsiteY0" fmla="*/ 5107 h 5107"/>
                <a:gd name="connsiteX1" fmla="*/ 5278 w 5278"/>
                <a:gd name="connsiteY1" fmla="*/ 2554 h 5107"/>
                <a:gd name="connsiteX2" fmla="*/ 2722 w 5278"/>
                <a:gd name="connsiteY2" fmla="*/ 0 h 5107"/>
                <a:gd name="connsiteX3" fmla="*/ 2722 w 5278"/>
                <a:gd name="connsiteY3" fmla="*/ 0 h 5107"/>
                <a:gd name="connsiteX4" fmla="*/ 166 w 5278"/>
                <a:gd name="connsiteY4" fmla="*/ 2554 h 5107"/>
                <a:gd name="connsiteX5" fmla="*/ 2722 w 5278"/>
                <a:gd name="connsiteY5" fmla="*/ 5107 h 5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78" h="5107">
                  <a:moveTo>
                    <a:pt x="2722" y="5107"/>
                  </a:moveTo>
                  <a:cubicBezTo>
                    <a:pt x="4000" y="5107"/>
                    <a:pt x="5278" y="3830"/>
                    <a:pt x="5278" y="2554"/>
                  </a:cubicBezTo>
                  <a:cubicBezTo>
                    <a:pt x="5278" y="1277"/>
                    <a:pt x="4000" y="0"/>
                    <a:pt x="2722" y="0"/>
                  </a:cubicBezTo>
                  <a:lnTo>
                    <a:pt x="2722" y="0"/>
                  </a:lnTo>
                  <a:cubicBezTo>
                    <a:pt x="1444" y="0"/>
                    <a:pt x="166" y="1277"/>
                    <a:pt x="166" y="2554"/>
                  </a:cubicBezTo>
                  <a:cubicBezTo>
                    <a:pt x="-473" y="3830"/>
                    <a:pt x="805" y="5107"/>
                    <a:pt x="2722" y="5107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39" name="Graphic 4">
              <a:extLst>
                <a:ext uri="{FF2B5EF4-FFF2-40B4-BE49-F238E27FC236}">
                  <a16:creationId xmlns:a16="http://schemas.microsoft.com/office/drawing/2014/main" id="{3E44C18D-B1A1-4824-5B46-82ACE4DB88E6}"/>
                </a:ext>
              </a:extLst>
            </p:cNvPr>
            <p:cNvSpPr/>
            <p:nvPr/>
          </p:nvSpPr>
          <p:spPr>
            <a:xfrm>
              <a:off x="2131044" y="1179922"/>
              <a:ext cx="5111" cy="5107"/>
            </a:xfrm>
            <a:custGeom>
              <a:avLst/>
              <a:gdLst>
                <a:gd name="connsiteX0" fmla="*/ 2556 w 5111"/>
                <a:gd name="connsiteY0" fmla="*/ 5107 h 5107"/>
                <a:gd name="connsiteX1" fmla="*/ 5112 w 5111"/>
                <a:gd name="connsiteY1" fmla="*/ 2554 h 5107"/>
                <a:gd name="connsiteX2" fmla="*/ 2556 w 5111"/>
                <a:gd name="connsiteY2" fmla="*/ 0 h 5107"/>
                <a:gd name="connsiteX3" fmla="*/ 0 w 5111"/>
                <a:gd name="connsiteY3" fmla="*/ 2554 h 5107"/>
                <a:gd name="connsiteX4" fmla="*/ 2556 w 5111"/>
                <a:gd name="connsiteY4" fmla="*/ 5107 h 5107"/>
                <a:gd name="connsiteX5" fmla="*/ 2556 w 5111"/>
                <a:gd name="connsiteY5" fmla="*/ 5107 h 5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1" h="5107">
                  <a:moveTo>
                    <a:pt x="2556" y="5107"/>
                  </a:moveTo>
                  <a:cubicBezTo>
                    <a:pt x="3834" y="5107"/>
                    <a:pt x="5112" y="3830"/>
                    <a:pt x="5112" y="2554"/>
                  </a:cubicBezTo>
                  <a:cubicBezTo>
                    <a:pt x="5112" y="1277"/>
                    <a:pt x="3834" y="0"/>
                    <a:pt x="2556" y="0"/>
                  </a:cubicBezTo>
                  <a:cubicBezTo>
                    <a:pt x="1278" y="0"/>
                    <a:pt x="0" y="1277"/>
                    <a:pt x="0" y="2554"/>
                  </a:cubicBezTo>
                  <a:cubicBezTo>
                    <a:pt x="0" y="3830"/>
                    <a:pt x="1278" y="5107"/>
                    <a:pt x="2556" y="5107"/>
                  </a:cubicBezTo>
                  <a:lnTo>
                    <a:pt x="2556" y="5107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40" name="Graphic 4">
              <a:extLst>
                <a:ext uri="{FF2B5EF4-FFF2-40B4-BE49-F238E27FC236}">
                  <a16:creationId xmlns:a16="http://schemas.microsoft.com/office/drawing/2014/main" id="{4A6CA20B-50B9-6123-4982-E7ED8EA9D979}"/>
                </a:ext>
              </a:extLst>
            </p:cNvPr>
            <p:cNvSpPr/>
            <p:nvPr/>
          </p:nvSpPr>
          <p:spPr>
            <a:xfrm>
              <a:off x="2155964" y="1179922"/>
              <a:ext cx="5112" cy="5107"/>
            </a:xfrm>
            <a:custGeom>
              <a:avLst/>
              <a:gdLst>
                <a:gd name="connsiteX0" fmla="*/ 2556 w 5112"/>
                <a:gd name="connsiteY0" fmla="*/ 5107 h 5107"/>
                <a:gd name="connsiteX1" fmla="*/ 5112 w 5112"/>
                <a:gd name="connsiteY1" fmla="*/ 2554 h 5107"/>
                <a:gd name="connsiteX2" fmla="*/ 2556 w 5112"/>
                <a:gd name="connsiteY2" fmla="*/ 0 h 5107"/>
                <a:gd name="connsiteX3" fmla="*/ 0 w 5112"/>
                <a:gd name="connsiteY3" fmla="*/ 2554 h 5107"/>
                <a:gd name="connsiteX4" fmla="*/ 2556 w 5112"/>
                <a:gd name="connsiteY4" fmla="*/ 5107 h 5107"/>
                <a:gd name="connsiteX5" fmla="*/ 2556 w 5112"/>
                <a:gd name="connsiteY5" fmla="*/ 5107 h 5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2" h="5107">
                  <a:moveTo>
                    <a:pt x="2556" y="5107"/>
                  </a:moveTo>
                  <a:cubicBezTo>
                    <a:pt x="3834" y="5107"/>
                    <a:pt x="5112" y="3830"/>
                    <a:pt x="5112" y="2554"/>
                  </a:cubicBezTo>
                  <a:cubicBezTo>
                    <a:pt x="5112" y="1277"/>
                    <a:pt x="3834" y="0"/>
                    <a:pt x="2556" y="0"/>
                  </a:cubicBezTo>
                  <a:cubicBezTo>
                    <a:pt x="1278" y="0"/>
                    <a:pt x="0" y="1277"/>
                    <a:pt x="0" y="2554"/>
                  </a:cubicBezTo>
                  <a:cubicBezTo>
                    <a:pt x="0" y="3830"/>
                    <a:pt x="1278" y="5107"/>
                    <a:pt x="2556" y="5107"/>
                  </a:cubicBezTo>
                  <a:lnTo>
                    <a:pt x="2556" y="5107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41" name="Graphic 4">
              <a:extLst>
                <a:ext uri="{FF2B5EF4-FFF2-40B4-BE49-F238E27FC236}">
                  <a16:creationId xmlns:a16="http://schemas.microsoft.com/office/drawing/2014/main" id="{F64A5185-A3B2-8398-2CAF-A2DF51E41EFA}"/>
                </a:ext>
              </a:extLst>
            </p:cNvPr>
            <p:cNvSpPr/>
            <p:nvPr/>
          </p:nvSpPr>
          <p:spPr>
            <a:xfrm>
              <a:off x="2088870" y="1160132"/>
              <a:ext cx="89459" cy="43411"/>
            </a:xfrm>
            <a:custGeom>
              <a:avLst/>
              <a:gdLst>
                <a:gd name="connsiteX0" fmla="*/ 0 w 89459"/>
                <a:gd name="connsiteY0" fmla="*/ 43411 h 43411"/>
                <a:gd name="connsiteX1" fmla="*/ 89459 w 89459"/>
                <a:gd name="connsiteY1" fmla="*/ 43411 h 43411"/>
                <a:gd name="connsiteX2" fmla="*/ 89459 w 89459"/>
                <a:gd name="connsiteY2" fmla="*/ 0 h 43411"/>
                <a:gd name="connsiteX3" fmla="*/ 0 w 89459"/>
                <a:gd name="connsiteY3" fmla="*/ 0 h 43411"/>
                <a:gd name="connsiteX4" fmla="*/ 0 w 89459"/>
                <a:gd name="connsiteY4" fmla="*/ 43411 h 43411"/>
                <a:gd name="connsiteX5" fmla="*/ 69650 w 89459"/>
                <a:gd name="connsiteY5" fmla="*/ 11491 h 43411"/>
                <a:gd name="connsiteX6" fmla="*/ 78596 w 89459"/>
                <a:gd name="connsiteY6" fmla="*/ 22344 h 43411"/>
                <a:gd name="connsiteX7" fmla="*/ 69650 w 89459"/>
                <a:gd name="connsiteY7" fmla="*/ 31281 h 43411"/>
                <a:gd name="connsiteX8" fmla="*/ 58788 w 89459"/>
                <a:gd name="connsiteY8" fmla="*/ 22344 h 43411"/>
                <a:gd name="connsiteX9" fmla="*/ 67733 w 89459"/>
                <a:gd name="connsiteY9" fmla="*/ 11491 h 43411"/>
                <a:gd name="connsiteX10" fmla="*/ 69650 w 89459"/>
                <a:gd name="connsiteY10" fmla="*/ 11491 h 43411"/>
                <a:gd name="connsiteX11" fmla="*/ 44730 w 89459"/>
                <a:gd name="connsiteY11" fmla="*/ 11491 h 43411"/>
                <a:gd name="connsiteX12" fmla="*/ 53675 w 89459"/>
                <a:gd name="connsiteY12" fmla="*/ 22344 h 43411"/>
                <a:gd name="connsiteX13" fmla="*/ 44730 w 89459"/>
                <a:gd name="connsiteY13" fmla="*/ 31281 h 43411"/>
                <a:gd name="connsiteX14" fmla="*/ 33867 w 89459"/>
                <a:gd name="connsiteY14" fmla="*/ 22344 h 43411"/>
                <a:gd name="connsiteX15" fmla="*/ 42813 w 89459"/>
                <a:gd name="connsiteY15" fmla="*/ 11491 h 43411"/>
                <a:gd name="connsiteX16" fmla="*/ 44730 w 89459"/>
                <a:gd name="connsiteY16" fmla="*/ 11491 h 43411"/>
                <a:gd name="connsiteX17" fmla="*/ 19809 w 89459"/>
                <a:gd name="connsiteY17" fmla="*/ 12130 h 43411"/>
                <a:gd name="connsiteX18" fmla="*/ 30033 w 89459"/>
                <a:gd name="connsiteY18" fmla="*/ 22344 h 43411"/>
                <a:gd name="connsiteX19" fmla="*/ 19809 w 89459"/>
                <a:gd name="connsiteY19" fmla="*/ 32558 h 43411"/>
                <a:gd name="connsiteX20" fmla="*/ 9585 w 89459"/>
                <a:gd name="connsiteY20" fmla="*/ 22344 h 43411"/>
                <a:gd name="connsiteX21" fmla="*/ 9585 w 89459"/>
                <a:gd name="connsiteY21" fmla="*/ 22344 h 43411"/>
                <a:gd name="connsiteX22" fmla="*/ 19809 w 89459"/>
                <a:gd name="connsiteY22" fmla="*/ 12130 h 43411"/>
                <a:gd name="connsiteX23" fmla="*/ 19809 w 89459"/>
                <a:gd name="connsiteY23" fmla="*/ 12130 h 43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89459" h="43411">
                  <a:moveTo>
                    <a:pt x="0" y="43411"/>
                  </a:moveTo>
                  <a:lnTo>
                    <a:pt x="89459" y="43411"/>
                  </a:lnTo>
                  <a:lnTo>
                    <a:pt x="89459" y="0"/>
                  </a:lnTo>
                  <a:lnTo>
                    <a:pt x="0" y="0"/>
                  </a:lnTo>
                  <a:lnTo>
                    <a:pt x="0" y="43411"/>
                  </a:lnTo>
                  <a:close/>
                  <a:moveTo>
                    <a:pt x="69650" y="11491"/>
                  </a:moveTo>
                  <a:cubicBezTo>
                    <a:pt x="75401" y="12130"/>
                    <a:pt x="79235" y="16598"/>
                    <a:pt x="78596" y="22344"/>
                  </a:cubicBezTo>
                  <a:cubicBezTo>
                    <a:pt x="77957" y="27451"/>
                    <a:pt x="74123" y="31281"/>
                    <a:pt x="69650" y="31281"/>
                  </a:cubicBezTo>
                  <a:cubicBezTo>
                    <a:pt x="63899" y="31920"/>
                    <a:pt x="59427" y="27451"/>
                    <a:pt x="58788" y="22344"/>
                  </a:cubicBezTo>
                  <a:cubicBezTo>
                    <a:pt x="58148" y="16598"/>
                    <a:pt x="62622" y="12130"/>
                    <a:pt x="67733" y="11491"/>
                  </a:cubicBezTo>
                  <a:cubicBezTo>
                    <a:pt x="68372" y="11491"/>
                    <a:pt x="69011" y="11491"/>
                    <a:pt x="69650" y="11491"/>
                  </a:cubicBezTo>
                  <a:close/>
                  <a:moveTo>
                    <a:pt x="44730" y="11491"/>
                  </a:moveTo>
                  <a:cubicBezTo>
                    <a:pt x="50480" y="12130"/>
                    <a:pt x="54314" y="16598"/>
                    <a:pt x="53675" y="22344"/>
                  </a:cubicBezTo>
                  <a:cubicBezTo>
                    <a:pt x="53037" y="27451"/>
                    <a:pt x="49203" y="31281"/>
                    <a:pt x="44730" y="31281"/>
                  </a:cubicBezTo>
                  <a:cubicBezTo>
                    <a:pt x="38979" y="31920"/>
                    <a:pt x="34506" y="27451"/>
                    <a:pt x="33867" y="22344"/>
                  </a:cubicBezTo>
                  <a:cubicBezTo>
                    <a:pt x="33228" y="16598"/>
                    <a:pt x="37701" y="12130"/>
                    <a:pt x="42813" y="11491"/>
                  </a:cubicBezTo>
                  <a:cubicBezTo>
                    <a:pt x="44091" y="11491"/>
                    <a:pt x="44091" y="11491"/>
                    <a:pt x="44730" y="11491"/>
                  </a:cubicBezTo>
                  <a:close/>
                  <a:moveTo>
                    <a:pt x="19809" y="12130"/>
                  </a:moveTo>
                  <a:cubicBezTo>
                    <a:pt x="25560" y="12130"/>
                    <a:pt x="30033" y="16598"/>
                    <a:pt x="30033" y="22344"/>
                  </a:cubicBezTo>
                  <a:cubicBezTo>
                    <a:pt x="30033" y="28089"/>
                    <a:pt x="25560" y="32558"/>
                    <a:pt x="19809" y="32558"/>
                  </a:cubicBezTo>
                  <a:cubicBezTo>
                    <a:pt x="14058" y="32558"/>
                    <a:pt x="9585" y="28089"/>
                    <a:pt x="9585" y="22344"/>
                  </a:cubicBezTo>
                  <a:cubicBezTo>
                    <a:pt x="9585" y="22344"/>
                    <a:pt x="9585" y="22344"/>
                    <a:pt x="9585" y="22344"/>
                  </a:cubicBezTo>
                  <a:cubicBezTo>
                    <a:pt x="9585" y="16598"/>
                    <a:pt x="14058" y="12130"/>
                    <a:pt x="19809" y="12130"/>
                  </a:cubicBezTo>
                  <a:cubicBezTo>
                    <a:pt x="19809" y="12130"/>
                    <a:pt x="19809" y="12130"/>
                    <a:pt x="19809" y="1213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42" name="Graphic 4">
              <a:extLst>
                <a:ext uri="{FF2B5EF4-FFF2-40B4-BE49-F238E27FC236}">
                  <a16:creationId xmlns:a16="http://schemas.microsoft.com/office/drawing/2014/main" id="{A6A6A682-C48C-ADDA-7EB4-0FB4DF6F300B}"/>
                </a:ext>
              </a:extLst>
            </p:cNvPr>
            <p:cNvSpPr/>
            <p:nvPr/>
          </p:nvSpPr>
          <p:spPr>
            <a:xfrm>
              <a:off x="2088870" y="994148"/>
              <a:ext cx="89459" cy="43411"/>
            </a:xfrm>
            <a:custGeom>
              <a:avLst/>
              <a:gdLst>
                <a:gd name="connsiteX0" fmla="*/ 0 w 89459"/>
                <a:gd name="connsiteY0" fmla="*/ 43411 h 43411"/>
                <a:gd name="connsiteX1" fmla="*/ 89459 w 89459"/>
                <a:gd name="connsiteY1" fmla="*/ 43411 h 43411"/>
                <a:gd name="connsiteX2" fmla="*/ 89459 w 89459"/>
                <a:gd name="connsiteY2" fmla="*/ 0 h 43411"/>
                <a:gd name="connsiteX3" fmla="*/ 0 w 89459"/>
                <a:gd name="connsiteY3" fmla="*/ 0 h 43411"/>
                <a:gd name="connsiteX4" fmla="*/ 0 w 89459"/>
                <a:gd name="connsiteY4" fmla="*/ 43411 h 43411"/>
                <a:gd name="connsiteX5" fmla="*/ 44730 w 89459"/>
                <a:gd name="connsiteY5" fmla="*/ 11491 h 43411"/>
                <a:gd name="connsiteX6" fmla="*/ 54954 w 89459"/>
                <a:gd name="connsiteY6" fmla="*/ 21706 h 43411"/>
                <a:gd name="connsiteX7" fmla="*/ 44730 w 89459"/>
                <a:gd name="connsiteY7" fmla="*/ 31920 h 43411"/>
                <a:gd name="connsiteX8" fmla="*/ 34506 w 89459"/>
                <a:gd name="connsiteY8" fmla="*/ 21706 h 43411"/>
                <a:gd name="connsiteX9" fmla="*/ 44730 w 89459"/>
                <a:gd name="connsiteY9" fmla="*/ 11491 h 43411"/>
                <a:gd name="connsiteX10" fmla="*/ 44730 w 89459"/>
                <a:gd name="connsiteY10" fmla="*/ 11491 h 43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9459" h="43411">
                  <a:moveTo>
                    <a:pt x="0" y="43411"/>
                  </a:moveTo>
                  <a:lnTo>
                    <a:pt x="89459" y="43411"/>
                  </a:lnTo>
                  <a:lnTo>
                    <a:pt x="89459" y="0"/>
                  </a:lnTo>
                  <a:lnTo>
                    <a:pt x="0" y="0"/>
                  </a:lnTo>
                  <a:lnTo>
                    <a:pt x="0" y="43411"/>
                  </a:lnTo>
                  <a:close/>
                  <a:moveTo>
                    <a:pt x="44730" y="11491"/>
                  </a:moveTo>
                  <a:cubicBezTo>
                    <a:pt x="50480" y="11491"/>
                    <a:pt x="54954" y="15960"/>
                    <a:pt x="54954" y="21706"/>
                  </a:cubicBezTo>
                  <a:cubicBezTo>
                    <a:pt x="54954" y="27451"/>
                    <a:pt x="50480" y="31920"/>
                    <a:pt x="44730" y="31920"/>
                  </a:cubicBezTo>
                  <a:cubicBezTo>
                    <a:pt x="38979" y="31920"/>
                    <a:pt x="34506" y="27451"/>
                    <a:pt x="34506" y="21706"/>
                  </a:cubicBezTo>
                  <a:cubicBezTo>
                    <a:pt x="35145" y="15960"/>
                    <a:pt x="39618" y="11491"/>
                    <a:pt x="44730" y="11491"/>
                  </a:cubicBezTo>
                  <a:lnTo>
                    <a:pt x="44730" y="1149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43" name="Graphic 4">
              <a:extLst>
                <a:ext uri="{FF2B5EF4-FFF2-40B4-BE49-F238E27FC236}">
                  <a16:creationId xmlns:a16="http://schemas.microsoft.com/office/drawing/2014/main" id="{E022562F-EE64-E14D-1F03-264927C553F3}"/>
                </a:ext>
              </a:extLst>
            </p:cNvPr>
            <p:cNvSpPr/>
            <p:nvPr/>
          </p:nvSpPr>
          <p:spPr>
            <a:xfrm>
              <a:off x="1952125" y="918179"/>
              <a:ext cx="362313" cy="361971"/>
            </a:xfrm>
            <a:custGeom>
              <a:avLst/>
              <a:gdLst>
                <a:gd name="connsiteX0" fmla="*/ 181474 w 362313"/>
                <a:gd name="connsiteY0" fmla="*/ 0 h 361971"/>
                <a:gd name="connsiteX1" fmla="*/ 0 w 362313"/>
                <a:gd name="connsiteY1" fmla="*/ 180667 h 361971"/>
                <a:gd name="connsiteX2" fmla="*/ 180835 w 362313"/>
                <a:gd name="connsiteY2" fmla="*/ 361972 h 361971"/>
                <a:gd name="connsiteX3" fmla="*/ 362310 w 362313"/>
                <a:gd name="connsiteY3" fmla="*/ 181305 h 361971"/>
                <a:gd name="connsiteX4" fmla="*/ 362310 w 362313"/>
                <a:gd name="connsiteY4" fmla="*/ 181305 h 361971"/>
                <a:gd name="connsiteX5" fmla="*/ 181474 w 362313"/>
                <a:gd name="connsiteY5" fmla="*/ 0 h 361971"/>
                <a:gd name="connsiteX6" fmla="*/ 288186 w 362313"/>
                <a:gd name="connsiteY6" fmla="*/ 255998 h 361971"/>
                <a:gd name="connsiteX7" fmla="*/ 274128 w 362313"/>
                <a:gd name="connsiteY7" fmla="*/ 270681 h 361971"/>
                <a:gd name="connsiteX8" fmla="*/ 264543 w 362313"/>
                <a:gd name="connsiteY8" fmla="*/ 270681 h 361971"/>
                <a:gd name="connsiteX9" fmla="*/ 266460 w 362313"/>
                <a:gd name="connsiteY9" fmla="*/ 272596 h 361971"/>
                <a:gd name="connsiteX10" fmla="*/ 266460 w 362313"/>
                <a:gd name="connsiteY10" fmla="*/ 281534 h 361971"/>
                <a:gd name="connsiteX11" fmla="*/ 257514 w 362313"/>
                <a:gd name="connsiteY11" fmla="*/ 281534 h 361971"/>
                <a:gd name="connsiteX12" fmla="*/ 244735 w 362313"/>
                <a:gd name="connsiteY12" fmla="*/ 268766 h 361971"/>
                <a:gd name="connsiteX13" fmla="*/ 242818 w 362313"/>
                <a:gd name="connsiteY13" fmla="*/ 264297 h 361971"/>
                <a:gd name="connsiteX14" fmla="*/ 244735 w 362313"/>
                <a:gd name="connsiteY14" fmla="*/ 259828 h 361971"/>
                <a:gd name="connsiteX15" fmla="*/ 257514 w 362313"/>
                <a:gd name="connsiteY15" fmla="*/ 247060 h 361971"/>
                <a:gd name="connsiteX16" fmla="*/ 266460 w 362313"/>
                <a:gd name="connsiteY16" fmla="*/ 246422 h 361971"/>
                <a:gd name="connsiteX17" fmla="*/ 267099 w 362313"/>
                <a:gd name="connsiteY17" fmla="*/ 255359 h 361971"/>
                <a:gd name="connsiteX18" fmla="*/ 266460 w 362313"/>
                <a:gd name="connsiteY18" fmla="*/ 255998 h 361971"/>
                <a:gd name="connsiteX19" fmla="*/ 264543 w 362313"/>
                <a:gd name="connsiteY19" fmla="*/ 257913 h 361971"/>
                <a:gd name="connsiteX20" fmla="*/ 274128 w 362313"/>
                <a:gd name="connsiteY20" fmla="*/ 257913 h 361971"/>
                <a:gd name="connsiteX21" fmla="*/ 276045 w 362313"/>
                <a:gd name="connsiteY21" fmla="*/ 256636 h 361971"/>
                <a:gd name="connsiteX22" fmla="*/ 276045 w 362313"/>
                <a:gd name="connsiteY22" fmla="*/ 256636 h 361971"/>
                <a:gd name="connsiteX23" fmla="*/ 276045 w 362313"/>
                <a:gd name="connsiteY23" fmla="*/ 106612 h 361971"/>
                <a:gd name="connsiteX24" fmla="*/ 274767 w 362313"/>
                <a:gd name="connsiteY24" fmla="*/ 104697 h 361971"/>
                <a:gd name="connsiteX25" fmla="*/ 274767 w 362313"/>
                <a:gd name="connsiteY25" fmla="*/ 104697 h 361971"/>
                <a:gd name="connsiteX26" fmla="*/ 239623 w 362313"/>
                <a:gd name="connsiteY26" fmla="*/ 104697 h 361971"/>
                <a:gd name="connsiteX27" fmla="*/ 239623 w 362313"/>
                <a:gd name="connsiteY27" fmla="*/ 126403 h 361971"/>
                <a:gd name="connsiteX28" fmla="*/ 233233 w 362313"/>
                <a:gd name="connsiteY28" fmla="*/ 132787 h 361971"/>
                <a:gd name="connsiteX29" fmla="*/ 188503 w 362313"/>
                <a:gd name="connsiteY29" fmla="*/ 132787 h 361971"/>
                <a:gd name="connsiteX30" fmla="*/ 188503 w 362313"/>
                <a:gd name="connsiteY30" fmla="*/ 146832 h 361971"/>
                <a:gd name="connsiteX31" fmla="*/ 233233 w 362313"/>
                <a:gd name="connsiteY31" fmla="*/ 146832 h 361971"/>
                <a:gd name="connsiteX32" fmla="*/ 239623 w 362313"/>
                <a:gd name="connsiteY32" fmla="*/ 153216 h 361971"/>
                <a:gd name="connsiteX33" fmla="*/ 239623 w 362313"/>
                <a:gd name="connsiteY33" fmla="*/ 209395 h 361971"/>
                <a:gd name="connsiteX34" fmla="*/ 233233 w 362313"/>
                <a:gd name="connsiteY34" fmla="*/ 215779 h 361971"/>
                <a:gd name="connsiteX35" fmla="*/ 188503 w 362313"/>
                <a:gd name="connsiteY35" fmla="*/ 215779 h 361971"/>
                <a:gd name="connsiteX36" fmla="*/ 188503 w 362313"/>
                <a:gd name="connsiteY36" fmla="*/ 229823 h 361971"/>
                <a:gd name="connsiteX37" fmla="*/ 233233 w 362313"/>
                <a:gd name="connsiteY37" fmla="*/ 229823 h 361971"/>
                <a:gd name="connsiteX38" fmla="*/ 239623 w 362313"/>
                <a:gd name="connsiteY38" fmla="*/ 236207 h 361971"/>
                <a:gd name="connsiteX39" fmla="*/ 239623 w 362313"/>
                <a:gd name="connsiteY39" fmla="*/ 292386 h 361971"/>
                <a:gd name="connsiteX40" fmla="*/ 233233 w 362313"/>
                <a:gd name="connsiteY40" fmla="*/ 298770 h 361971"/>
                <a:gd name="connsiteX41" fmla="*/ 130994 w 362313"/>
                <a:gd name="connsiteY41" fmla="*/ 298770 h 361971"/>
                <a:gd name="connsiteX42" fmla="*/ 124604 w 362313"/>
                <a:gd name="connsiteY42" fmla="*/ 292386 h 361971"/>
                <a:gd name="connsiteX43" fmla="*/ 124604 w 362313"/>
                <a:gd name="connsiteY43" fmla="*/ 270681 h 361971"/>
                <a:gd name="connsiteX44" fmla="*/ 90098 w 362313"/>
                <a:gd name="connsiteY44" fmla="*/ 270681 h 361971"/>
                <a:gd name="connsiteX45" fmla="*/ 75401 w 362313"/>
                <a:gd name="connsiteY45" fmla="*/ 255998 h 361971"/>
                <a:gd name="connsiteX46" fmla="*/ 75401 w 362313"/>
                <a:gd name="connsiteY46" fmla="*/ 255998 h 361971"/>
                <a:gd name="connsiteX47" fmla="*/ 75401 w 362313"/>
                <a:gd name="connsiteY47" fmla="*/ 105974 h 361971"/>
                <a:gd name="connsiteX48" fmla="*/ 90098 w 362313"/>
                <a:gd name="connsiteY48" fmla="*/ 91291 h 361971"/>
                <a:gd name="connsiteX49" fmla="*/ 90098 w 362313"/>
                <a:gd name="connsiteY49" fmla="*/ 91291 h 361971"/>
                <a:gd name="connsiteX50" fmla="*/ 99683 w 362313"/>
                <a:gd name="connsiteY50" fmla="*/ 91291 h 361971"/>
                <a:gd name="connsiteX51" fmla="*/ 97766 w 362313"/>
                <a:gd name="connsiteY51" fmla="*/ 89376 h 361971"/>
                <a:gd name="connsiteX52" fmla="*/ 97766 w 362313"/>
                <a:gd name="connsiteY52" fmla="*/ 80438 h 361971"/>
                <a:gd name="connsiteX53" fmla="*/ 106712 w 362313"/>
                <a:gd name="connsiteY53" fmla="*/ 80438 h 361971"/>
                <a:gd name="connsiteX54" fmla="*/ 106712 w 362313"/>
                <a:gd name="connsiteY54" fmla="*/ 80438 h 361971"/>
                <a:gd name="connsiteX55" fmla="*/ 119492 w 362313"/>
                <a:gd name="connsiteY55" fmla="*/ 93206 h 361971"/>
                <a:gd name="connsiteX56" fmla="*/ 119492 w 362313"/>
                <a:gd name="connsiteY56" fmla="*/ 102144 h 361971"/>
                <a:gd name="connsiteX57" fmla="*/ 119492 w 362313"/>
                <a:gd name="connsiteY57" fmla="*/ 102144 h 361971"/>
                <a:gd name="connsiteX58" fmla="*/ 106712 w 362313"/>
                <a:gd name="connsiteY58" fmla="*/ 114912 h 361971"/>
                <a:gd name="connsiteX59" fmla="*/ 102239 w 362313"/>
                <a:gd name="connsiteY59" fmla="*/ 116827 h 361971"/>
                <a:gd name="connsiteX60" fmla="*/ 97766 w 362313"/>
                <a:gd name="connsiteY60" fmla="*/ 114912 h 361971"/>
                <a:gd name="connsiteX61" fmla="*/ 97766 w 362313"/>
                <a:gd name="connsiteY61" fmla="*/ 105974 h 361971"/>
                <a:gd name="connsiteX62" fmla="*/ 99683 w 362313"/>
                <a:gd name="connsiteY62" fmla="*/ 104059 h 361971"/>
                <a:gd name="connsiteX63" fmla="*/ 90098 w 362313"/>
                <a:gd name="connsiteY63" fmla="*/ 104059 h 361971"/>
                <a:gd name="connsiteX64" fmla="*/ 88181 w 362313"/>
                <a:gd name="connsiteY64" fmla="*/ 105974 h 361971"/>
                <a:gd name="connsiteX65" fmla="*/ 88181 w 362313"/>
                <a:gd name="connsiteY65" fmla="*/ 105974 h 361971"/>
                <a:gd name="connsiteX66" fmla="*/ 88181 w 362313"/>
                <a:gd name="connsiteY66" fmla="*/ 255998 h 361971"/>
                <a:gd name="connsiteX67" fmla="*/ 90098 w 362313"/>
                <a:gd name="connsiteY67" fmla="*/ 257913 h 361971"/>
                <a:gd name="connsiteX68" fmla="*/ 90098 w 362313"/>
                <a:gd name="connsiteY68" fmla="*/ 257913 h 361971"/>
                <a:gd name="connsiteX69" fmla="*/ 124604 w 362313"/>
                <a:gd name="connsiteY69" fmla="*/ 257913 h 361971"/>
                <a:gd name="connsiteX70" fmla="*/ 124604 w 362313"/>
                <a:gd name="connsiteY70" fmla="*/ 236207 h 361971"/>
                <a:gd name="connsiteX71" fmla="*/ 130994 w 362313"/>
                <a:gd name="connsiteY71" fmla="*/ 229823 h 361971"/>
                <a:gd name="connsiteX72" fmla="*/ 175723 w 362313"/>
                <a:gd name="connsiteY72" fmla="*/ 229823 h 361971"/>
                <a:gd name="connsiteX73" fmla="*/ 175723 w 362313"/>
                <a:gd name="connsiteY73" fmla="*/ 215779 h 361971"/>
                <a:gd name="connsiteX74" fmla="*/ 130994 w 362313"/>
                <a:gd name="connsiteY74" fmla="*/ 215779 h 361971"/>
                <a:gd name="connsiteX75" fmla="*/ 124604 w 362313"/>
                <a:gd name="connsiteY75" fmla="*/ 209395 h 361971"/>
                <a:gd name="connsiteX76" fmla="*/ 124604 w 362313"/>
                <a:gd name="connsiteY76" fmla="*/ 153216 h 361971"/>
                <a:gd name="connsiteX77" fmla="*/ 130994 w 362313"/>
                <a:gd name="connsiteY77" fmla="*/ 146832 h 361971"/>
                <a:gd name="connsiteX78" fmla="*/ 175723 w 362313"/>
                <a:gd name="connsiteY78" fmla="*/ 146832 h 361971"/>
                <a:gd name="connsiteX79" fmla="*/ 175723 w 362313"/>
                <a:gd name="connsiteY79" fmla="*/ 132787 h 361971"/>
                <a:gd name="connsiteX80" fmla="*/ 130994 w 362313"/>
                <a:gd name="connsiteY80" fmla="*/ 132787 h 361971"/>
                <a:gd name="connsiteX81" fmla="*/ 124604 w 362313"/>
                <a:gd name="connsiteY81" fmla="*/ 126403 h 361971"/>
                <a:gd name="connsiteX82" fmla="*/ 124604 w 362313"/>
                <a:gd name="connsiteY82" fmla="*/ 70224 h 361971"/>
                <a:gd name="connsiteX83" fmla="*/ 130994 w 362313"/>
                <a:gd name="connsiteY83" fmla="*/ 63840 h 361971"/>
                <a:gd name="connsiteX84" fmla="*/ 233233 w 362313"/>
                <a:gd name="connsiteY84" fmla="*/ 63840 h 361971"/>
                <a:gd name="connsiteX85" fmla="*/ 239623 w 362313"/>
                <a:gd name="connsiteY85" fmla="*/ 70224 h 361971"/>
                <a:gd name="connsiteX86" fmla="*/ 239623 w 362313"/>
                <a:gd name="connsiteY86" fmla="*/ 91929 h 361971"/>
                <a:gd name="connsiteX87" fmla="*/ 274767 w 362313"/>
                <a:gd name="connsiteY87" fmla="*/ 91929 h 361971"/>
                <a:gd name="connsiteX88" fmla="*/ 288825 w 362313"/>
                <a:gd name="connsiteY88" fmla="*/ 106612 h 361971"/>
                <a:gd name="connsiteX89" fmla="*/ 288186 w 362313"/>
                <a:gd name="connsiteY89" fmla="*/ 255998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362313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257"/>
                    <a:pt x="81152" y="361972"/>
                    <a:pt x="180835" y="361972"/>
                  </a:cubicBezTo>
                  <a:cubicBezTo>
                    <a:pt x="281157" y="361972"/>
                    <a:pt x="362310" y="280895"/>
                    <a:pt x="362310" y="181305"/>
                  </a:cubicBezTo>
                  <a:cubicBezTo>
                    <a:pt x="362310" y="181305"/>
                    <a:pt x="362310" y="181305"/>
                    <a:pt x="362310" y="181305"/>
                  </a:cubicBezTo>
                  <a:cubicBezTo>
                    <a:pt x="362948" y="81077"/>
                    <a:pt x="281796" y="0"/>
                    <a:pt x="181474" y="0"/>
                  </a:cubicBezTo>
                  <a:close/>
                  <a:moveTo>
                    <a:pt x="288186" y="255998"/>
                  </a:moveTo>
                  <a:cubicBezTo>
                    <a:pt x="288186" y="263659"/>
                    <a:pt x="281796" y="270681"/>
                    <a:pt x="274128" y="270681"/>
                  </a:cubicBezTo>
                  <a:lnTo>
                    <a:pt x="264543" y="270681"/>
                  </a:lnTo>
                  <a:lnTo>
                    <a:pt x="266460" y="272596"/>
                  </a:lnTo>
                  <a:cubicBezTo>
                    <a:pt x="269016" y="275150"/>
                    <a:pt x="269016" y="278980"/>
                    <a:pt x="266460" y="281534"/>
                  </a:cubicBezTo>
                  <a:cubicBezTo>
                    <a:pt x="263904" y="284087"/>
                    <a:pt x="260071" y="284087"/>
                    <a:pt x="257514" y="281534"/>
                  </a:cubicBezTo>
                  <a:lnTo>
                    <a:pt x="244735" y="268766"/>
                  </a:lnTo>
                  <a:cubicBezTo>
                    <a:pt x="243457" y="267489"/>
                    <a:pt x="242818" y="266212"/>
                    <a:pt x="242818" y="264297"/>
                  </a:cubicBezTo>
                  <a:cubicBezTo>
                    <a:pt x="242818" y="262382"/>
                    <a:pt x="243457" y="261105"/>
                    <a:pt x="244735" y="259828"/>
                  </a:cubicBezTo>
                  <a:lnTo>
                    <a:pt x="257514" y="247060"/>
                  </a:lnTo>
                  <a:cubicBezTo>
                    <a:pt x="260071" y="244507"/>
                    <a:pt x="263904" y="243868"/>
                    <a:pt x="266460" y="246422"/>
                  </a:cubicBezTo>
                  <a:cubicBezTo>
                    <a:pt x="269016" y="248975"/>
                    <a:pt x="269655" y="252806"/>
                    <a:pt x="267099" y="255359"/>
                  </a:cubicBezTo>
                  <a:cubicBezTo>
                    <a:pt x="267099" y="255359"/>
                    <a:pt x="266460" y="255998"/>
                    <a:pt x="266460" y="255998"/>
                  </a:cubicBezTo>
                  <a:lnTo>
                    <a:pt x="264543" y="257913"/>
                  </a:lnTo>
                  <a:lnTo>
                    <a:pt x="274128" y="257913"/>
                  </a:lnTo>
                  <a:cubicBezTo>
                    <a:pt x="274767" y="257913"/>
                    <a:pt x="276045" y="257275"/>
                    <a:pt x="276045" y="256636"/>
                  </a:cubicBezTo>
                  <a:cubicBezTo>
                    <a:pt x="276045" y="256636"/>
                    <a:pt x="276045" y="256636"/>
                    <a:pt x="276045" y="256636"/>
                  </a:cubicBezTo>
                  <a:lnTo>
                    <a:pt x="276045" y="106612"/>
                  </a:lnTo>
                  <a:cubicBezTo>
                    <a:pt x="276045" y="105974"/>
                    <a:pt x="275406" y="104697"/>
                    <a:pt x="274767" y="104697"/>
                  </a:cubicBezTo>
                  <a:cubicBezTo>
                    <a:pt x="274767" y="104697"/>
                    <a:pt x="274767" y="104697"/>
                    <a:pt x="274767" y="104697"/>
                  </a:cubicBezTo>
                  <a:lnTo>
                    <a:pt x="239623" y="104697"/>
                  </a:lnTo>
                  <a:lnTo>
                    <a:pt x="239623" y="126403"/>
                  </a:lnTo>
                  <a:cubicBezTo>
                    <a:pt x="239623" y="130233"/>
                    <a:pt x="237067" y="132787"/>
                    <a:pt x="233233" y="132787"/>
                  </a:cubicBezTo>
                  <a:lnTo>
                    <a:pt x="188503" y="132787"/>
                  </a:lnTo>
                  <a:lnTo>
                    <a:pt x="188503" y="146832"/>
                  </a:lnTo>
                  <a:lnTo>
                    <a:pt x="233233" y="146832"/>
                  </a:lnTo>
                  <a:cubicBezTo>
                    <a:pt x="237067" y="146832"/>
                    <a:pt x="239623" y="149385"/>
                    <a:pt x="239623" y="153216"/>
                  </a:cubicBezTo>
                  <a:lnTo>
                    <a:pt x="239623" y="209395"/>
                  </a:lnTo>
                  <a:cubicBezTo>
                    <a:pt x="239623" y="213225"/>
                    <a:pt x="237067" y="215779"/>
                    <a:pt x="233233" y="215779"/>
                  </a:cubicBezTo>
                  <a:lnTo>
                    <a:pt x="188503" y="215779"/>
                  </a:lnTo>
                  <a:lnTo>
                    <a:pt x="188503" y="229823"/>
                  </a:lnTo>
                  <a:lnTo>
                    <a:pt x="233233" y="229823"/>
                  </a:lnTo>
                  <a:cubicBezTo>
                    <a:pt x="237067" y="229823"/>
                    <a:pt x="239623" y="232377"/>
                    <a:pt x="239623" y="236207"/>
                  </a:cubicBezTo>
                  <a:lnTo>
                    <a:pt x="239623" y="292386"/>
                  </a:lnTo>
                  <a:cubicBezTo>
                    <a:pt x="239623" y="296217"/>
                    <a:pt x="237067" y="298770"/>
                    <a:pt x="233233" y="298770"/>
                  </a:cubicBezTo>
                  <a:lnTo>
                    <a:pt x="130994" y="298770"/>
                  </a:lnTo>
                  <a:cubicBezTo>
                    <a:pt x="127160" y="298770"/>
                    <a:pt x="124604" y="296217"/>
                    <a:pt x="124604" y="292386"/>
                  </a:cubicBezTo>
                  <a:lnTo>
                    <a:pt x="124604" y="270681"/>
                  </a:lnTo>
                  <a:lnTo>
                    <a:pt x="90098" y="270681"/>
                  </a:lnTo>
                  <a:cubicBezTo>
                    <a:pt x="82430" y="270681"/>
                    <a:pt x="75401" y="264297"/>
                    <a:pt x="75401" y="255998"/>
                  </a:cubicBezTo>
                  <a:lnTo>
                    <a:pt x="75401" y="255998"/>
                  </a:lnTo>
                  <a:lnTo>
                    <a:pt x="75401" y="105974"/>
                  </a:lnTo>
                  <a:cubicBezTo>
                    <a:pt x="75401" y="98313"/>
                    <a:pt x="81791" y="91291"/>
                    <a:pt x="90098" y="91291"/>
                  </a:cubicBezTo>
                  <a:lnTo>
                    <a:pt x="90098" y="91291"/>
                  </a:lnTo>
                  <a:lnTo>
                    <a:pt x="99683" y="91291"/>
                  </a:lnTo>
                  <a:lnTo>
                    <a:pt x="97766" y="89376"/>
                  </a:lnTo>
                  <a:cubicBezTo>
                    <a:pt x="95210" y="86822"/>
                    <a:pt x="95210" y="82992"/>
                    <a:pt x="97766" y="80438"/>
                  </a:cubicBezTo>
                  <a:cubicBezTo>
                    <a:pt x="100322" y="77885"/>
                    <a:pt x="104156" y="77885"/>
                    <a:pt x="106712" y="80438"/>
                  </a:cubicBezTo>
                  <a:cubicBezTo>
                    <a:pt x="106712" y="80438"/>
                    <a:pt x="106712" y="80438"/>
                    <a:pt x="106712" y="80438"/>
                  </a:cubicBezTo>
                  <a:lnTo>
                    <a:pt x="119492" y="93206"/>
                  </a:lnTo>
                  <a:cubicBezTo>
                    <a:pt x="122048" y="95760"/>
                    <a:pt x="122048" y="99590"/>
                    <a:pt x="119492" y="102144"/>
                  </a:cubicBezTo>
                  <a:cubicBezTo>
                    <a:pt x="119492" y="102144"/>
                    <a:pt x="119492" y="102144"/>
                    <a:pt x="119492" y="102144"/>
                  </a:cubicBezTo>
                  <a:lnTo>
                    <a:pt x="106712" y="114912"/>
                  </a:lnTo>
                  <a:cubicBezTo>
                    <a:pt x="105434" y="116188"/>
                    <a:pt x="104156" y="116827"/>
                    <a:pt x="102239" y="116827"/>
                  </a:cubicBezTo>
                  <a:cubicBezTo>
                    <a:pt x="100322" y="116827"/>
                    <a:pt x="99044" y="116188"/>
                    <a:pt x="97766" y="114912"/>
                  </a:cubicBezTo>
                  <a:cubicBezTo>
                    <a:pt x="95210" y="112358"/>
                    <a:pt x="95210" y="108528"/>
                    <a:pt x="97766" y="105974"/>
                  </a:cubicBezTo>
                  <a:lnTo>
                    <a:pt x="99683" y="104059"/>
                  </a:lnTo>
                  <a:lnTo>
                    <a:pt x="90098" y="104059"/>
                  </a:lnTo>
                  <a:cubicBezTo>
                    <a:pt x="89459" y="104059"/>
                    <a:pt x="88181" y="104697"/>
                    <a:pt x="88181" y="105974"/>
                  </a:cubicBezTo>
                  <a:lnTo>
                    <a:pt x="88181" y="105974"/>
                  </a:lnTo>
                  <a:lnTo>
                    <a:pt x="88181" y="255998"/>
                  </a:lnTo>
                  <a:cubicBezTo>
                    <a:pt x="88181" y="256636"/>
                    <a:pt x="88820" y="257913"/>
                    <a:pt x="90098" y="257913"/>
                  </a:cubicBezTo>
                  <a:lnTo>
                    <a:pt x="90098" y="257913"/>
                  </a:lnTo>
                  <a:lnTo>
                    <a:pt x="124604" y="257913"/>
                  </a:lnTo>
                  <a:lnTo>
                    <a:pt x="124604" y="236207"/>
                  </a:lnTo>
                  <a:cubicBezTo>
                    <a:pt x="124604" y="232377"/>
                    <a:pt x="127160" y="229823"/>
                    <a:pt x="130994" y="229823"/>
                  </a:cubicBezTo>
                  <a:lnTo>
                    <a:pt x="175723" y="229823"/>
                  </a:lnTo>
                  <a:lnTo>
                    <a:pt x="175723" y="215779"/>
                  </a:lnTo>
                  <a:lnTo>
                    <a:pt x="130994" y="215779"/>
                  </a:lnTo>
                  <a:cubicBezTo>
                    <a:pt x="127160" y="215779"/>
                    <a:pt x="124604" y="213225"/>
                    <a:pt x="124604" y="209395"/>
                  </a:cubicBezTo>
                  <a:lnTo>
                    <a:pt x="124604" y="153216"/>
                  </a:lnTo>
                  <a:cubicBezTo>
                    <a:pt x="124604" y="149385"/>
                    <a:pt x="127160" y="146832"/>
                    <a:pt x="130994" y="146832"/>
                  </a:cubicBezTo>
                  <a:lnTo>
                    <a:pt x="175723" y="146832"/>
                  </a:lnTo>
                  <a:lnTo>
                    <a:pt x="175723" y="132787"/>
                  </a:lnTo>
                  <a:lnTo>
                    <a:pt x="130994" y="132787"/>
                  </a:lnTo>
                  <a:cubicBezTo>
                    <a:pt x="127160" y="132787"/>
                    <a:pt x="124604" y="130233"/>
                    <a:pt x="124604" y="126403"/>
                  </a:cubicBezTo>
                  <a:lnTo>
                    <a:pt x="124604" y="70224"/>
                  </a:lnTo>
                  <a:cubicBezTo>
                    <a:pt x="124604" y="66393"/>
                    <a:pt x="127160" y="63840"/>
                    <a:pt x="130994" y="63840"/>
                  </a:cubicBezTo>
                  <a:lnTo>
                    <a:pt x="233233" y="63840"/>
                  </a:lnTo>
                  <a:cubicBezTo>
                    <a:pt x="237067" y="63840"/>
                    <a:pt x="239623" y="66393"/>
                    <a:pt x="239623" y="70224"/>
                  </a:cubicBezTo>
                  <a:lnTo>
                    <a:pt x="239623" y="91929"/>
                  </a:lnTo>
                  <a:lnTo>
                    <a:pt x="274767" y="91929"/>
                  </a:lnTo>
                  <a:cubicBezTo>
                    <a:pt x="282435" y="91929"/>
                    <a:pt x="288825" y="98313"/>
                    <a:pt x="288825" y="106612"/>
                  </a:cubicBezTo>
                  <a:lnTo>
                    <a:pt x="288186" y="25599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44" name="Graphic 4">
              <a:extLst>
                <a:ext uri="{FF2B5EF4-FFF2-40B4-BE49-F238E27FC236}">
                  <a16:creationId xmlns:a16="http://schemas.microsoft.com/office/drawing/2014/main" id="{56B2390B-BD5E-D468-ECDC-BEFB60BB88F5}"/>
                </a:ext>
              </a:extLst>
            </p:cNvPr>
            <p:cNvSpPr/>
            <p:nvPr/>
          </p:nvSpPr>
          <p:spPr>
            <a:xfrm>
              <a:off x="2131044" y="1013300"/>
              <a:ext cx="5111" cy="5107"/>
            </a:xfrm>
            <a:custGeom>
              <a:avLst/>
              <a:gdLst>
                <a:gd name="connsiteX0" fmla="*/ 2556 w 5111"/>
                <a:gd name="connsiteY0" fmla="*/ 5107 h 5107"/>
                <a:gd name="connsiteX1" fmla="*/ 5112 w 5111"/>
                <a:gd name="connsiteY1" fmla="*/ 2554 h 5107"/>
                <a:gd name="connsiteX2" fmla="*/ 2556 w 5111"/>
                <a:gd name="connsiteY2" fmla="*/ 0 h 5107"/>
                <a:gd name="connsiteX3" fmla="*/ 0 w 5111"/>
                <a:gd name="connsiteY3" fmla="*/ 2554 h 5107"/>
                <a:gd name="connsiteX4" fmla="*/ 0 w 5111"/>
                <a:gd name="connsiteY4" fmla="*/ 2554 h 5107"/>
                <a:gd name="connsiteX5" fmla="*/ 2556 w 5111"/>
                <a:gd name="connsiteY5" fmla="*/ 5107 h 5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1" h="5107">
                  <a:moveTo>
                    <a:pt x="2556" y="5107"/>
                  </a:moveTo>
                  <a:cubicBezTo>
                    <a:pt x="3834" y="5107"/>
                    <a:pt x="5112" y="3830"/>
                    <a:pt x="5112" y="2554"/>
                  </a:cubicBezTo>
                  <a:cubicBezTo>
                    <a:pt x="5112" y="1277"/>
                    <a:pt x="3834" y="0"/>
                    <a:pt x="2556" y="0"/>
                  </a:cubicBezTo>
                  <a:cubicBezTo>
                    <a:pt x="1278" y="0"/>
                    <a:pt x="0" y="1277"/>
                    <a:pt x="0" y="2554"/>
                  </a:cubicBezTo>
                  <a:lnTo>
                    <a:pt x="0" y="2554"/>
                  </a:lnTo>
                  <a:cubicBezTo>
                    <a:pt x="0" y="3830"/>
                    <a:pt x="1278" y="5107"/>
                    <a:pt x="2556" y="5107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45" name="Graphic 4">
              <a:extLst>
                <a:ext uri="{FF2B5EF4-FFF2-40B4-BE49-F238E27FC236}">
                  <a16:creationId xmlns:a16="http://schemas.microsoft.com/office/drawing/2014/main" id="{2E42DED4-E0B4-7E8D-1DF7-D76AE4CDC82A}"/>
                </a:ext>
              </a:extLst>
            </p:cNvPr>
            <p:cNvSpPr/>
            <p:nvPr/>
          </p:nvSpPr>
          <p:spPr>
            <a:xfrm>
              <a:off x="2088870" y="1077140"/>
              <a:ext cx="89459" cy="43411"/>
            </a:xfrm>
            <a:custGeom>
              <a:avLst/>
              <a:gdLst>
                <a:gd name="connsiteX0" fmla="*/ 0 w 89459"/>
                <a:gd name="connsiteY0" fmla="*/ 0 h 43411"/>
                <a:gd name="connsiteX1" fmla="*/ 0 w 89459"/>
                <a:gd name="connsiteY1" fmla="*/ 43411 h 43411"/>
                <a:gd name="connsiteX2" fmla="*/ 89459 w 89459"/>
                <a:gd name="connsiteY2" fmla="*/ 43411 h 43411"/>
                <a:gd name="connsiteX3" fmla="*/ 89459 w 89459"/>
                <a:gd name="connsiteY3" fmla="*/ 0 h 43411"/>
                <a:gd name="connsiteX4" fmla="*/ 0 w 89459"/>
                <a:gd name="connsiteY4" fmla="*/ 0 h 43411"/>
                <a:gd name="connsiteX5" fmla="*/ 33228 w 89459"/>
                <a:gd name="connsiteY5" fmla="*/ 31920 h 43411"/>
                <a:gd name="connsiteX6" fmla="*/ 23004 w 89459"/>
                <a:gd name="connsiteY6" fmla="*/ 21706 h 43411"/>
                <a:gd name="connsiteX7" fmla="*/ 33228 w 89459"/>
                <a:gd name="connsiteY7" fmla="*/ 11491 h 43411"/>
                <a:gd name="connsiteX8" fmla="*/ 43452 w 89459"/>
                <a:gd name="connsiteY8" fmla="*/ 21706 h 43411"/>
                <a:gd name="connsiteX9" fmla="*/ 43452 w 89459"/>
                <a:gd name="connsiteY9" fmla="*/ 21706 h 43411"/>
                <a:gd name="connsiteX10" fmla="*/ 33228 w 89459"/>
                <a:gd name="connsiteY10" fmla="*/ 31920 h 43411"/>
                <a:gd name="connsiteX11" fmla="*/ 33228 w 89459"/>
                <a:gd name="connsiteY11" fmla="*/ 31920 h 43411"/>
                <a:gd name="connsiteX12" fmla="*/ 56232 w 89459"/>
                <a:gd name="connsiteY12" fmla="*/ 12130 h 43411"/>
                <a:gd name="connsiteX13" fmla="*/ 66455 w 89459"/>
                <a:gd name="connsiteY13" fmla="*/ 22344 h 43411"/>
                <a:gd name="connsiteX14" fmla="*/ 56232 w 89459"/>
                <a:gd name="connsiteY14" fmla="*/ 32558 h 43411"/>
                <a:gd name="connsiteX15" fmla="*/ 46008 w 89459"/>
                <a:gd name="connsiteY15" fmla="*/ 22344 h 43411"/>
                <a:gd name="connsiteX16" fmla="*/ 46008 w 89459"/>
                <a:gd name="connsiteY16" fmla="*/ 22344 h 43411"/>
                <a:gd name="connsiteX17" fmla="*/ 56232 w 89459"/>
                <a:gd name="connsiteY17" fmla="*/ 12130 h 43411"/>
                <a:gd name="connsiteX18" fmla="*/ 56232 w 89459"/>
                <a:gd name="connsiteY18" fmla="*/ 12130 h 43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89459" h="43411">
                  <a:moveTo>
                    <a:pt x="0" y="0"/>
                  </a:moveTo>
                  <a:lnTo>
                    <a:pt x="0" y="43411"/>
                  </a:lnTo>
                  <a:lnTo>
                    <a:pt x="89459" y="43411"/>
                  </a:lnTo>
                  <a:lnTo>
                    <a:pt x="89459" y="0"/>
                  </a:lnTo>
                  <a:lnTo>
                    <a:pt x="0" y="0"/>
                  </a:lnTo>
                  <a:close/>
                  <a:moveTo>
                    <a:pt x="33228" y="31920"/>
                  </a:moveTo>
                  <a:cubicBezTo>
                    <a:pt x="27477" y="31920"/>
                    <a:pt x="23004" y="27451"/>
                    <a:pt x="23004" y="21706"/>
                  </a:cubicBezTo>
                  <a:cubicBezTo>
                    <a:pt x="23004" y="15960"/>
                    <a:pt x="27477" y="11491"/>
                    <a:pt x="33228" y="11491"/>
                  </a:cubicBezTo>
                  <a:cubicBezTo>
                    <a:pt x="38979" y="11491"/>
                    <a:pt x="43452" y="15960"/>
                    <a:pt x="43452" y="21706"/>
                  </a:cubicBezTo>
                  <a:cubicBezTo>
                    <a:pt x="43452" y="21706"/>
                    <a:pt x="43452" y="21706"/>
                    <a:pt x="43452" y="21706"/>
                  </a:cubicBezTo>
                  <a:cubicBezTo>
                    <a:pt x="43452" y="27451"/>
                    <a:pt x="38979" y="31920"/>
                    <a:pt x="33228" y="31920"/>
                  </a:cubicBezTo>
                  <a:lnTo>
                    <a:pt x="33228" y="31920"/>
                  </a:lnTo>
                  <a:close/>
                  <a:moveTo>
                    <a:pt x="56232" y="12130"/>
                  </a:moveTo>
                  <a:cubicBezTo>
                    <a:pt x="61982" y="12130"/>
                    <a:pt x="66455" y="16598"/>
                    <a:pt x="66455" y="22344"/>
                  </a:cubicBezTo>
                  <a:cubicBezTo>
                    <a:pt x="66455" y="28089"/>
                    <a:pt x="61982" y="32558"/>
                    <a:pt x="56232" y="32558"/>
                  </a:cubicBezTo>
                  <a:cubicBezTo>
                    <a:pt x="50480" y="32558"/>
                    <a:pt x="46008" y="28089"/>
                    <a:pt x="46008" y="22344"/>
                  </a:cubicBezTo>
                  <a:cubicBezTo>
                    <a:pt x="46008" y="22344"/>
                    <a:pt x="46008" y="22344"/>
                    <a:pt x="46008" y="22344"/>
                  </a:cubicBezTo>
                  <a:cubicBezTo>
                    <a:pt x="46008" y="16598"/>
                    <a:pt x="50480" y="12130"/>
                    <a:pt x="56232" y="12130"/>
                  </a:cubicBezTo>
                  <a:lnTo>
                    <a:pt x="56232" y="1213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</p:grpSp>
      <p:sp>
        <p:nvSpPr>
          <p:cNvPr id="46" name="Graphic 1100">
            <a:extLst>
              <a:ext uri="{FF2B5EF4-FFF2-40B4-BE49-F238E27FC236}">
                <a16:creationId xmlns:a16="http://schemas.microsoft.com/office/drawing/2014/main" id="{CF24CBEA-9F3C-38A6-A0D3-2587656309E9}"/>
              </a:ext>
            </a:extLst>
          </p:cNvPr>
          <p:cNvSpPr/>
          <p:nvPr/>
        </p:nvSpPr>
        <p:spPr>
          <a:xfrm>
            <a:off x="5488628" y="4021393"/>
            <a:ext cx="463431" cy="462999"/>
          </a:xfrm>
          <a:custGeom>
            <a:avLst/>
            <a:gdLst>
              <a:gd name="connsiteX0" fmla="*/ 180835 w 362309"/>
              <a:gd name="connsiteY0" fmla="*/ 0 h 361971"/>
              <a:gd name="connsiteX1" fmla="*/ 0 w 362309"/>
              <a:gd name="connsiteY1" fmla="*/ 181305 h 361971"/>
              <a:gd name="connsiteX2" fmla="*/ 181474 w 362309"/>
              <a:gd name="connsiteY2" fmla="*/ 361971 h 361971"/>
              <a:gd name="connsiteX3" fmla="*/ 362309 w 362309"/>
              <a:gd name="connsiteY3" fmla="*/ 181305 h 361971"/>
              <a:gd name="connsiteX4" fmla="*/ 180835 w 362309"/>
              <a:gd name="connsiteY4" fmla="*/ 0 h 361971"/>
              <a:gd name="connsiteX5" fmla="*/ 180835 w 362309"/>
              <a:gd name="connsiteY5" fmla="*/ 0 h 361971"/>
              <a:gd name="connsiteX6" fmla="*/ 143134 w 362309"/>
              <a:gd name="connsiteY6" fmla="*/ 95760 h 361971"/>
              <a:gd name="connsiteX7" fmla="*/ 151441 w 362309"/>
              <a:gd name="connsiteY7" fmla="*/ 91929 h 361971"/>
              <a:gd name="connsiteX8" fmla="*/ 248568 w 362309"/>
              <a:gd name="connsiteY8" fmla="*/ 127041 h 361971"/>
              <a:gd name="connsiteX9" fmla="*/ 252403 w 362309"/>
              <a:gd name="connsiteY9" fmla="*/ 135340 h 361971"/>
              <a:gd name="connsiteX10" fmla="*/ 246013 w 362309"/>
              <a:gd name="connsiteY10" fmla="*/ 139809 h 361971"/>
              <a:gd name="connsiteX11" fmla="*/ 244095 w 362309"/>
              <a:gd name="connsiteY11" fmla="*/ 139171 h 361971"/>
              <a:gd name="connsiteX12" fmla="*/ 146969 w 362309"/>
              <a:gd name="connsiteY12" fmla="*/ 104059 h 361971"/>
              <a:gd name="connsiteX13" fmla="*/ 143134 w 362309"/>
              <a:gd name="connsiteY13" fmla="*/ 95760 h 361971"/>
              <a:gd name="connsiteX14" fmla="*/ 143134 w 362309"/>
              <a:gd name="connsiteY14" fmla="*/ 95760 h 361971"/>
              <a:gd name="connsiteX15" fmla="*/ 143134 w 362309"/>
              <a:gd name="connsiteY15" fmla="*/ 95760 h 361971"/>
              <a:gd name="connsiteX16" fmla="*/ 129715 w 362309"/>
              <a:gd name="connsiteY16" fmla="*/ 141724 h 361971"/>
              <a:gd name="connsiteX17" fmla="*/ 137384 w 362309"/>
              <a:gd name="connsiteY17" fmla="*/ 136617 h 361971"/>
              <a:gd name="connsiteX18" fmla="*/ 137384 w 362309"/>
              <a:gd name="connsiteY18" fmla="*/ 136617 h 361971"/>
              <a:gd name="connsiteX19" fmla="*/ 238344 w 362309"/>
              <a:gd name="connsiteY19" fmla="*/ 157046 h 361971"/>
              <a:gd name="connsiteX20" fmla="*/ 244095 w 362309"/>
              <a:gd name="connsiteY20" fmla="*/ 164068 h 361971"/>
              <a:gd name="connsiteX21" fmla="*/ 237067 w 362309"/>
              <a:gd name="connsiteY21" fmla="*/ 169814 h 361971"/>
              <a:gd name="connsiteX22" fmla="*/ 235788 w 362309"/>
              <a:gd name="connsiteY22" fmla="*/ 169814 h 361971"/>
              <a:gd name="connsiteX23" fmla="*/ 134828 w 362309"/>
              <a:gd name="connsiteY23" fmla="*/ 149385 h 361971"/>
              <a:gd name="connsiteX24" fmla="*/ 129715 w 362309"/>
              <a:gd name="connsiteY24" fmla="*/ 141724 h 361971"/>
              <a:gd name="connsiteX25" fmla="*/ 129715 w 362309"/>
              <a:gd name="connsiteY25" fmla="*/ 141724 h 361971"/>
              <a:gd name="connsiteX26" fmla="*/ 129715 w 362309"/>
              <a:gd name="connsiteY26" fmla="*/ 141724 h 361971"/>
              <a:gd name="connsiteX27" fmla="*/ 130354 w 362309"/>
              <a:gd name="connsiteY27" fmla="*/ 179390 h 361971"/>
              <a:gd name="connsiteX28" fmla="*/ 233233 w 362309"/>
              <a:gd name="connsiteY28" fmla="*/ 189604 h 361971"/>
              <a:gd name="connsiteX29" fmla="*/ 239623 w 362309"/>
              <a:gd name="connsiteY29" fmla="*/ 195988 h 361971"/>
              <a:gd name="connsiteX30" fmla="*/ 233233 w 362309"/>
              <a:gd name="connsiteY30" fmla="*/ 202372 h 361971"/>
              <a:gd name="connsiteX31" fmla="*/ 232593 w 362309"/>
              <a:gd name="connsiteY31" fmla="*/ 202372 h 361971"/>
              <a:gd name="connsiteX32" fmla="*/ 129715 w 362309"/>
              <a:gd name="connsiteY32" fmla="*/ 192158 h 361971"/>
              <a:gd name="connsiteX33" fmla="*/ 123964 w 362309"/>
              <a:gd name="connsiteY33" fmla="*/ 185135 h 361971"/>
              <a:gd name="connsiteX34" fmla="*/ 130354 w 362309"/>
              <a:gd name="connsiteY34" fmla="*/ 179390 h 361971"/>
              <a:gd name="connsiteX35" fmla="*/ 129076 w 362309"/>
              <a:gd name="connsiteY35" fmla="*/ 224078 h 361971"/>
              <a:gd name="connsiteX36" fmla="*/ 232593 w 362309"/>
              <a:gd name="connsiteY36" fmla="*/ 224078 h 361971"/>
              <a:gd name="connsiteX37" fmla="*/ 238983 w 362309"/>
              <a:gd name="connsiteY37" fmla="*/ 230462 h 361971"/>
              <a:gd name="connsiteX38" fmla="*/ 232593 w 362309"/>
              <a:gd name="connsiteY38" fmla="*/ 236846 h 361971"/>
              <a:gd name="connsiteX39" fmla="*/ 129076 w 362309"/>
              <a:gd name="connsiteY39" fmla="*/ 236846 h 361971"/>
              <a:gd name="connsiteX40" fmla="*/ 122686 w 362309"/>
              <a:gd name="connsiteY40" fmla="*/ 230462 h 361971"/>
              <a:gd name="connsiteX41" fmla="*/ 129076 w 362309"/>
              <a:gd name="connsiteY41" fmla="*/ 224078 h 361971"/>
              <a:gd name="connsiteX42" fmla="*/ 273489 w 362309"/>
              <a:gd name="connsiteY42" fmla="*/ 264935 h 361971"/>
              <a:gd name="connsiteX43" fmla="*/ 267099 w 362309"/>
              <a:gd name="connsiteY43" fmla="*/ 271319 h 361971"/>
              <a:gd name="connsiteX44" fmla="*/ 95209 w 362309"/>
              <a:gd name="connsiteY44" fmla="*/ 271319 h 361971"/>
              <a:gd name="connsiteX45" fmla="*/ 88820 w 362309"/>
              <a:gd name="connsiteY45" fmla="*/ 264935 h 361971"/>
              <a:gd name="connsiteX46" fmla="*/ 88820 w 362309"/>
              <a:gd name="connsiteY46" fmla="*/ 213225 h 361971"/>
              <a:gd name="connsiteX47" fmla="*/ 95209 w 362309"/>
              <a:gd name="connsiteY47" fmla="*/ 206841 h 361971"/>
              <a:gd name="connsiteX48" fmla="*/ 101599 w 362309"/>
              <a:gd name="connsiteY48" fmla="*/ 213225 h 361971"/>
              <a:gd name="connsiteX49" fmla="*/ 101599 w 362309"/>
              <a:gd name="connsiteY49" fmla="*/ 258551 h 361971"/>
              <a:gd name="connsiteX50" fmla="*/ 260709 w 362309"/>
              <a:gd name="connsiteY50" fmla="*/ 258551 h 361971"/>
              <a:gd name="connsiteX51" fmla="*/ 260709 w 362309"/>
              <a:gd name="connsiteY51" fmla="*/ 213225 h 361971"/>
              <a:gd name="connsiteX52" fmla="*/ 267099 w 362309"/>
              <a:gd name="connsiteY52" fmla="*/ 206841 h 361971"/>
              <a:gd name="connsiteX53" fmla="*/ 273489 w 362309"/>
              <a:gd name="connsiteY53" fmla="*/ 213225 h 361971"/>
              <a:gd name="connsiteX54" fmla="*/ 273489 w 362309"/>
              <a:gd name="connsiteY54" fmla="*/ 264935 h 361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362309" h="361971">
                <a:moveTo>
                  <a:pt x="180835" y="0"/>
                </a:moveTo>
                <a:cubicBezTo>
                  <a:pt x="80513" y="0"/>
                  <a:pt x="0" y="81076"/>
                  <a:pt x="0" y="181305"/>
                </a:cubicBezTo>
                <a:cubicBezTo>
                  <a:pt x="0" y="281533"/>
                  <a:pt x="81152" y="361971"/>
                  <a:pt x="181474" y="361971"/>
                </a:cubicBezTo>
                <a:cubicBezTo>
                  <a:pt x="281157" y="361971"/>
                  <a:pt x="362309" y="280895"/>
                  <a:pt x="362309" y="181305"/>
                </a:cubicBezTo>
                <a:cubicBezTo>
                  <a:pt x="362309" y="81076"/>
                  <a:pt x="281157" y="0"/>
                  <a:pt x="180835" y="0"/>
                </a:cubicBezTo>
                <a:cubicBezTo>
                  <a:pt x="180835" y="0"/>
                  <a:pt x="180835" y="0"/>
                  <a:pt x="180835" y="0"/>
                </a:cubicBezTo>
                <a:close/>
                <a:moveTo>
                  <a:pt x="143134" y="95760"/>
                </a:moveTo>
                <a:cubicBezTo>
                  <a:pt x="144412" y="92568"/>
                  <a:pt x="148246" y="90652"/>
                  <a:pt x="151441" y="91929"/>
                </a:cubicBezTo>
                <a:lnTo>
                  <a:pt x="248568" y="127041"/>
                </a:lnTo>
                <a:cubicBezTo>
                  <a:pt x="251763" y="128318"/>
                  <a:pt x="253680" y="131510"/>
                  <a:pt x="252403" y="135340"/>
                </a:cubicBezTo>
                <a:cubicBezTo>
                  <a:pt x="251763" y="137894"/>
                  <a:pt x="249208" y="139809"/>
                  <a:pt x="246013" y="139809"/>
                </a:cubicBezTo>
                <a:cubicBezTo>
                  <a:pt x="245373" y="139809"/>
                  <a:pt x="244734" y="139809"/>
                  <a:pt x="244095" y="139171"/>
                </a:cubicBezTo>
                <a:lnTo>
                  <a:pt x="146969" y="104059"/>
                </a:lnTo>
                <a:cubicBezTo>
                  <a:pt x="143774" y="102782"/>
                  <a:pt x="141856" y="98952"/>
                  <a:pt x="143134" y="95760"/>
                </a:cubicBezTo>
                <a:cubicBezTo>
                  <a:pt x="143134" y="95760"/>
                  <a:pt x="143134" y="95760"/>
                  <a:pt x="143134" y="95760"/>
                </a:cubicBezTo>
                <a:lnTo>
                  <a:pt x="143134" y="95760"/>
                </a:lnTo>
                <a:close/>
                <a:moveTo>
                  <a:pt x="129715" y="141724"/>
                </a:moveTo>
                <a:cubicBezTo>
                  <a:pt x="130354" y="138532"/>
                  <a:pt x="133549" y="135979"/>
                  <a:pt x="137384" y="136617"/>
                </a:cubicBezTo>
                <a:cubicBezTo>
                  <a:pt x="137384" y="136617"/>
                  <a:pt x="137384" y="136617"/>
                  <a:pt x="137384" y="136617"/>
                </a:cubicBezTo>
                <a:lnTo>
                  <a:pt x="238344" y="157046"/>
                </a:lnTo>
                <a:cubicBezTo>
                  <a:pt x="242178" y="157684"/>
                  <a:pt x="244734" y="160238"/>
                  <a:pt x="244095" y="164068"/>
                </a:cubicBezTo>
                <a:cubicBezTo>
                  <a:pt x="243456" y="167899"/>
                  <a:pt x="240900" y="170452"/>
                  <a:pt x="237067" y="169814"/>
                </a:cubicBezTo>
                <a:lnTo>
                  <a:pt x="235788" y="169814"/>
                </a:lnTo>
                <a:lnTo>
                  <a:pt x="134828" y="149385"/>
                </a:lnTo>
                <a:cubicBezTo>
                  <a:pt x="130994" y="148747"/>
                  <a:pt x="129076" y="145555"/>
                  <a:pt x="129715" y="141724"/>
                </a:cubicBezTo>
                <a:cubicBezTo>
                  <a:pt x="129715" y="141724"/>
                  <a:pt x="129715" y="141086"/>
                  <a:pt x="129715" y="141724"/>
                </a:cubicBezTo>
                <a:lnTo>
                  <a:pt x="129715" y="141724"/>
                </a:lnTo>
                <a:close/>
                <a:moveTo>
                  <a:pt x="130354" y="179390"/>
                </a:moveTo>
                <a:lnTo>
                  <a:pt x="233233" y="189604"/>
                </a:lnTo>
                <a:cubicBezTo>
                  <a:pt x="237067" y="189604"/>
                  <a:pt x="239623" y="192796"/>
                  <a:pt x="239623" y="195988"/>
                </a:cubicBezTo>
                <a:cubicBezTo>
                  <a:pt x="239623" y="199819"/>
                  <a:pt x="236428" y="202372"/>
                  <a:pt x="233233" y="202372"/>
                </a:cubicBezTo>
                <a:lnTo>
                  <a:pt x="232593" y="202372"/>
                </a:lnTo>
                <a:lnTo>
                  <a:pt x="129715" y="192158"/>
                </a:lnTo>
                <a:cubicBezTo>
                  <a:pt x="125881" y="191519"/>
                  <a:pt x="123325" y="188966"/>
                  <a:pt x="123964" y="185135"/>
                </a:cubicBezTo>
                <a:cubicBezTo>
                  <a:pt x="124604" y="181305"/>
                  <a:pt x="127159" y="178752"/>
                  <a:pt x="130354" y="179390"/>
                </a:cubicBezTo>
                <a:close/>
                <a:moveTo>
                  <a:pt x="129076" y="224078"/>
                </a:moveTo>
                <a:lnTo>
                  <a:pt x="232593" y="224078"/>
                </a:lnTo>
                <a:cubicBezTo>
                  <a:pt x="236428" y="224078"/>
                  <a:pt x="238983" y="226631"/>
                  <a:pt x="238983" y="230462"/>
                </a:cubicBezTo>
                <a:cubicBezTo>
                  <a:pt x="238983" y="234292"/>
                  <a:pt x="236428" y="236846"/>
                  <a:pt x="232593" y="236846"/>
                </a:cubicBezTo>
                <a:lnTo>
                  <a:pt x="129076" y="236846"/>
                </a:lnTo>
                <a:cubicBezTo>
                  <a:pt x="125243" y="236846"/>
                  <a:pt x="122686" y="234292"/>
                  <a:pt x="122686" y="230462"/>
                </a:cubicBezTo>
                <a:cubicBezTo>
                  <a:pt x="122686" y="226631"/>
                  <a:pt x="125881" y="224078"/>
                  <a:pt x="129076" y="224078"/>
                </a:cubicBezTo>
                <a:close/>
                <a:moveTo>
                  <a:pt x="273489" y="264935"/>
                </a:moveTo>
                <a:cubicBezTo>
                  <a:pt x="273489" y="268766"/>
                  <a:pt x="270933" y="271319"/>
                  <a:pt x="267099" y="271319"/>
                </a:cubicBezTo>
                <a:lnTo>
                  <a:pt x="95209" y="271319"/>
                </a:lnTo>
                <a:cubicBezTo>
                  <a:pt x="91376" y="271319"/>
                  <a:pt x="88820" y="268766"/>
                  <a:pt x="88820" y="264935"/>
                </a:cubicBezTo>
                <a:lnTo>
                  <a:pt x="88820" y="213225"/>
                </a:lnTo>
                <a:cubicBezTo>
                  <a:pt x="88820" y="209395"/>
                  <a:pt x="91376" y="206841"/>
                  <a:pt x="95209" y="206841"/>
                </a:cubicBezTo>
                <a:cubicBezTo>
                  <a:pt x="99044" y="206841"/>
                  <a:pt x="101599" y="209395"/>
                  <a:pt x="101599" y="213225"/>
                </a:cubicBezTo>
                <a:lnTo>
                  <a:pt x="101599" y="258551"/>
                </a:lnTo>
                <a:lnTo>
                  <a:pt x="260709" y="258551"/>
                </a:lnTo>
                <a:lnTo>
                  <a:pt x="260709" y="213225"/>
                </a:lnTo>
                <a:cubicBezTo>
                  <a:pt x="260709" y="209395"/>
                  <a:pt x="263265" y="206841"/>
                  <a:pt x="267099" y="206841"/>
                </a:cubicBezTo>
                <a:cubicBezTo>
                  <a:pt x="270933" y="206841"/>
                  <a:pt x="273489" y="209395"/>
                  <a:pt x="273489" y="213225"/>
                </a:cubicBezTo>
                <a:lnTo>
                  <a:pt x="273489" y="264935"/>
                </a:lnTo>
                <a:close/>
              </a:path>
            </a:pathLst>
          </a:custGeom>
          <a:solidFill>
            <a:schemeClr val="accent4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hu-HU"/>
          </a:p>
        </p:txBody>
      </p:sp>
      <p:grpSp>
        <p:nvGrpSpPr>
          <p:cNvPr id="52" name="Graphic 4">
            <a:extLst>
              <a:ext uri="{FF2B5EF4-FFF2-40B4-BE49-F238E27FC236}">
                <a16:creationId xmlns:a16="http://schemas.microsoft.com/office/drawing/2014/main" id="{88F33865-515F-1AE5-833C-5AE752C8F8AF}"/>
              </a:ext>
            </a:extLst>
          </p:cNvPr>
          <p:cNvGrpSpPr>
            <a:grpSpLocks noChangeAspect="1"/>
          </p:cNvGrpSpPr>
          <p:nvPr/>
        </p:nvGrpSpPr>
        <p:grpSpPr>
          <a:xfrm>
            <a:off x="5470745" y="3007068"/>
            <a:ext cx="463436" cy="462999"/>
            <a:chOff x="1952125" y="3339623"/>
            <a:chExt cx="362313" cy="361971"/>
          </a:xfrm>
          <a:solidFill>
            <a:schemeClr val="accent1"/>
          </a:solidFill>
        </p:grpSpPr>
        <p:sp>
          <p:nvSpPr>
            <p:cNvPr id="53" name="Graphic 4">
              <a:extLst>
                <a:ext uri="{FF2B5EF4-FFF2-40B4-BE49-F238E27FC236}">
                  <a16:creationId xmlns:a16="http://schemas.microsoft.com/office/drawing/2014/main" id="{0822DF9C-88F6-9E52-573B-8C45C138DB25}"/>
                </a:ext>
              </a:extLst>
            </p:cNvPr>
            <p:cNvSpPr/>
            <p:nvPr/>
          </p:nvSpPr>
          <p:spPr>
            <a:xfrm>
              <a:off x="2106026" y="3455149"/>
              <a:ext cx="56327" cy="68971"/>
            </a:xfrm>
            <a:custGeom>
              <a:avLst/>
              <a:gdLst>
                <a:gd name="connsiteX0" fmla="*/ 16710 w 56327"/>
                <a:gd name="connsiteY0" fmla="*/ 68971 h 68971"/>
                <a:gd name="connsiteX1" fmla="*/ 39075 w 56327"/>
                <a:gd name="connsiteY1" fmla="*/ 68971 h 68971"/>
                <a:gd name="connsiteX2" fmla="*/ 49299 w 56327"/>
                <a:gd name="connsiteY2" fmla="*/ 45989 h 68971"/>
                <a:gd name="connsiteX3" fmla="*/ 56328 w 56327"/>
                <a:gd name="connsiteY3" fmla="*/ 26837 h 68971"/>
                <a:gd name="connsiteX4" fmla="*/ 26934 w 56327"/>
                <a:gd name="connsiteY4" fmla="*/ 24 h 68971"/>
                <a:gd name="connsiteX5" fmla="*/ 97 w 56327"/>
                <a:gd name="connsiteY5" fmla="*/ 26837 h 68971"/>
                <a:gd name="connsiteX6" fmla="*/ 7125 w 56327"/>
                <a:gd name="connsiteY6" fmla="*/ 45989 h 68971"/>
                <a:gd name="connsiteX7" fmla="*/ 16710 w 56327"/>
                <a:gd name="connsiteY7" fmla="*/ 68971 h 68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327" h="68971">
                  <a:moveTo>
                    <a:pt x="16710" y="68971"/>
                  </a:moveTo>
                  <a:lnTo>
                    <a:pt x="39075" y="68971"/>
                  </a:lnTo>
                  <a:cubicBezTo>
                    <a:pt x="39714" y="60672"/>
                    <a:pt x="43548" y="52373"/>
                    <a:pt x="49299" y="45989"/>
                  </a:cubicBezTo>
                  <a:cubicBezTo>
                    <a:pt x="53772" y="40882"/>
                    <a:pt x="56328" y="33859"/>
                    <a:pt x="56328" y="26837"/>
                  </a:cubicBezTo>
                  <a:cubicBezTo>
                    <a:pt x="55689" y="11516"/>
                    <a:pt x="42270" y="-614"/>
                    <a:pt x="26934" y="24"/>
                  </a:cubicBezTo>
                  <a:cubicBezTo>
                    <a:pt x="12237" y="663"/>
                    <a:pt x="736" y="12154"/>
                    <a:pt x="97" y="26837"/>
                  </a:cubicBezTo>
                  <a:cubicBezTo>
                    <a:pt x="-543" y="33859"/>
                    <a:pt x="2013" y="40882"/>
                    <a:pt x="7125" y="45989"/>
                  </a:cubicBezTo>
                  <a:cubicBezTo>
                    <a:pt x="12237" y="52373"/>
                    <a:pt x="16071" y="60672"/>
                    <a:pt x="16710" y="6897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54" name="Graphic 4">
              <a:extLst>
                <a:ext uri="{FF2B5EF4-FFF2-40B4-BE49-F238E27FC236}">
                  <a16:creationId xmlns:a16="http://schemas.microsoft.com/office/drawing/2014/main" id="{95FAA0F8-5202-12EA-FF56-B3C35BC3098E}"/>
                </a:ext>
              </a:extLst>
            </p:cNvPr>
            <p:cNvSpPr/>
            <p:nvPr/>
          </p:nvSpPr>
          <p:spPr>
            <a:xfrm>
              <a:off x="1952125" y="3339623"/>
              <a:ext cx="362313" cy="361971"/>
            </a:xfrm>
            <a:custGeom>
              <a:avLst/>
              <a:gdLst>
                <a:gd name="connsiteX0" fmla="*/ 181474 w 362313"/>
                <a:gd name="connsiteY0" fmla="*/ 0 h 361971"/>
                <a:gd name="connsiteX1" fmla="*/ 0 w 362313"/>
                <a:gd name="connsiteY1" fmla="*/ 180667 h 361971"/>
                <a:gd name="connsiteX2" fmla="*/ 180835 w 362313"/>
                <a:gd name="connsiteY2" fmla="*/ 361972 h 361971"/>
                <a:gd name="connsiteX3" fmla="*/ 362310 w 362313"/>
                <a:gd name="connsiteY3" fmla="*/ 181305 h 361971"/>
                <a:gd name="connsiteX4" fmla="*/ 362310 w 362313"/>
                <a:gd name="connsiteY4" fmla="*/ 181305 h 361971"/>
                <a:gd name="connsiteX5" fmla="*/ 181474 w 362313"/>
                <a:gd name="connsiteY5" fmla="*/ 0 h 361971"/>
                <a:gd name="connsiteX6" fmla="*/ 224926 w 362313"/>
                <a:gd name="connsiteY6" fmla="*/ 101505 h 361971"/>
                <a:gd name="connsiteX7" fmla="*/ 237706 w 362313"/>
                <a:gd name="connsiteY7" fmla="*/ 93206 h 361971"/>
                <a:gd name="connsiteX8" fmla="*/ 246652 w 362313"/>
                <a:gd name="connsiteY8" fmla="*/ 95121 h 361971"/>
                <a:gd name="connsiteX9" fmla="*/ 244735 w 362313"/>
                <a:gd name="connsiteY9" fmla="*/ 104059 h 361971"/>
                <a:gd name="connsiteX10" fmla="*/ 231955 w 362313"/>
                <a:gd name="connsiteY10" fmla="*/ 112358 h 361971"/>
                <a:gd name="connsiteX11" fmla="*/ 223009 w 362313"/>
                <a:gd name="connsiteY11" fmla="*/ 110443 h 361971"/>
                <a:gd name="connsiteX12" fmla="*/ 224926 w 362313"/>
                <a:gd name="connsiteY12" fmla="*/ 101505 h 361971"/>
                <a:gd name="connsiteX13" fmla="*/ 175084 w 362313"/>
                <a:gd name="connsiteY13" fmla="*/ 66394 h 361971"/>
                <a:gd name="connsiteX14" fmla="*/ 181474 w 362313"/>
                <a:gd name="connsiteY14" fmla="*/ 60010 h 361971"/>
                <a:gd name="connsiteX15" fmla="*/ 187864 w 362313"/>
                <a:gd name="connsiteY15" fmla="*/ 66394 h 361971"/>
                <a:gd name="connsiteX16" fmla="*/ 187864 w 362313"/>
                <a:gd name="connsiteY16" fmla="*/ 80438 h 361971"/>
                <a:gd name="connsiteX17" fmla="*/ 181474 w 362313"/>
                <a:gd name="connsiteY17" fmla="*/ 86822 h 361971"/>
                <a:gd name="connsiteX18" fmla="*/ 175084 w 362313"/>
                <a:gd name="connsiteY18" fmla="*/ 80438 h 361971"/>
                <a:gd name="connsiteX19" fmla="*/ 175084 w 362313"/>
                <a:gd name="connsiteY19" fmla="*/ 66394 h 361971"/>
                <a:gd name="connsiteX20" fmla="*/ 181474 w 362313"/>
                <a:gd name="connsiteY20" fmla="*/ 102144 h 361971"/>
                <a:gd name="connsiteX21" fmla="*/ 222370 w 362313"/>
                <a:gd name="connsiteY21" fmla="*/ 141086 h 361971"/>
                <a:gd name="connsiteX22" fmla="*/ 222370 w 362313"/>
                <a:gd name="connsiteY22" fmla="*/ 141724 h 361971"/>
                <a:gd name="connsiteX23" fmla="*/ 212785 w 362313"/>
                <a:gd name="connsiteY23" fmla="*/ 168537 h 361971"/>
                <a:gd name="connsiteX24" fmla="*/ 205117 w 362313"/>
                <a:gd name="connsiteY24" fmla="*/ 190243 h 361971"/>
                <a:gd name="connsiteX25" fmla="*/ 198727 w 362313"/>
                <a:gd name="connsiteY25" fmla="*/ 196627 h 361971"/>
                <a:gd name="connsiteX26" fmla="*/ 164221 w 362313"/>
                <a:gd name="connsiteY26" fmla="*/ 196627 h 361971"/>
                <a:gd name="connsiteX27" fmla="*/ 157832 w 362313"/>
                <a:gd name="connsiteY27" fmla="*/ 190243 h 361971"/>
                <a:gd name="connsiteX28" fmla="*/ 150164 w 362313"/>
                <a:gd name="connsiteY28" fmla="*/ 168537 h 361971"/>
                <a:gd name="connsiteX29" fmla="*/ 140579 w 362313"/>
                <a:gd name="connsiteY29" fmla="*/ 141724 h 361971"/>
                <a:gd name="connsiteX30" fmla="*/ 180835 w 362313"/>
                <a:gd name="connsiteY30" fmla="*/ 102144 h 361971"/>
                <a:gd name="connsiteX31" fmla="*/ 181474 w 362313"/>
                <a:gd name="connsiteY31" fmla="*/ 102144 h 361971"/>
                <a:gd name="connsiteX32" fmla="*/ 181474 w 362313"/>
                <a:gd name="connsiteY32" fmla="*/ 102144 h 361971"/>
                <a:gd name="connsiteX33" fmla="*/ 204478 w 362313"/>
                <a:gd name="connsiteY33" fmla="*/ 209395 h 361971"/>
                <a:gd name="connsiteX34" fmla="*/ 198088 w 362313"/>
                <a:gd name="connsiteY34" fmla="*/ 215779 h 361971"/>
                <a:gd name="connsiteX35" fmla="*/ 165499 w 362313"/>
                <a:gd name="connsiteY35" fmla="*/ 215779 h 361971"/>
                <a:gd name="connsiteX36" fmla="*/ 159109 w 362313"/>
                <a:gd name="connsiteY36" fmla="*/ 209395 h 361971"/>
                <a:gd name="connsiteX37" fmla="*/ 165499 w 362313"/>
                <a:gd name="connsiteY37" fmla="*/ 203011 h 361971"/>
                <a:gd name="connsiteX38" fmla="*/ 198088 w 362313"/>
                <a:gd name="connsiteY38" fmla="*/ 203011 h 361971"/>
                <a:gd name="connsiteX39" fmla="*/ 204478 w 362313"/>
                <a:gd name="connsiteY39" fmla="*/ 209395 h 361971"/>
                <a:gd name="connsiteX40" fmla="*/ 116936 w 362313"/>
                <a:gd name="connsiteY40" fmla="*/ 95121 h 361971"/>
                <a:gd name="connsiteX41" fmla="*/ 125882 w 362313"/>
                <a:gd name="connsiteY41" fmla="*/ 93206 h 361971"/>
                <a:gd name="connsiteX42" fmla="*/ 138662 w 362313"/>
                <a:gd name="connsiteY42" fmla="*/ 101505 h 361971"/>
                <a:gd name="connsiteX43" fmla="*/ 140579 w 362313"/>
                <a:gd name="connsiteY43" fmla="*/ 110443 h 361971"/>
                <a:gd name="connsiteX44" fmla="*/ 135467 w 362313"/>
                <a:gd name="connsiteY44" fmla="*/ 113635 h 361971"/>
                <a:gd name="connsiteX45" fmla="*/ 131633 w 362313"/>
                <a:gd name="connsiteY45" fmla="*/ 112358 h 361971"/>
                <a:gd name="connsiteX46" fmla="*/ 118853 w 362313"/>
                <a:gd name="connsiteY46" fmla="*/ 104059 h 361971"/>
                <a:gd name="connsiteX47" fmla="*/ 116936 w 362313"/>
                <a:gd name="connsiteY47" fmla="*/ 95121 h 361971"/>
                <a:gd name="connsiteX48" fmla="*/ 116936 w 362313"/>
                <a:gd name="connsiteY48" fmla="*/ 95121 h 361971"/>
                <a:gd name="connsiteX49" fmla="*/ 104156 w 362313"/>
                <a:gd name="connsiteY49" fmla="*/ 157684 h 361971"/>
                <a:gd name="connsiteX50" fmla="*/ 110546 w 362313"/>
                <a:gd name="connsiteY50" fmla="*/ 151300 h 361971"/>
                <a:gd name="connsiteX51" fmla="*/ 125882 w 362313"/>
                <a:gd name="connsiteY51" fmla="*/ 151300 h 361971"/>
                <a:gd name="connsiteX52" fmla="*/ 132272 w 362313"/>
                <a:gd name="connsiteY52" fmla="*/ 157684 h 361971"/>
                <a:gd name="connsiteX53" fmla="*/ 125882 w 362313"/>
                <a:gd name="connsiteY53" fmla="*/ 164068 h 361971"/>
                <a:gd name="connsiteX54" fmla="*/ 110546 w 362313"/>
                <a:gd name="connsiteY54" fmla="*/ 164068 h 361971"/>
                <a:gd name="connsiteX55" fmla="*/ 104156 w 362313"/>
                <a:gd name="connsiteY55" fmla="*/ 157684 h 361971"/>
                <a:gd name="connsiteX56" fmla="*/ 104156 w 362313"/>
                <a:gd name="connsiteY56" fmla="*/ 157684 h 361971"/>
                <a:gd name="connsiteX57" fmla="*/ 256876 w 362313"/>
                <a:gd name="connsiteY57" fmla="*/ 295578 h 361971"/>
                <a:gd name="connsiteX58" fmla="*/ 250486 w 362313"/>
                <a:gd name="connsiteY58" fmla="*/ 301962 h 361971"/>
                <a:gd name="connsiteX59" fmla="*/ 244096 w 362313"/>
                <a:gd name="connsiteY59" fmla="*/ 295578 h 361971"/>
                <a:gd name="connsiteX60" fmla="*/ 244096 w 362313"/>
                <a:gd name="connsiteY60" fmla="*/ 284087 h 361971"/>
                <a:gd name="connsiteX61" fmla="*/ 200644 w 362313"/>
                <a:gd name="connsiteY61" fmla="*/ 236846 h 361971"/>
                <a:gd name="connsiteX62" fmla="*/ 162304 w 362313"/>
                <a:gd name="connsiteY62" fmla="*/ 236846 h 361971"/>
                <a:gd name="connsiteX63" fmla="*/ 118853 w 362313"/>
                <a:gd name="connsiteY63" fmla="*/ 284087 h 361971"/>
                <a:gd name="connsiteX64" fmla="*/ 118853 w 362313"/>
                <a:gd name="connsiteY64" fmla="*/ 295578 h 361971"/>
                <a:gd name="connsiteX65" fmla="*/ 112463 w 362313"/>
                <a:gd name="connsiteY65" fmla="*/ 301962 h 361971"/>
                <a:gd name="connsiteX66" fmla="*/ 106073 w 362313"/>
                <a:gd name="connsiteY66" fmla="*/ 295578 h 361971"/>
                <a:gd name="connsiteX67" fmla="*/ 106073 w 362313"/>
                <a:gd name="connsiteY67" fmla="*/ 284087 h 361971"/>
                <a:gd name="connsiteX68" fmla="*/ 162304 w 362313"/>
                <a:gd name="connsiteY68" fmla="*/ 224078 h 361971"/>
                <a:gd name="connsiteX69" fmla="*/ 200644 w 362313"/>
                <a:gd name="connsiteY69" fmla="*/ 224078 h 361971"/>
                <a:gd name="connsiteX70" fmla="*/ 256876 w 362313"/>
                <a:gd name="connsiteY70" fmla="*/ 284087 h 361971"/>
                <a:gd name="connsiteX71" fmla="*/ 256876 w 362313"/>
                <a:gd name="connsiteY71" fmla="*/ 295578 h 361971"/>
                <a:gd name="connsiteX72" fmla="*/ 253042 w 362313"/>
                <a:gd name="connsiteY72" fmla="*/ 164068 h 361971"/>
                <a:gd name="connsiteX73" fmla="*/ 237706 w 362313"/>
                <a:gd name="connsiteY73" fmla="*/ 164068 h 361971"/>
                <a:gd name="connsiteX74" fmla="*/ 231316 w 362313"/>
                <a:gd name="connsiteY74" fmla="*/ 157684 h 361971"/>
                <a:gd name="connsiteX75" fmla="*/ 237706 w 362313"/>
                <a:gd name="connsiteY75" fmla="*/ 151300 h 361971"/>
                <a:gd name="connsiteX76" fmla="*/ 253042 w 362313"/>
                <a:gd name="connsiteY76" fmla="*/ 151300 h 361971"/>
                <a:gd name="connsiteX77" fmla="*/ 259431 w 362313"/>
                <a:gd name="connsiteY77" fmla="*/ 157684 h 361971"/>
                <a:gd name="connsiteX78" fmla="*/ 253042 w 362313"/>
                <a:gd name="connsiteY78" fmla="*/ 164068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362313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1157" y="361972"/>
                    <a:pt x="362310" y="280895"/>
                    <a:pt x="362310" y="181305"/>
                  </a:cubicBezTo>
                  <a:cubicBezTo>
                    <a:pt x="362310" y="181305"/>
                    <a:pt x="362310" y="181305"/>
                    <a:pt x="362310" y="181305"/>
                  </a:cubicBezTo>
                  <a:cubicBezTo>
                    <a:pt x="362948" y="81077"/>
                    <a:pt x="281796" y="0"/>
                    <a:pt x="181474" y="0"/>
                  </a:cubicBezTo>
                  <a:close/>
                  <a:moveTo>
                    <a:pt x="224926" y="101505"/>
                  </a:moveTo>
                  <a:lnTo>
                    <a:pt x="237706" y="93206"/>
                  </a:lnTo>
                  <a:cubicBezTo>
                    <a:pt x="240901" y="91291"/>
                    <a:pt x="244735" y="91930"/>
                    <a:pt x="246652" y="95121"/>
                  </a:cubicBezTo>
                  <a:cubicBezTo>
                    <a:pt x="248569" y="98313"/>
                    <a:pt x="247929" y="102144"/>
                    <a:pt x="244735" y="104059"/>
                  </a:cubicBezTo>
                  <a:lnTo>
                    <a:pt x="231955" y="112358"/>
                  </a:lnTo>
                  <a:cubicBezTo>
                    <a:pt x="228760" y="114273"/>
                    <a:pt x="224926" y="113635"/>
                    <a:pt x="223009" y="110443"/>
                  </a:cubicBezTo>
                  <a:cubicBezTo>
                    <a:pt x="221092" y="107889"/>
                    <a:pt x="221731" y="103421"/>
                    <a:pt x="224926" y="101505"/>
                  </a:cubicBezTo>
                  <a:close/>
                  <a:moveTo>
                    <a:pt x="175084" y="66394"/>
                  </a:moveTo>
                  <a:cubicBezTo>
                    <a:pt x="175084" y="62563"/>
                    <a:pt x="177640" y="60010"/>
                    <a:pt x="181474" y="60010"/>
                  </a:cubicBezTo>
                  <a:cubicBezTo>
                    <a:pt x="185308" y="60010"/>
                    <a:pt x="187864" y="62563"/>
                    <a:pt x="187864" y="66394"/>
                  </a:cubicBezTo>
                  <a:lnTo>
                    <a:pt x="187864" y="80438"/>
                  </a:lnTo>
                  <a:cubicBezTo>
                    <a:pt x="187864" y="84269"/>
                    <a:pt x="185308" y="86822"/>
                    <a:pt x="181474" y="86822"/>
                  </a:cubicBezTo>
                  <a:cubicBezTo>
                    <a:pt x="177640" y="86822"/>
                    <a:pt x="175084" y="84269"/>
                    <a:pt x="175084" y="80438"/>
                  </a:cubicBezTo>
                  <a:lnTo>
                    <a:pt x="175084" y="66394"/>
                  </a:lnTo>
                  <a:close/>
                  <a:moveTo>
                    <a:pt x="181474" y="102144"/>
                  </a:moveTo>
                  <a:cubicBezTo>
                    <a:pt x="203839" y="101505"/>
                    <a:pt x="221731" y="119381"/>
                    <a:pt x="222370" y="141086"/>
                  </a:cubicBezTo>
                  <a:cubicBezTo>
                    <a:pt x="222370" y="141086"/>
                    <a:pt x="222370" y="141724"/>
                    <a:pt x="222370" y="141724"/>
                  </a:cubicBezTo>
                  <a:cubicBezTo>
                    <a:pt x="223009" y="151939"/>
                    <a:pt x="219175" y="161515"/>
                    <a:pt x="212785" y="168537"/>
                  </a:cubicBezTo>
                  <a:cubicBezTo>
                    <a:pt x="207673" y="174283"/>
                    <a:pt x="204478" y="182582"/>
                    <a:pt x="205117" y="190243"/>
                  </a:cubicBezTo>
                  <a:cubicBezTo>
                    <a:pt x="205117" y="194073"/>
                    <a:pt x="202561" y="196627"/>
                    <a:pt x="198727" y="196627"/>
                  </a:cubicBezTo>
                  <a:lnTo>
                    <a:pt x="164221" y="196627"/>
                  </a:lnTo>
                  <a:cubicBezTo>
                    <a:pt x="160387" y="196627"/>
                    <a:pt x="157832" y="194073"/>
                    <a:pt x="157832" y="190243"/>
                  </a:cubicBezTo>
                  <a:cubicBezTo>
                    <a:pt x="158470" y="181944"/>
                    <a:pt x="155275" y="174283"/>
                    <a:pt x="150164" y="168537"/>
                  </a:cubicBezTo>
                  <a:cubicBezTo>
                    <a:pt x="143774" y="160876"/>
                    <a:pt x="139940" y="151300"/>
                    <a:pt x="140579" y="141724"/>
                  </a:cubicBezTo>
                  <a:cubicBezTo>
                    <a:pt x="140579" y="119381"/>
                    <a:pt x="158470" y="101505"/>
                    <a:pt x="180835" y="102144"/>
                  </a:cubicBezTo>
                  <a:cubicBezTo>
                    <a:pt x="181474" y="102144"/>
                    <a:pt x="181474" y="102144"/>
                    <a:pt x="181474" y="102144"/>
                  </a:cubicBezTo>
                  <a:lnTo>
                    <a:pt x="181474" y="102144"/>
                  </a:lnTo>
                  <a:close/>
                  <a:moveTo>
                    <a:pt x="204478" y="209395"/>
                  </a:moveTo>
                  <a:cubicBezTo>
                    <a:pt x="204478" y="213225"/>
                    <a:pt x="201922" y="215779"/>
                    <a:pt x="198088" y="215779"/>
                  </a:cubicBezTo>
                  <a:lnTo>
                    <a:pt x="165499" y="215779"/>
                  </a:lnTo>
                  <a:cubicBezTo>
                    <a:pt x="161665" y="215779"/>
                    <a:pt x="159109" y="213225"/>
                    <a:pt x="159109" y="209395"/>
                  </a:cubicBezTo>
                  <a:cubicBezTo>
                    <a:pt x="159109" y="205564"/>
                    <a:pt x="161665" y="203011"/>
                    <a:pt x="165499" y="203011"/>
                  </a:cubicBezTo>
                  <a:lnTo>
                    <a:pt x="198088" y="203011"/>
                  </a:lnTo>
                  <a:cubicBezTo>
                    <a:pt x="201283" y="203011"/>
                    <a:pt x="204478" y="205564"/>
                    <a:pt x="204478" y="209395"/>
                  </a:cubicBezTo>
                  <a:close/>
                  <a:moveTo>
                    <a:pt x="116936" y="95121"/>
                  </a:moveTo>
                  <a:cubicBezTo>
                    <a:pt x="118853" y="91930"/>
                    <a:pt x="122687" y="91291"/>
                    <a:pt x="125882" y="93206"/>
                  </a:cubicBezTo>
                  <a:lnTo>
                    <a:pt x="138662" y="101505"/>
                  </a:lnTo>
                  <a:cubicBezTo>
                    <a:pt x="141857" y="103421"/>
                    <a:pt x="142496" y="107251"/>
                    <a:pt x="140579" y="110443"/>
                  </a:cubicBezTo>
                  <a:cubicBezTo>
                    <a:pt x="139301" y="112358"/>
                    <a:pt x="137384" y="113635"/>
                    <a:pt x="135467" y="113635"/>
                  </a:cubicBezTo>
                  <a:cubicBezTo>
                    <a:pt x="134189" y="113635"/>
                    <a:pt x="132911" y="112997"/>
                    <a:pt x="131633" y="112358"/>
                  </a:cubicBezTo>
                  <a:lnTo>
                    <a:pt x="118853" y="104059"/>
                  </a:lnTo>
                  <a:cubicBezTo>
                    <a:pt x="115658" y="102144"/>
                    <a:pt x="115019" y="97675"/>
                    <a:pt x="116936" y="95121"/>
                  </a:cubicBezTo>
                  <a:cubicBezTo>
                    <a:pt x="116936" y="95121"/>
                    <a:pt x="116936" y="95121"/>
                    <a:pt x="116936" y="95121"/>
                  </a:cubicBezTo>
                  <a:close/>
                  <a:moveTo>
                    <a:pt x="104156" y="157684"/>
                  </a:moveTo>
                  <a:cubicBezTo>
                    <a:pt x="104156" y="153854"/>
                    <a:pt x="106712" y="151300"/>
                    <a:pt x="110546" y="151300"/>
                  </a:cubicBezTo>
                  <a:lnTo>
                    <a:pt x="125882" y="151300"/>
                  </a:lnTo>
                  <a:cubicBezTo>
                    <a:pt x="129716" y="151300"/>
                    <a:pt x="132272" y="153854"/>
                    <a:pt x="132272" y="157684"/>
                  </a:cubicBezTo>
                  <a:cubicBezTo>
                    <a:pt x="132272" y="161515"/>
                    <a:pt x="129716" y="164068"/>
                    <a:pt x="125882" y="164068"/>
                  </a:cubicBezTo>
                  <a:lnTo>
                    <a:pt x="110546" y="164068"/>
                  </a:lnTo>
                  <a:cubicBezTo>
                    <a:pt x="106712" y="164068"/>
                    <a:pt x="104156" y="160876"/>
                    <a:pt x="104156" y="157684"/>
                  </a:cubicBezTo>
                  <a:lnTo>
                    <a:pt x="104156" y="157684"/>
                  </a:lnTo>
                  <a:close/>
                  <a:moveTo>
                    <a:pt x="256876" y="295578"/>
                  </a:moveTo>
                  <a:cubicBezTo>
                    <a:pt x="256876" y="299409"/>
                    <a:pt x="254319" y="301962"/>
                    <a:pt x="250486" y="301962"/>
                  </a:cubicBezTo>
                  <a:cubicBezTo>
                    <a:pt x="246652" y="301962"/>
                    <a:pt x="244096" y="299409"/>
                    <a:pt x="244096" y="295578"/>
                  </a:cubicBezTo>
                  <a:lnTo>
                    <a:pt x="244096" y="284087"/>
                  </a:lnTo>
                  <a:cubicBezTo>
                    <a:pt x="244096" y="257913"/>
                    <a:pt x="224287" y="236846"/>
                    <a:pt x="200644" y="236846"/>
                  </a:cubicBezTo>
                  <a:lnTo>
                    <a:pt x="162304" y="236846"/>
                  </a:lnTo>
                  <a:cubicBezTo>
                    <a:pt x="138023" y="236846"/>
                    <a:pt x="118853" y="257913"/>
                    <a:pt x="118853" y="284087"/>
                  </a:cubicBezTo>
                  <a:lnTo>
                    <a:pt x="118853" y="295578"/>
                  </a:lnTo>
                  <a:cubicBezTo>
                    <a:pt x="118853" y="299409"/>
                    <a:pt x="116297" y="301962"/>
                    <a:pt x="112463" y="301962"/>
                  </a:cubicBezTo>
                  <a:cubicBezTo>
                    <a:pt x="108629" y="301962"/>
                    <a:pt x="106073" y="299409"/>
                    <a:pt x="106073" y="295578"/>
                  </a:cubicBezTo>
                  <a:lnTo>
                    <a:pt x="106073" y="284087"/>
                  </a:lnTo>
                  <a:cubicBezTo>
                    <a:pt x="106073" y="250890"/>
                    <a:pt x="131633" y="224078"/>
                    <a:pt x="162304" y="224078"/>
                  </a:cubicBezTo>
                  <a:lnTo>
                    <a:pt x="200644" y="224078"/>
                  </a:lnTo>
                  <a:cubicBezTo>
                    <a:pt x="231955" y="224078"/>
                    <a:pt x="256876" y="250890"/>
                    <a:pt x="256876" y="284087"/>
                  </a:cubicBezTo>
                  <a:lnTo>
                    <a:pt x="256876" y="295578"/>
                  </a:lnTo>
                  <a:close/>
                  <a:moveTo>
                    <a:pt x="253042" y="164068"/>
                  </a:moveTo>
                  <a:lnTo>
                    <a:pt x="237706" y="164068"/>
                  </a:lnTo>
                  <a:cubicBezTo>
                    <a:pt x="233872" y="164068"/>
                    <a:pt x="231316" y="161515"/>
                    <a:pt x="231316" y="157684"/>
                  </a:cubicBezTo>
                  <a:cubicBezTo>
                    <a:pt x="231316" y="153854"/>
                    <a:pt x="233872" y="151300"/>
                    <a:pt x="237706" y="151300"/>
                  </a:cubicBezTo>
                  <a:lnTo>
                    <a:pt x="253042" y="151300"/>
                  </a:lnTo>
                  <a:cubicBezTo>
                    <a:pt x="256876" y="151300"/>
                    <a:pt x="259431" y="153854"/>
                    <a:pt x="259431" y="157684"/>
                  </a:cubicBezTo>
                  <a:cubicBezTo>
                    <a:pt x="259431" y="161515"/>
                    <a:pt x="256237" y="164068"/>
                    <a:pt x="253042" y="16406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</p:grpSp>
      <p:grpSp>
        <p:nvGrpSpPr>
          <p:cNvPr id="55" name="Graphic 4">
            <a:extLst>
              <a:ext uri="{FF2B5EF4-FFF2-40B4-BE49-F238E27FC236}">
                <a16:creationId xmlns:a16="http://schemas.microsoft.com/office/drawing/2014/main" id="{A101D431-7C58-438B-41FC-F7CAEB3208B4}"/>
              </a:ext>
            </a:extLst>
          </p:cNvPr>
          <p:cNvGrpSpPr/>
          <p:nvPr/>
        </p:nvGrpSpPr>
        <p:grpSpPr>
          <a:xfrm>
            <a:off x="5470745" y="4970412"/>
            <a:ext cx="463432" cy="463000"/>
            <a:chOff x="4045469" y="2371173"/>
            <a:chExt cx="362309" cy="361971"/>
          </a:xfrm>
          <a:solidFill>
            <a:schemeClr val="accent2"/>
          </a:solidFill>
        </p:grpSpPr>
        <p:sp>
          <p:nvSpPr>
            <p:cNvPr id="56" name="Graphic 4">
              <a:extLst>
                <a:ext uri="{FF2B5EF4-FFF2-40B4-BE49-F238E27FC236}">
                  <a16:creationId xmlns:a16="http://schemas.microsoft.com/office/drawing/2014/main" id="{C1DEE072-B3F2-912A-1624-AC7E7704387F}"/>
                </a:ext>
              </a:extLst>
            </p:cNvPr>
            <p:cNvSpPr/>
            <p:nvPr/>
          </p:nvSpPr>
          <p:spPr>
            <a:xfrm>
              <a:off x="4157932" y="2483531"/>
              <a:ext cx="137383" cy="137255"/>
            </a:xfrm>
            <a:custGeom>
              <a:avLst/>
              <a:gdLst>
                <a:gd name="connsiteX0" fmla="*/ 0 w 137383"/>
                <a:gd name="connsiteY0" fmla="*/ 137256 h 137255"/>
                <a:gd name="connsiteX1" fmla="*/ 137384 w 137383"/>
                <a:gd name="connsiteY1" fmla="*/ 137256 h 137255"/>
                <a:gd name="connsiteX2" fmla="*/ 137384 w 137383"/>
                <a:gd name="connsiteY2" fmla="*/ 0 h 137255"/>
                <a:gd name="connsiteX3" fmla="*/ 0 w 137383"/>
                <a:gd name="connsiteY3" fmla="*/ 0 h 137255"/>
                <a:gd name="connsiteX4" fmla="*/ 0 w 137383"/>
                <a:gd name="connsiteY4" fmla="*/ 137256 h 137255"/>
                <a:gd name="connsiteX5" fmla="*/ 9585 w 137383"/>
                <a:gd name="connsiteY5" fmla="*/ 17237 h 137255"/>
                <a:gd name="connsiteX6" fmla="*/ 15975 w 137383"/>
                <a:gd name="connsiteY6" fmla="*/ 10853 h 137255"/>
                <a:gd name="connsiteX7" fmla="*/ 119492 w 137383"/>
                <a:gd name="connsiteY7" fmla="*/ 10853 h 137255"/>
                <a:gd name="connsiteX8" fmla="*/ 125882 w 137383"/>
                <a:gd name="connsiteY8" fmla="*/ 17237 h 137255"/>
                <a:gd name="connsiteX9" fmla="*/ 125882 w 137383"/>
                <a:gd name="connsiteY9" fmla="*/ 120657 h 137255"/>
                <a:gd name="connsiteX10" fmla="*/ 119492 w 137383"/>
                <a:gd name="connsiteY10" fmla="*/ 127041 h 137255"/>
                <a:gd name="connsiteX11" fmla="*/ 15975 w 137383"/>
                <a:gd name="connsiteY11" fmla="*/ 127041 h 137255"/>
                <a:gd name="connsiteX12" fmla="*/ 9585 w 137383"/>
                <a:gd name="connsiteY12" fmla="*/ 120657 h 137255"/>
                <a:gd name="connsiteX13" fmla="*/ 9585 w 137383"/>
                <a:gd name="connsiteY13" fmla="*/ 17237 h 137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7383" h="137255">
                  <a:moveTo>
                    <a:pt x="0" y="137256"/>
                  </a:moveTo>
                  <a:lnTo>
                    <a:pt x="137384" y="137256"/>
                  </a:lnTo>
                  <a:lnTo>
                    <a:pt x="137384" y="0"/>
                  </a:lnTo>
                  <a:lnTo>
                    <a:pt x="0" y="0"/>
                  </a:lnTo>
                  <a:lnTo>
                    <a:pt x="0" y="137256"/>
                  </a:lnTo>
                  <a:close/>
                  <a:moveTo>
                    <a:pt x="9585" y="17237"/>
                  </a:moveTo>
                  <a:cubicBezTo>
                    <a:pt x="9585" y="13406"/>
                    <a:pt x="12141" y="10853"/>
                    <a:pt x="15975" y="10853"/>
                  </a:cubicBezTo>
                  <a:lnTo>
                    <a:pt x="119492" y="10853"/>
                  </a:lnTo>
                  <a:cubicBezTo>
                    <a:pt x="123326" y="10853"/>
                    <a:pt x="125882" y="13406"/>
                    <a:pt x="125882" y="17237"/>
                  </a:cubicBezTo>
                  <a:lnTo>
                    <a:pt x="125882" y="120657"/>
                  </a:lnTo>
                  <a:cubicBezTo>
                    <a:pt x="125882" y="124488"/>
                    <a:pt x="123326" y="127041"/>
                    <a:pt x="119492" y="127041"/>
                  </a:cubicBezTo>
                  <a:lnTo>
                    <a:pt x="15975" y="127041"/>
                  </a:lnTo>
                  <a:cubicBezTo>
                    <a:pt x="12141" y="127041"/>
                    <a:pt x="9585" y="124488"/>
                    <a:pt x="9585" y="120657"/>
                  </a:cubicBezTo>
                  <a:lnTo>
                    <a:pt x="9585" y="17237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57" name="Graphic 4">
              <a:extLst>
                <a:ext uri="{FF2B5EF4-FFF2-40B4-BE49-F238E27FC236}">
                  <a16:creationId xmlns:a16="http://schemas.microsoft.com/office/drawing/2014/main" id="{7D423121-1844-43B9-8214-450A4AEA4E86}"/>
                </a:ext>
              </a:extLst>
            </p:cNvPr>
            <p:cNvSpPr/>
            <p:nvPr/>
          </p:nvSpPr>
          <p:spPr>
            <a:xfrm>
              <a:off x="4045469" y="2371173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0667 h 361971"/>
                <a:gd name="connsiteX2" fmla="*/ 180836 w 362309"/>
                <a:gd name="connsiteY2" fmla="*/ 361972 h 361971"/>
                <a:gd name="connsiteX3" fmla="*/ 362310 w 362309"/>
                <a:gd name="connsiteY3" fmla="*/ 181305 h 361971"/>
                <a:gd name="connsiteX4" fmla="*/ 362310 w 362309"/>
                <a:gd name="connsiteY4" fmla="*/ 181305 h 361971"/>
                <a:gd name="connsiteX5" fmla="*/ 181474 w 362309"/>
                <a:gd name="connsiteY5" fmla="*/ 0 h 361971"/>
                <a:gd name="connsiteX6" fmla="*/ 263266 w 362309"/>
                <a:gd name="connsiteY6" fmla="*/ 174921 h 361971"/>
                <a:gd name="connsiteX7" fmla="*/ 286908 w 362309"/>
                <a:gd name="connsiteY7" fmla="*/ 174921 h 361971"/>
                <a:gd name="connsiteX8" fmla="*/ 293298 w 362309"/>
                <a:gd name="connsiteY8" fmla="*/ 181305 h 361971"/>
                <a:gd name="connsiteX9" fmla="*/ 286908 w 362309"/>
                <a:gd name="connsiteY9" fmla="*/ 187689 h 361971"/>
                <a:gd name="connsiteX10" fmla="*/ 262627 w 362309"/>
                <a:gd name="connsiteY10" fmla="*/ 187689 h 361971"/>
                <a:gd name="connsiteX11" fmla="*/ 262627 w 362309"/>
                <a:gd name="connsiteY11" fmla="*/ 204926 h 361971"/>
                <a:gd name="connsiteX12" fmla="*/ 286908 w 362309"/>
                <a:gd name="connsiteY12" fmla="*/ 204926 h 361971"/>
                <a:gd name="connsiteX13" fmla="*/ 293298 w 362309"/>
                <a:gd name="connsiteY13" fmla="*/ 211310 h 361971"/>
                <a:gd name="connsiteX14" fmla="*/ 286908 w 362309"/>
                <a:gd name="connsiteY14" fmla="*/ 217694 h 361971"/>
                <a:gd name="connsiteX15" fmla="*/ 262627 w 362309"/>
                <a:gd name="connsiteY15" fmla="*/ 217694 h 361971"/>
                <a:gd name="connsiteX16" fmla="*/ 262627 w 362309"/>
                <a:gd name="connsiteY16" fmla="*/ 256636 h 361971"/>
                <a:gd name="connsiteX17" fmla="*/ 256237 w 362309"/>
                <a:gd name="connsiteY17" fmla="*/ 263020 h 361971"/>
                <a:gd name="connsiteX18" fmla="*/ 217897 w 362309"/>
                <a:gd name="connsiteY18" fmla="*/ 263020 h 361971"/>
                <a:gd name="connsiteX19" fmla="*/ 217897 w 362309"/>
                <a:gd name="connsiteY19" fmla="*/ 286641 h 361971"/>
                <a:gd name="connsiteX20" fmla="*/ 211507 w 362309"/>
                <a:gd name="connsiteY20" fmla="*/ 293025 h 361971"/>
                <a:gd name="connsiteX21" fmla="*/ 205117 w 362309"/>
                <a:gd name="connsiteY21" fmla="*/ 286641 h 361971"/>
                <a:gd name="connsiteX22" fmla="*/ 205117 w 362309"/>
                <a:gd name="connsiteY22" fmla="*/ 263020 h 361971"/>
                <a:gd name="connsiteX23" fmla="*/ 187864 w 362309"/>
                <a:gd name="connsiteY23" fmla="*/ 263020 h 361971"/>
                <a:gd name="connsiteX24" fmla="*/ 187864 w 362309"/>
                <a:gd name="connsiteY24" fmla="*/ 286641 h 361971"/>
                <a:gd name="connsiteX25" fmla="*/ 181474 w 362309"/>
                <a:gd name="connsiteY25" fmla="*/ 293025 h 361971"/>
                <a:gd name="connsiteX26" fmla="*/ 175084 w 362309"/>
                <a:gd name="connsiteY26" fmla="*/ 286641 h 361971"/>
                <a:gd name="connsiteX27" fmla="*/ 175084 w 362309"/>
                <a:gd name="connsiteY27" fmla="*/ 263020 h 361971"/>
                <a:gd name="connsiteX28" fmla="*/ 157832 w 362309"/>
                <a:gd name="connsiteY28" fmla="*/ 263020 h 361971"/>
                <a:gd name="connsiteX29" fmla="*/ 157832 w 362309"/>
                <a:gd name="connsiteY29" fmla="*/ 286641 h 361971"/>
                <a:gd name="connsiteX30" fmla="*/ 151442 w 362309"/>
                <a:gd name="connsiteY30" fmla="*/ 293025 h 361971"/>
                <a:gd name="connsiteX31" fmla="*/ 145052 w 362309"/>
                <a:gd name="connsiteY31" fmla="*/ 286641 h 361971"/>
                <a:gd name="connsiteX32" fmla="*/ 145052 w 362309"/>
                <a:gd name="connsiteY32" fmla="*/ 263020 h 361971"/>
                <a:gd name="connsiteX33" fmla="*/ 106712 w 362309"/>
                <a:gd name="connsiteY33" fmla="*/ 263020 h 361971"/>
                <a:gd name="connsiteX34" fmla="*/ 100322 w 362309"/>
                <a:gd name="connsiteY34" fmla="*/ 256636 h 361971"/>
                <a:gd name="connsiteX35" fmla="*/ 100322 w 362309"/>
                <a:gd name="connsiteY35" fmla="*/ 217694 h 361971"/>
                <a:gd name="connsiteX36" fmla="*/ 76040 w 362309"/>
                <a:gd name="connsiteY36" fmla="*/ 217694 h 361971"/>
                <a:gd name="connsiteX37" fmla="*/ 69650 w 362309"/>
                <a:gd name="connsiteY37" fmla="*/ 211310 h 361971"/>
                <a:gd name="connsiteX38" fmla="*/ 76040 w 362309"/>
                <a:gd name="connsiteY38" fmla="*/ 204926 h 361971"/>
                <a:gd name="connsiteX39" fmla="*/ 99683 w 362309"/>
                <a:gd name="connsiteY39" fmla="*/ 204926 h 361971"/>
                <a:gd name="connsiteX40" fmla="*/ 99683 w 362309"/>
                <a:gd name="connsiteY40" fmla="*/ 187689 h 361971"/>
                <a:gd name="connsiteX41" fmla="*/ 76040 w 362309"/>
                <a:gd name="connsiteY41" fmla="*/ 187689 h 361971"/>
                <a:gd name="connsiteX42" fmla="*/ 69650 w 362309"/>
                <a:gd name="connsiteY42" fmla="*/ 181305 h 361971"/>
                <a:gd name="connsiteX43" fmla="*/ 76040 w 362309"/>
                <a:gd name="connsiteY43" fmla="*/ 174921 h 361971"/>
                <a:gd name="connsiteX44" fmla="*/ 99683 w 362309"/>
                <a:gd name="connsiteY44" fmla="*/ 174921 h 361971"/>
                <a:gd name="connsiteX45" fmla="*/ 99683 w 362309"/>
                <a:gd name="connsiteY45" fmla="*/ 157684 h 361971"/>
                <a:gd name="connsiteX46" fmla="*/ 76040 w 362309"/>
                <a:gd name="connsiteY46" fmla="*/ 157684 h 361971"/>
                <a:gd name="connsiteX47" fmla="*/ 69650 w 362309"/>
                <a:gd name="connsiteY47" fmla="*/ 151300 h 361971"/>
                <a:gd name="connsiteX48" fmla="*/ 76040 w 362309"/>
                <a:gd name="connsiteY48" fmla="*/ 144916 h 361971"/>
                <a:gd name="connsiteX49" fmla="*/ 99683 w 362309"/>
                <a:gd name="connsiteY49" fmla="*/ 144916 h 361971"/>
                <a:gd name="connsiteX50" fmla="*/ 99683 w 362309"/>
                <a:gd name="connsiteY50" fmla="*/ 105974 h 361971"/>
                <a:gd name="connsiteX51" fmla="*/ 106073 w 362309"/>
                <a:gd name="connsiteY51" fmla="*/ 99590 h 361971"/>
                <a:gd name="connsiteX52" fmla="*/ 144413 w 362309"/>
                <a:gd name="connsiteY52" fmla="*/ 99590 h 361971"/>
                <a:gd name="connsiteX53" fmla="*/ 144413 w 362309"/>
                <a:gd name="connsiteY53" fmla="*/ 75970 h 361971"/>
                <a:gd name="connsiteX54" fmla="*/ 150803 w 362309"/>
                <a:gd name="connsiteY54" fmla="*/ 69586 h 361971"/>
                <a:gd name="connsiteX55" fmla="*/ 157193 w 362309"/>
                <a:gd name="connsiteY55" fmla="*/ 75970 h 361971"/>
                <a:gd name="connsiteX56" fmla="*/ 157193 w 362309"/>
                <a:gd name="connsiteY56" fmla="*/ 99590 h 361971"/>
                <a:gd name="connsiteX57" fmla="*/ 174446 w 362309"/>
                <a:gd name="connsiteY57" fmla="*/ 99590 h 361971"/>
                <a:gd name="connsiteX58" fmla="*/ 174446 w 362309"/>
                <a:gd name="connsiteY58" fmla="*/ 75970 h 361971"/>
                <a:gd name="connsiteX59" fmla="*/ 180836 w 362309"/>
                <a:gd name="connsiteY59" fmla="*/ 69586 h 361971"/>
                <a:gd name="connsiteX60" fmla="*/ 187225 w 362309"/>
                <a:gd name="connsiteY60" fmla="*/ 75970 h 361971"/>
                <a:gd name="connsiteX61" fmla="*/ 187225 w 362309"/>
                <a:gd name="connsiteY61" fmla="*/ 99590 h 361971"/>
                <a:gd name="connsiteX62" fmla="*/ 204478 w 362309"/>
                <a:gd name="connsiteY62" fmla="*/ 99590 h 361971"/>
                <a:gd name="connsiteX63" fmla="*/ 204478 w 362309"/>
                <a:gd name="connsiteY63" fmla="*/ 75970 h 361971"/>
                <a:gd name="connsiteX64" fmla="*/ 210868 w 362309"/>
                <a:gd name="connsiteY64" fmla="*/ 69586 h 361971"/>
                <a:gd name="connsiteX65" fmla="*/ 217258 w 362309"/>
                <a:gd name="connsiteY65" fmla="*/ 75970 h 361971"/>
                <a:gd name="connsiteX66" fmla="*/ 217258 w 362309"/>
                <a:gd name="connsiteY66" fmla="*/ 99590 h 361971"/>
                <a:gd name="connsiteX67" fmla="*/ 255597 w 362309"/>
                <a:gd name="connsiteY67" fmla="*/ 99590 h 361971"/>
                <a:gd name="connsiteX68" fmla="*/ 261987 w 362309"/>
                <a:gd name="connsiteY68" fmla="*/ 105974 h 361971"/>
                <a:gd name="connsiteX69" fmla="*/ 261987 w 362309"/>
                <a:gd name="connsiteY69" fmla="*/ 144916 h 361971"/>
                <a:gd name="connsiteX70" fmla="*/ 286270 w 362309"/>
                <a:gd name="connsiteY70" fmla="*/ 144916 h 361971"/>
                <a:gd name="connsiteX71" fmla="*/ 292659 w 362309"/>
                <a:gd name="connsiteY71" fmla="*/ 151300 h 361971"/>
                <a:gd name="connsiteX72" fmla="*/ 286270 w 362309"/>
                <a:gd name="connsiteY72" fmla="*/ 157684 h 361971"/>
                <a:gd name="connsiteX73" fmla="*/ 261987 w 362309"/>
                <a:gd name="connsiteY73" fmla="*/ 157684 h 361971"/>
                <a:gd name="connsiteX74" fmla="*/ 263266 w 362309"/>
                <a:gd name="connsiteY74" fmla="*/ 174921 h 361971"/>
                <a:gd name="connsiteX75" fmla="*/ 263266 w 362309"/>
                <a:gd name="connsiteY75" fmla="*/ 174921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257"/>
                    <a:pt x="81152" y="361972"/>
                    <a:pt x="180836" y="361972"/>
                  </a:cubicBezTo>
                  <a:cubicBezTo>
                    <a:pt x="281157" y="361972"/>
                    <a:pt x="362310" y="280895"/>
                    <a:pt x="362310" y="181305"/>
                  </a:cubicBezTo>
                  <a:cubicBezTo>
                    <a:pt x="362310" y="181305"/>
                    <a:pt x="362310" y="181305"/>
                    <a:pt x="362310" y="181305"/>
                  </a:cubicBezTo>
                  <a:cubicBezTo>
                    <a:pt x="362310" y="81077"/>
                    <a:pt x="281796" y="0"/>
                    <a:pt x="181474" y="0"/>
                  </a:cubicBezTo>
                  <a:close/>
                  <a:moveTo>
                    <a:pt x="263266" y="174921"/>
                  </a:moveTo>
                  <a:lnTo>
                    <a:pt x="286908" y="174921"/>
                  </a:lnTo>
                  <a:cubicBezTo>
                    <a:pt x="290742" y="174921"/>
                    <a:pt x="293298" y="177475"/>
                    <a:pt x="293298" y="181305"/>
                  </a:cubicBezTo>
                  <a:cubicBezTo>
                    <a:pt x="293298" y="185135"/>
                    <a:pt x="290742" y="187689"/>
                    <a:pt x="286908" y="187689"/>
                  </a:cubicBezTo>
                  <a:lnTo>
                    <a:pt x="262627" y="187689"/>
                  </a:lnTo>
                  <a:lnTo>
                    <a:pt x="262627" y="204926"/>
                  </a:lnTo>
                  <a:lnTo>
                    <a:pt x="286908" y="204926"/>
                  </a:lnTo>
                  <a:cubicBezTo>
                    <a:pt x="290742" y="204926"/>
                    <a:pt x="293298" y="207479"/>
                    <a:pt x="293298" y="211310"/>
                  </a:cubicBezTo>
                  <a:cubicBezTo>
                    <a:pt x="293298" y="215140"/>
                    <a:pt x="290742" y="217694"/>
                    <a:pt x="286908" y="217694"/>
                  </a:cubicBezTo>
                  <a:lnTo>
                    <a:pt x="262627" y="217694"/>
                  </a:lnTo>
                  <a:lnTo>
                    <a:pt x="262627" y="256636"/>
                  </a:lnTo>
                  <a:cubicBezTo>
                    <a:pt x="262627" y="260467"/>
                    <a:pt x="260071" y="263020"/>
                    <a:pt x="256237" y="263020"/>
                  </a:cubicBezTo>
                  <a:lnTo>
                    <a:pt x="217897" y="263020"/>
                  </a:lnTo>
                  <a:lnTo>
                    <a:pt x="217897" y="286641"/>
                  </a:lnTo>
                  <a:cubicBezTo>
                    <a:pt x="217897" y="290471"/>
                    <a:pt x="215341" y="293025"/>
                    <a:pt x="211507" y="293025"/>
                  </a:cubicBezTo>
                  <a:cubicBezTo>
                    <a:pt x="207673" y="293025"/>
                    <a:pt x="205117" y="290471"/>
                    <a:pt x="205117" y="286641"/>
                  </a:cubicBezTo>
                  <a:lnTo>
                    <a:pt x="205117" y="263020"/>
                  </a:lnTo>
                  <a:lnTo>
                    <a:pt x="187864" y="263020"/>
                  </a:lnTo>
                  <a:lnTo>
                    <a:pt x="187864" y="286641"/>
                  </a:lnTo>
                  <a:cubicBezTo>
                    <a:pt x="187864" y="290471"/>
                    <a:pt x="185308" y="293025"/>
                    <a:pt x="181474" y="293025"/>
                  </a:cubicBezTo>
                  <a:cubicBezTo>
                    <a:pt x="177641" y="293025"/>
                    <a:pt x="175084" y="290471"/>
                    <a:pt x="175084" y="286641"/>
                  </a:cubicBezTo>
                  <a:lnTo>
                    <a:pt x="175084" y="263020"/>
                  </a:lnTo>
                  <a:lnTo>
                    <a:pt x="157832" y="263020"/>
                  </a:lnTo>
                  <a:lnTo>
                    <a:pt x="157832" y="286641"/>
                  </a:lnTo>
                  <a:cubicBezTo>
                    <a:pt x="157832" y="290471"/>
                    <a:pt x="155276" y="293025"/>
                    <a:pt x="151442" y="293025"/>
                  </a:cubicBezTo>
                  <a:cubicBezTo>
                    <a:pt x="147608" y="293025"/>
                    <a:pt x="145052" y="290471"/>
                    <a:pt x="145052" y="286641"/>
                  </a:cubicBezTo>
                  <a:lnTo>
                    <a:pt x="145052" y="263020"/>
                  </a:lnTo>
                  <a:lnTo>
                    <a:pt x="106712" y="263020"/>
                  </a:lnTo>
                  <a:cubicBezTo>
                    <a:pt x="102878" y="263020"/>
                    <a:pt x="100322" y="260467"/>
                    <a:pt x="100322" y="256636"/>
                  </a:cubicBezTo>
                  <a:lnTo>
                    <a:pt x="100322" y="217694"/>
                  </a:lnTo>
                  <a:lnTo>
                    <a:pt x="76040" y="217694"/>
                  </a:lnTo>
                  <a:cubicBezTo>
                    <a:pt x="72207" y="217694"/>
                    <a:pt x="69650" y="215140"/>
                    <a:pt x="69650" y="211310"/>
                  </a:cubicBezTo>
                  <a:cubicBezTo>
                    <a:pt x="69650" y="207479"/>
                    <a:pt x="72207" y="204926"/>
                    <a:pt x="76040" y="204926"/>
                  </a:cubicBezTo>
                  <a:lnTo>
                    <a:pt x="99683" y="204926"/>
                  </a:lnTo>
                  <a:lnTo>
                    <a:pt x="99683" y="187689"/>
                  </a:lnTo>
                  <a:lnTo>
                    <a:pt x="76040" y="187689"/>
                  </a:lnTo>
                  <a:cubicBezTo>
                    <a:pt x="72207" y="187689"/>
                    <a:pt x="69650" y="185135"/>
                    <a:pt x="69650" y="181305"/>
                  </a:cubicBezTo>
                  <a:cubicBezTo>
                    <a:pt x="69650" y="177475"/>
                    <a:pt x="72207" y="174921"/>
                    <a:pt x="76040" y="174921"/>
                  </a:cubicBezTo>
                  <a:lnTo>
                    <a:pt x="99683" y="174921"/>
                  </a:lnTo>
                  <a:lnTo>
                    <a:pt x="99683" y="157684"/>
                  </a:lnTo>
                  <a:lnTo>
                    <a:pt x="76040" y="157684"/>
                  </a:lnTo>
                  <a:cubicBezTo>
                    <a:pt x="72207" y="157684"/>
                    <a:pt x="69650" y="155131"/>
                    <a:pt x="69650" y="151300"/>
                  </a:cubicBezTo>
                  <a:cubicBezTo>
                    <a:pt x="69650" y="147470"/>
                    <a:pt x="72207" y="144916"/>
                    <a:pt x="76040" y="144916"/>
                  </a:cubicBezTo>
                  <a:lnTo>
                    <a:pt x="99683" y="144916"/>
                  </a:lnTo>
                  <a:lnTo>
                    <a:pt x="99683" y="105974"/>
                  </a:lnTo>
                  <a:cubicBezTo>
                    <a:pt x="99683" y="102144"/>
                    <a:pt x="102239" y="99590"/>
                    <a:pt x="106073" y="99590"/>
                  </a:cubicBezTo>
                  <a:lnTo>
                    <a:pt x="144413" y="99590"/>
                  </a:lnTo>
                  <a:lnTo>
                    <a:pt x="144413" y="75970"/>
                  </a:lnTo>
                  <a:cubicBezTo>
                    <a:pt x="144413" y="72139"/>
                    <a:pt x="146969" y="69586"/>
                    <a:pt x="150803" y="69586"/>
                  </a:cubicBezTo>
                  <a:cubicBezTo>
                    <a:pt x="154637" y="69586"/>
                    <a:pt x="157193" y="72139"/>
                    <a:pt x="157193" y="75970"/>
                  </a:cubicBezTo>
                  <a:lnTo>
                    <a:pt x="157193" y="99590"/>
                  </a:lnTo>
                  <a:lnTo>
                    <a:pt x="174446" y="99590"/>
                  </a:lnTo>
                  <a:lnTo>
                    <a:pt x="174446" y="75970"/>
                  </a:lnTo>
                  <a:cubicBezTo>
                    <a:pt x="174446" y="72139"/>
                    <a:pt x="177001" y="69586"/>
                    <a:pt x="180836" y="69586"/>
                  </a:cubicBezTo>
                  <a:cubicBezTo>
                    <a:pt x="184669" y="69586"/>
                    <a:pt x="187225" y="72139"/>
                    <a:pt x="187225" y="75970"/>
                  </a:cubicBezTo>
                  <a:lnTo>
                    <a:pt x="187225" y="99590"/>
                  </a:lnTo>
                  <a:lnTo>
                    <a:pt x="204478" y="99590"/>
                  </a:lnTo>
                  <a:lnTo>
                    <a:pt x="204478" y="75970"/>
                  </a:lnTo>
                  <a:cubicBezTo>
                    <a:pt x="204478" y="72139"/>
                    <a:pt x="207034" y="69586"/>
                    <a:pt x="210868" y="69586"/>
                  </a:cubicBezTo>
                  <a:cubicBezTo>
                    <a:pt x="214702" y="69586"/>
                    <a:pt x="217258" y="72139"/>
                    <a:pt x="217258" y="75970"/>
                  </a:cubicBezTo>
                  <a:lnTo>
                    <a:pt x="217258" y="99590"/>
                  </a:lnTo>
                  <a:lnTo>
                    <a:pt x="255597" y="99590"/>
                  </a:lnTo>
                  <a:cubicBezTo>
                    <a:pt x="259432" y="99590"/>
                    <a:pt x="261987" y="102144"/>
                    <a:pt x="261987" y="105974"/>
                  </a:cubicBezTo>
                  <a:lnTo>
                    <a:pt x="261987" y="144916"/>
                  </a:lnTo>
                  <a:lnTo>
                    <a:pt x="286270" y="144916"/>
                  </a:lnTo>
                  <a:cubicBezTo>
                    <a:pt x="290103" y="144916"/>
                    <a:pt x="292659" y="147470"/>
                    <a:pt x="292659" y="151300"/>
                  </a:cubicBezTo>
                  <a:cubicBezTo>
                    <a:pt x="292659" y="155131"/>
                    <a:pt x="290103" y="157684"/>
                    <a:pt x="286270" y="157684"/>
                  </a:cubicBezTo>
                  <a:lnTo>
                    <a:pt x="261987" y="157684"/>
                  </a:lnTo>
                  <a:lnTo>
                    <a:pt x="263266" y="174921"/>
                  </a:lnTo>
                  <a:lnTo>
                    <a:pt x="263266" y="17492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  <p:sp>
          <p:nvSpPr>
            <p:cNvPr id="58" name="Graphic 4">
              <a:extLst>
                <a:ext uri="{FF2B5EF4-FFF2-40B4-BE49-F238E27FC236}">
                  <a16:creationId xmlns:a16="http://schemas.microsoft.com/office/drawing/2014/main" id="{9823A705-4EFA-C7BC-7112-E12F430C6A40}"/>
                </a:ext>
              </a:extLst>
            </p:cNvPr>
            <p:cNvSpPr/>
            <p:nvPr/>
          </p:nvSpPr>
          <p:spPr>
            <a:xfrm>
              <a:off x="4180296" y="2507152"/>
              <a:ext cx="90737" cy="90652"/>
            </a:xfrm>
            <a:custGeom>
              <a:avLst/>
              <a:gdLst>
                <a:gd name="connsiteX0" fmla="*/ 90737 w 90737"/>
                <a:gd name="connsiteY0" fmla="*/ 0 h 90652"/>
                <a:gd name="connsiteX1" fmla="*/ 0 w 90737"/>
                <a:gd name="connsiteY1" fmla="*/ 0 h 90652"/>
                <a:gd name="connsiteX2" fmla="*/ 0 w 90737"/>
                <a:gd name="connsiteY2" fmla="*/ 90652 h 90652"/>
                <a:gd name="connsiteX3" fmla="*/ 90737 w 90737"/>
                <a:gd name="connsiteY3" fmla="*/ 90652 h 90652"/>
                <a:gd name="connsiteX4" fmla="*/ 90737 w 90737"/>
                <a:gd name="connsiteY4" fmla="*/ 0 h 90652"/>
                <a:gd name="connsiteX5" fmla="*/ 60704 w 90737"/>
                <a:gd name="connsiteY5" fmla="*/ 79161 h 90652"/>
                <a:gd name="connsiteX6" fmla="*/ 26838 w 90737"/>
                <a:gd name="connsiteY6" fmla="*/ 79161 h 90652"/>
                <a:gd name="connsiteX7" fmla="*/ 21087 w 90737"/>
                <a:gd name="connsiteY7" fmla="*/ 75331 h 90652"/>
                <a:gd name="connsiteX8" fmla="*/ 21726 w 90737"/>
                <a:gd name="connsiteY8" fmla="*/ 68308 h 90652"/>
                <a:gd name="connsiteX9" fmla="*/ 30672 w 90737"/>
                <a:gd name="connsiteY9" fmla="*/ 50433 h 90652"/>
                <a:gd name="connsiteX10" fmla="*/ 24282 w 90737"/>
                <a:gd name="connsiteY10" fmla="*/ 50433 h 90652"/>
                <a:gd name="connsiteX11" fmla="*/ 17892 w 90737"/>
                <a:gd name="connsiteY11" fmla="*/ 44049 h 90652"/>
                <a:gd name="connsiteX12" fmla="*/ 23004 w 90737"/>
                <a:gd name="connsiteY12" fmla="*/ 37665 h 90652"/>
                <a:gd name="connsiteX13" fmla="*/ 23643 w 90737"/>
                <a:gd name="connsiteY13" fmla="*/ 22344 h 90652"/>
                <a:gd name="connsiteX14" fmla="*/ 44090 w 90737"/>
                <a:gd name="connsiteY14" fmla="*/ 9576 h 90652"/>
                <a:gd name="connsiteX15" fmla="*/ 66455 w 90737"/>
                <a:gd name="connsiteY15" fmla="*/ 31281 h 90652"/>
                <a:gd name="connsiteX16" fmla="*/ 66455 w 90737"/>
                <a:gd name="connsiteY16" fmla="*/ 31920 h 90652"/>
                <a:gd name="connsiteX17" fmla="*/ 60065 w 90737"/>
                <a:gd name="connsiteY17" fmla="*/ 38304 h 90652"/>
                <a:gd name="connsiteX18" fmla="*/ 53675 w 90737"/>
                <a:gd name="connsiteY18" fmla="*/ 31920 h 90652"/>
                <a:gd name="connsiteX19" fmla="*/ 45368 w 90737"/>
                <a:gd name="connsiteY19" fmla="*/ 22344 h 90652"/>
                <a:gd name="connsiteX20" fmla="*/ 44090 w 90737"/>
                <a:gd name="connsiteY20" fmla="*/ 22344 h 90652"/>
                <a:gd name="connsiteX21" fmla="*/ 35783 w 90737"/>
                <a:gd name="connsiteY21" fmla="*/ 27451 h 90652"/>
                <a:gd name="connsiteX22" fmla="*/ 36423 w 90737"/>
                <a:gd name="connsiteY22" fmla="*/ 35112 h 90652"/>
                <a:gd name="connsiteX23" fmla="*/ 38340 w 90737"/>
                <a:gd name="connsiteY23" fmla="*/ 37665 h 90652"/>
                <a:gd name="connsiteX24" fmla="*/ 48563 w 90737"/>
                <a:gd name="connsiteY24" fmla="*/ 37665 h 90652"/>
                <a:gd name="connsiteX25" fmla="*/ 54953 w 90737"/>
                <a:gd name="connsiteY25" fmla="*/ 44049 h 90652"/>
                <a:gd name="connsiteX26" fmla="*/ 48563 w 90737"/>
                <a:gd name="connsiteY26" fmla="*/ 50433 h 90652"/>
                <a:gd name="connsiteX27" fmla="*/ 43451 w 90737"/>
                <a:gd name="connsiteY27" fmla="*/ 50433 h 90652"/>
                <a:gd name="connsiteX28" fmla="*/ 38978 w 90737"/>
                <a:gd name="connsiteY28" fmla="*/ 65755 h 90652"/>
                <a:gd name="connsiteX29" fmla="*/ 60704 w 90737"/>
                <a:gd name="connsiteY29" fmla="*/ 65755 h 90652"/>
                <a:gd name="connsiteX30" fmla="*/ 67094 w 90737"/>
                <a:gd name="connsiteY30" fmla="*/ 72139 h 90652"/>
                <a:gd name="connsiteX31" fmla="*/ 60704 w 90737"/>
                <a:gd name="connsiteY31" fmla="*/ 79161 h 90652"/>
                <a:gd name="connsiteX32" fmla="*/ 60704 w 90737"/>
                <a:gd name="connsiteY32" fmla="*/ 79161 h 9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90737" h="90652">
                  <a:moveTo>
                    <a:pt x="90737" y="0"/>
                  </a:moveTo>
                  <a:lnTo>
                    <a:pt x="0" y="0"/>
                  </a:lnTo>
                  <a:lnTo>
                    <a:pt x="0" y="90652"/>
                  </a:lnTo>
                  <a:lnTo>
                    <a:pt x="90737" y="90652"/>
                  </a:lnTo>
                  <a:lnTo>
                    <a:pt x="90737" y="0"/>
                  </a:lnTo>
                  <a:close/>
                  <a:moveTo>
                    <a:pt x="60704" y="79161"/>
                  </a:moveTo>
                  <a:lnTo>
                    <a:pt x="26838" y="79161"/>
                  </a:lnTo>
                  <a:cubicBezTo>
                    <a:pt x="24282" y="79161"/>
                    <a:pt x="22365" y="77884"/>
                    <a:pt x="21087" y="75331"/>
                  </a:cubicBezTo>
                  <a:cubicBezTo>
                    <a:pt x="19809" y="73416"/>
                    <a:pt x="20448" y="70224"/>
                    <a:pt x="21726" y="68308"/>
                  </a:cubicBezTo>
                  <a:cubicBezTo>
                    <a:pt x="28755" y="59371"/>
                    <a:pt x="30672" y="54264"/>
                    <a:pt x="30672" y="50433"/>
                  </a:cubicBezTo>
                  <a:lnTo>
                    <a:pt x="24282" y="50433"/>
                  </a:lnTo>
                  <a:cubicBezTo>
                    <a:pt x="20448" y="50433"/>
                    <a:pt x="17892" y="47880"/>
                    <a:pt x="17892" y="44049"/>
                  </a:cubicBezTo>
                  <a:cubicBezTo>
                    <a:pt x="17892" y="40857"/>
                    <a:pt x="20448" y="38304"/>
                    <a:pt x="23004" y="37665"/>
                  </a:cubicBezTo>
                  <a:cubicBezTo>
                    <a:pt x="21087" y="32558"/>
                    <a:pt x="21726" y="27451"/>
                    <a:pt x="23643" y="22344"/>
                  </a:cubicBezTo>
                  <a:cubicBezTo>
                    <a:pt x="26838" y="14045"/>
                    <a:pt x="35145" y="8938"/>
                    <a:pt x="44090" y="9576"/>
                  </a:cubicBezTo>
                  <a:cubicBezTo>
                    <a:pt x="56231" y="9576"/>
                    <a:pt x="66455" y="19152"/>
                    <a:pt x="66455" y="31281"/>
                  </a:cubicBezTo>
                  <a:cubicBezTo>
                    <a:pt x="66455" y="31281"/>
                    <a:pt x="66455" y="31920"/>
                    <a:pt x="66455" y="31920"/>
                  </a:cubicBezTo>
                  <a:cubicBezTo>
                    <a:pt x="66455" y="35750"/>
                    <a:pt x="63899" y="38304"/>
                    <a:pt x="60065" y="38304"/>
                  </a:cubicBezTo>
                  <a:cubicBezTo>
                    <a:pt x="56231" y="38304"/>
                    <a:pt x="53675" y="35750"/>
                    <a:pt x="53675" y="31920"/>
                  </a:cubicBezTo>
                  <a:cubicBezTo>
                    <a:pt x="53675" y="26813"/>
                    <a:pt x="50480" y="22982"/>
                    <a:pt x="45368" y="22344"/>
                  </a:cubicBezTo>
                  <a:cubicBezTo>
                    <a:pt x="44730" y="22344"/>
                    <a:pt x="44730" y="22344"/>
                    <a:pt x="44090" y="22344"/>
                  </a:cubicBezTo>
                  <a:cubicBezTo>
                    <a:pt x="40257" y="21706"/>
                    <a:pt x="37062" y="24259"/>
                    <a:pt x="35783" y="27451"/>
                  </a:cubicBezTo>
                  <a:cubicBezTo>
                    <a:pt x="34505" y="30005"/>
                    <a:pt x="35145" y="33197"/>
                    <a:pt x="36423" y="35112"/>
                  </a:cubicBezTo>
                  <a:cubicBezTo>
                    <a:pt x="37062" y="35750"/>
                    <a:pt x="37700" y="36389"/>
                    <a:pt x="38340" y="37665"/>
                  </a:cubicBezTo>
                  <a:lnTo>
                    <a:pt x="48563" y="37665"/>
                  </a:lnTo>
                  <a:cubicBezTo>
                    <a:pt x="52398" y="37665"/>
                    <a:pt x="54953" y="40219"/>
                    <a:pt x="54953" y="44049"/>
                  </a:cubicBezTo>
                  <a:cubicBezTo>
                    <a:pt x="54953" y="47880"/>
                    <a:pt x="52398" y="50433"/>
                    <a:pt x="48563" y="50433"/>
                  </a:cubicBezTo>
                  <a:lnTo>
                    <a:pt x="43451" y="50433"/>
                  </a:lnTo>
                  <a:cubicBezTo>
                    <a:pt x="43451" y="55541"/>
                    <a:pt x="41535" y="61286"/>
                    <a:pt x="38978" y="65755"/>
                  </a:cubicBezTo>
                  <a:lnTo>
                    <a:pt x="60704" y="65755"/>
                  </a:lnTo>
                  <a:cubicBezTo>
                    <a:pt x="64538" y="65755"/>
                    <a:pt x="67094" y="68308"/>
                    <a:pt x="67094" y="72139"/>
                  </a:cubicBezTo>
                  <a:cubicBezTo>
                    <a:pt x="67094" y="75969"/>
                    <a:pt x="64538" y="79161"/>
                    <a:pt x="60704" y="79161"/>
                  </a:cubicBezTo>
                  <a:lnTo>
                    <a:pt x="60704" y="7916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hu-HU"/>
            </a:p>
          </p:txBody>
        </p:sp>
      </p:grp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07EDD76F-DF3E-36C9-949A-839C9237B1EC}"/>
              </a:ext>
            </a:extLst>
          </p:cNvPr>
          <p:cNvCxnSpPr>
            <a:stCxn id="4" idx="0"/>
          </p:cNvCxnSpPr>
          <p:nvPr/>
        </p:nvCxnSpPr>
        <p:spPr>
          <a:xfrm rot="5400000" flipH="1" flipV="1">
            <a:off x="3860127" y="-13692"/>
            <a:ext cx="310233" cy="2911004"/>
          </a:xfrm>
          <a:prstGeom prst="bentConnector2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21ACDB4C-79B6-24C2-935D-44EF38B8FE85}"/>
              </a:ext>
            </a:extLst>
          </p:cNvPr>
          <p:cNvCxnSpPr>
            <a:cxnSpLocks/>
          </p:cNvCxnSpPr>
          <p:nvPr/>
        </p:nvCxnSpPr>
        <p:spPr>
          <a:xfrm flipV="1">
            <a:off x="4482113" y="2152056"/>
            <a:ext cx="988632" cy="259672"/>
          </a:xfrm>
          <a:prstGeom prst="bentConnector3">
            <a:avLst>
              <a:gd name="adj1" fmla="val 50000"/>
            </a:avLst>
          </a:prstGeom>
          <a:ln w="28575">
            <a:solidFill>
              <a:srgbClr val="00ABA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3D15257E-C23A-9233-2F32-CB2F1E68BA20}"/>
              </a:ext>
            </a:extLst>
          </p:cNvPr>
          <p:cNvCxnSpPr>
            <a:cxnSpLocks/>
          </p:cNvCxnSpPr>
          <p:nvPr/>
        </p:nvCxnSpPr>
        <p:spPr>
          <a:xfrm>
            <a:off x="4299052" y="4158981"/>
            <a:ext cx="1165217" cy="110066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81576800-D06B-0244-E1ED-0172394DD49A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4299052" y="3238567"/>
            <a:ext cx="1165217" cy="230303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nector: Elbow 69">
            <a:extLst>
              <a:ext uri="{FF2B5EF4-FFF2-40B4-BE49-F238E27FC236}">
                <a16:creationId xmlns:a16="http://schemas.microsoft.com/office/drawing/2014/main" id="{5FFAFA14-D133-1E27-560F-24516266DB55}"/>
              </a:ext>
            </a:extLst>
          </p:cNvPr>
          <p:cNvCxnSpPr>
            <a:cxnSpLocks/>
            <a:stCxn id="9" idx="3"/>
          </p:cNvCxnSpPr>
          <p:nvPr/>
        </p:nvCxnSpPr>
        <p:spPr>
          <a:xfrm>
            <a:off x="4299052" y="4729956"/>
            <a:ext cx="1165217" cy="466932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284682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A54B55F-5491-45E0-6C06-CA7D5C9DA9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6826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A54B55F-5491-45E0-6C06-CA7D5C9DA9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4399350-61C7-1B0A-C463-05B497E71C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Open Group Architecture Framework</a:t>
            </a:r>
            <a:r>
              <a:rPr lang="hu-HU" dirty="0"/>
              <a:t> - TOGAF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2F8B591-3011-47F0-E55A-A47DAE66E0B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970" t="8524" b="5449"/>
          <a:stretch/>
        </p:blipFill>
        <p:spPr>
          <a:xfrm>
            <a:off x="2121750" y="1121790"/>
            <a:ext cx="7703820" cy="508461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FC83770-C72F-492A-4E90-4FEE2ACFF826}"/>
              </a:ext>
            </a:extLst>
          </p:cNvPr>
          <p:cNvSpPr txBox="1">
            <a:spLocks/>
          </p:cNvSpPr>
          <p:nvPr/>
        </p:nvSpPr>
        <p:spPr>
          <a:xfrm>
            <a:off x="498538" y="651600"/>
            <a:ext cx="112014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dirty="0"/>
              <a:t>A keretrendszer fő koncepciója, felépíté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401997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A54B55F-5491-45E0-6C06-CA7D5C9DA9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7158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A54B55F-5491-45E0-6C06-CA7D5C9DA9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4399350-61C7-1B0A-C463-05B497E71C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hu-HU"/>
              <a:t>The Open Group Architecture Framework - TOGAF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3B29447-9A19-8D97-076B-522A3D3D3ADD}"/>
              </a:ext>
            </a:extLst>
          </p:cNvPr>
          <p:cNvGrpSpPr/>
          <p:nvPr/>
        </p:nvGrpSpPr>
        <p:grpSpPr>
          <a:xfrm>
            <a:off x="5808133" y="220133"/>
            <a:ext cx="5274733" cy="6320367"/>
            <a:chOff x="618418" y="786579"/>
            <a:chExt cx="4680974" cy="5583895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888B4796-32EA-1CF3-869F-C484D8D96730}"/>
                </a:ext>
              </a:extLst>
            </p:cNvPr>
            <p:cNvGrpSpPr/>
            <p:nvPr/>
          </p:nvGrpSpPr>
          <p:grpSpPr>
            <a:xfrm>
              <a:off x="618418" y="1998348"/>
              <a:ext cx="4680974" cy="4372126"/>
              <a:chOff x="618418" y="2100007"/>
              <a:chExt cx="4680974" cy="4372126"/>
            </a:xfrm>
          </p:grpSpPr>
          <p:sp>
            <p:nvSpPr>
              <p:cNvPr id="11" name="Arc 10">
                <a:extLst>
                  <a:ext uri="{FF2B5EF4-FFF2-40B4-BE49-F238E27FC236}">
                    <a16:creationId xmlns:a16="http://schemas.microsoft.com/office/drawing/2014/main" id="{8746F136-6652-0925-B799-B138DEFEB05B}"/>
                  </a:ext>
                </a:extLst>
              </p:cNvPr>
              <p:cNvSpPr/>
              <p:nvPr/>
            </p:nvSpPr>
            <p:spPr>
              <a:xfrm rot="12600000">
                <a:off x="927266" y="2100007"/>
                <a:ext cx="4372126" cy="4372126"/>
              </a:xfrm>
              <a:prstGeom prst="arc">
                <a:avLst>
                  <a:gd name="adj1" fmla="val 4413599"/>
                  <a:gd name="adj2" fmla="val 14055003"/>
                </a:avLst>
              </a:prstGeom>
              <a:solidFill>
                <a:schemeClr val="bg1"/>
              </a:solidFill>
              <a:ln w="25400" cmpd="sng">
                <a:solidFill>
                  <a:schemeClr val="accent3"/>
                </a:solidFill>
                <a:headEnd type="none"/>
                <a:tailEnd type="arrow" w="lg" len="lg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lIns="121917" tIns="60958" rIns="121917" bIns="60958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u-HU" sz="1800" b="0" i="0" u="none" strike="noStrike" kern="1200" cap="none" spc="0" normalizeH="0" baseline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Frutiger Next Pro Light"/>
                  <a:ea typeface="+mn-ea"/>
                  <a:cs typeface="+mn-cs"/>
                </a:endParaRPr>
              </a:p>
            </p:txBody>
          </p:sp>
          <p:sp>
            <p:nvSpPr>
              <p:cNvPr id="8" name="Arc 7">
                <a:extLst>
                  <a:ext uri="{FF2B5EF4-FFF2-40B4-BE49-F238E27FC236}">
                    <a16:creationId xmlns:a16="http://schemas.microsoft.com/office/drawing/2014/main" id="{07BC866E-2216-9503-4AC8-B7D9993C42AA}"/>
                  </a:ext>
                </a:extLst>
              </p:cNvPr>
              <p:cNvSpPr/>
              <p:nvPr/>
            </p:nvSpPr>
            <p:spPr>
              <a:xfrm rot="900000">
                <a:off x="618418" y="2100007"/>
                <a:ext cx="4372126" cy="4372126"/>
              </a:xfrm>
              <a:prstGeom prst="arc">
                <a:avLst>
                  <a:gd name="adj1" fmla="val 4413599"/>
                  <a:gd name="adj2" fmla="val 14055003"/>
                </a:avLst>
              </a:prstGeom>
              <a:solidFill>
                <a:schemeClr val="bg1"/>
              </a:solidFill>
              <a:ln w="25400" cmpd="sng">
                <a:solidFill>
                  <a:schemeClr val="accent1"/>
                </a:solidFill>
                <a:headEnd type="none"/>
                <a:tailEnd type="arrow" w="lg" len="lg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lIns="121917" tIns="60958" rIns="121917" bIns="60958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u-HU" sz="1800" b="0" i="0" u="none" strike="noStrike" kern="1200" cap="none" spc="0" normalizeH="0" baseline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Frutiger Next Pro Light"/>
                  <a:ea typeface="+mn-ea"/>
                  <a:cs typeface="+mn-cs"/>
                </a:endParaRPr>
              </a:p>
            </p:txBody>
          </p:sp>
        </p:grpSp>
        <p:pic>
          <p:nvPicPr>
            <p:cNvPr id="4" name="Picture 3" descr="Diagram, schematic&#10;&#10;Description automatically generated">
              <a:extLst>
                <a:ext uri="{FF2B5EF4-FFF2-40B4-BE49-F238E27FC236}">
                  <a16:creationId xmlns:a16="http://schemas.microsoft.com/office/drawing/2014/main" id="{2E53F504-CDF9-7733-C7AC-DA1F86B97B6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6031" y="786579"/>
              <a:ext cx="4030263" cy="5448915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9390FE0-92A8-9CE3-4ABA-761A8B5F4BAF}"/>
              </a:ext>
            </a:extLst>
          </p:cNvPr>
          <p:cNvGrpSpPr/>
          <p:nvPr/>
        </p:nvGrpSpPr>
        <p:grpSpPr>
          <a:xfrm>
            <a:off x="498538" y="1746372"/>
            <a:ext cx="5112569" cy="3365255"/>
            <a:chOff x="6180651" y="786579"/>
            <a:chExt cx="5428595" cy="3365255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A79E413-F25F-EB35-DE7F-FBD1F15034A0}"/>
                </a:ext>
              </a:extLst>
            </p:cNvPr>
            <p:cNvSpPr/>
            <p:nvPr/>
          </p:nvSpPr>
          <p:spPr bwMode="gray">
            <a:xfrm>
              <a:off x="6483686" y="4074342"/>
              <a:ext cx="4822522" cy="77492"/>
            </a:xfrm>
            <a:prstGeom prst="rect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91440" tIns="91440" r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hu-HU" sz="11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ABA91AC-5A9C-47DF-39CE-B5A660622E6E}"/>
                </a:ext>
              </a:extLst>
            </p:cNvPr>
            <p:cNvSpPr/>
            <p:nvPr/>
          </p:nvSpPr>
          <p:spPr bwMode="gray">
            <a:xfrm>
              <a:off x="6180651" y="786579"/>
              <a:ext cx="5428595" cy="32877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91440" tIns="91440" rIns="91440" bIns="91440" rtlCol="0" anchor="t"/>
            <a:lstStyle/>
            <a:p>
              <a:pPr>
                <a:lnSpc>
                  <a:spcPct val="150000"/>
                </a:lnSpc>
              </a:pPr>
              <a:r>
                <a:rPr lang="hu-HU" sz="1600"/>
                <a:t>Az architektúrafejlesztési módszer (ADM) </a:t>
              </a:r>
              <a:r>
                <a:rPr lang="hu-HU" sz="1600" b="1"/>
                <a:t>9 kulcsfontosságú fázisra tagolódik</a:t>
              </a:r>
              <a:r>
                <a:rPr lang="hu-HU" sz="1600"/>
                <a:t>. Mindegyik egy adott szerepkör lefedésére irányul, és teljes mértékben leírja az alapvető szempontokat. Ezek közé tartozik a célok, a bemeneti követelmények, a szükséges lépések és a kimenet meghatározása és megértése. A fázisok vagy szakaszok követése kritikus fontosságú a TOGAF ADM-ben rejlő lehetőségek optimalizálásához.</a:t>
              </a:r>
            </a:p>
          </p:txBody>
        </p:sp>
      </p:grp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821ED5B-F1F6-EE85-0F1C-E123D1D64430}"/>
              </a:ext>
            </a:extLst>
          </p:cNvPr>
          <p:cNvSpPr txBox="1">
            <a:spLocks/>
          </p:cNvSpPr>
          <p:nvPr/>
        </p:nvSpPr>
        <p:spPr>
          <a:xfrm>
            <a:off x="498538" y="651600"/>
            <a:ext cx="112014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/>
              <a:t>Az Architecture Development Method (ADM) életciklus</a:t>
            </a:r>
          </a:p>
        </p:txBody>
      </p:sp>
    </p:spTree>
    <p:extLst>
      <p:ext uri="{BB962C8B-B14F-4D97-AF65-F5344CB8AC3E}">
        <p14:creationId xmlns:p14="http://schemas.microsoft.com/office/powerpoint/2010/main" val="94577806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EztrqPu0.ccF8qdOw.L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8.aFC3p0ils54GIHuZ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R.Ue6WTxebUF.yeoJkf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R.Ue6WTxebUF.yeoJk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R.Ue6WTxebUF.yeoJkf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EztrqPu0.ccF8qdOw.L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8.aFC3p0ils54GIHuZ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R.Ue6WTxebUF.yeoJkf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8.aFC3p0ils54GIHuZg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R.Ue6WTxebUF.yeoJkf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R.Ue6WTxebUF.yeoJkf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R.Ue6WTxebUF.yeoJk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R.Ue6WTxebUF.yeoJkf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R.Ue6WTxebUF.yeoJkf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 Brand Theme</Template>
  <TotalTime>0</TotalTime>
  <Words>2662</Words>
  <Application>Microsoft Office PowerPoint</Application>
  <PresentationFormat>Widescreen</PresentationFormat>
  <Paragraphs>468</Paragraphs>
  <Slides>31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5" baseType="lpstr">
      <vt:lpstr>Arial</vt:lpstr>
      <vt:lpstr>Calibri</vt:lpstr>
      <vt:lpstr>Calibri Light</vt:lpstr>
      <vt:lpstr>Chronicle Display Black</vt:lpstr>
      <vt:lpstr>Courier New</vt:lpstr>
      <vt:lpstr>Frutiger Next Pro Light</vt:lpstr>
      <vt:lpstr>Gotham Book</vt:lpstr>
      <vt:lpstr>Open Sans</vt:lpstr>
      <vt:lpstr>Verdana</vt:lpstr>
      <vt:lpstr>Wingdings</vt:lpstr>
      <vt:lpstr>Wingdings 2</vt:lpstr>
      <vt:lpstr>ヒラギノ角ゴ ProN W3</vt:lpstr>
      <vt:lpstr>Deloitte Brand Theme</vt:lpstr>
      <vt:lpstr>think-cell Slide</vt:lpstr>
      <vt:lpstr>Enterprise IT Kickstarter</vt:lpstr>
      <vt:lpstr>Előszó</vt:lpstr>
      <vt:lpstr>Agenda</vt:lpstr>
      <vt:lpstr>Enterprise Architecture (EA)</vt:lpstr>
      <vt:lpstr>Enterprise Architecture</vt:lpstr>
      <vt:lpstr>Egy nagyvállalat építészete</vt:lpstr>
      <vt:lpstr>Az architektúra tartományai</vt:lpstr>
      <vt:lpstr>The Open Group Architecture Framework - TOGAF</vt:lpstr>
      <vt:lpstr>The Open Group Architecture Framework - TOGAF</vt:lpstr>
      <vt:lpstr>Enterprise Architecture (EA)</vt:lpstr>
      <vt:lpstr>Gyakorlati feladat I.</vt:lpstr>
      <vt:lpstr>Megoldás I. – Méretezés</vt:lpstr>
      <vt:lpstr>Megoldás II. – Üzleti modell</vt:lpstr>
      <vt:lpstr>Megoldás III. – IT architektúra</vt:lpstr>
      <vt:lpstr>EA vizsga</vt:lpstr>
      <vt:lpstr>System Integration (SI)</vt:lpstr>
      <vt:lpstr>Integráció általános fogalma, előfordulása a gazdasági/tech tanácsadásban </vt:lpstr>
      <vt:lpstr>Rendszerintegráció a technológiában I.</vt:lpstr>
      <vt:lpstr>Rendszerintegráció a technológiában II.</vt:lpstr>
      <vt:lpstr>Rendszerintegráció a technológiában III.</vt:lpstr>
      <vt:lpstr>Integrációs keretrendszer</vt:lpstr>
      <vt:lpstr>Integrációs stratégia </vt:lpstr>
      <vt:lpstr>Integrációs stratégia és szabályzat</vt:lpstr>
      <vt:lpstr>Integrációs sablonok</vt:lpstr>
      <vt:lpstr>Jó-jó, beszélgetünk-barátkozunk, de hogy lesz így üzlet? </vt:lpstr>
      <vt:lpstr>Integrációs Architektúra</vt:lpstr>
      <vt:lpstr>System Integration (SI)</vt:lpstr>
      <vt:lpstr>Gyakorlati feladat II.</vt:lpstr>
      <vt:lpstr>Megoldás I.</vt:lpstr>
      <vt:lpstr>Megoldás II.</vt:lpstr>
      <vt:lpstr>SI vizsg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mesaver Charts, tables, diagrams, icons and more</dc:title>
  <dc:creator/>
  <cp:lastModifiedBy/>
  <cp:revision>2</cp:revision>
  <dcterms:created xsi:type="dcterms:W3CDTF">2020-04-09T19:41:06Z</dcterms:created>
  <dcterms:modified xsi:type="dcterms:W3CDTF">2024-02-05T12:40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2-15T16:19:10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3415186a-2cc8-454a-80c2-1b89340bbe69</vt:lpwstr>
  </property>
  <property fmtid="{D5CDD505-2E9C-101B-9397-08002B2CF9AE}" pid="8" name="MSIP_Label_ea60d57e-af5b-4752-ac57-3e4f28ca11dc_ContentBits">
    <vt:lpwstr>0</vt:lpwstr>
  </property>
</Properties>
</file>